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heme/themeOverride5.xml" ContentType="application/vnd.openxmlformats-officedocument.themeOverride+xml"/>
  <Override PartName="/ppt/tags/tag6.xml" ContentType="application/vnd.openxmlformats-officedocument.presentationml.tags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ags/tag7.xml" ContentType="application/vnd.openxmlformats-officedocument.presentationml.tags+xml"/>
  <Override PartName="/ppt/theme/themeOverride9.xml" ContentType="application/vnd.openxmlformats-officedocument.themeOverride+xml"/>
  <Override PartName="/ppt/tags/tag8.xml" ContentType="application/vnd.openxmlformats-officedocument.presentationml.tags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ags/tag9.xml" ContentType="application/vnd.openxmlformats-officedocument.presentationml.tags+xml"/>
  <Override PartName="/ppt/theme/themeOverride14.xml" ContentType="application/vnd.openxmlformats-officedocument.themeOverride+xml"/>
  <Override PartName="/ppt/tags/tag10.xml" ContentType="application/vnd.openxmlformats-officedocument.presentationml.tags+xml"/>
  <Override PartName="/ppt/theme/themeOverride15.xml" ContentType="application/vnd.openxmlformats-officedocument.themeOverride+xml"/>
  <Override PartName="/ppt/tags/tag11.xml" ContentType="application/vnd.openxmlformats-officedocument.presentationml.tags+xml"/>
  <Override PartName="/ppt/theme/themeOverride16.xml" ContentType="application/vnd.openxmlformats-officedocument.themeOverr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sldIdLst>
    <p:sldId id="256" r:id="rId2"/>
    <p:sldId id="279" r:id="rId3"/>
    <p:sldId id="258" r:id="rId4"/>
    <p:sldId id="269" r:id="rId5"/>
    <p:sldId id="270" r:id="rId6"/>
    <p:sldId id="277" r:id="rId7"/>
    <p:sldId id="278" r:id="rId8"/>
    <p:sldId id="276" r:id="rId9"/>
    <p:sldId id="275" r:id="rId10"/>
    <p:sldId id="274" r:id="rId11"/>
    <p:sldId id="280" r:id="rId12"/>
    <p:sldId id="273" r:id="rId13"/>
    <p:sldId id="281" r:id="rId14"/>
    <p:sldId id="272" r:id="rId15"/>
    <p:sldId id="271" r:id="rId16"/>
    <p:sldId id="282" r:id="rId17"/>
    <p:sldId id="261" r:id="rId18"/>
  </p:sldIdLst>
  <p:sldSz cx="12192000" cy="6858000"/>
  <p:notesSz cx="6858000" cy="9144000"/>
  <p:custDataLst>
    <p:tags r:id="rId2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F8F7"/>
    <a:srgbClr val="EDFAFA"/>
    <a:srgbClr val="C4EEED"/>
    <a:srgbClr val="0D5563"/>
    <a:srgbClr val="233377"/>
    <a:srgbClr val="2F4E79"/>
    <a:srgbClr val="F5CAB9"/>
    <a:srgbClr val="10687A"/>
    <a:srgbClr val="E8CBAE"/>
    <a:srgbClr val="2445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81" d="100"/>
          <a:sy n="81" d="100"/>
        </p:scale>
        <p:origin x="67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9/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77" name="组合 9876">
            <a:extLst>
              <a:ext uri="{FF2B5EF4-FFF2-40B4-BE49-F238E27FC236}">
                <a16:creationId xmlns:a16="http://schemas.microsoft.com/office/drawing/2014/main" id="{BBB0189B-BAF1-42A7-ACD9-B84370C3E639}"/>
              </a:ext>
            </a:extLst>
          </p:cNvPr>
          <p:cNvGrpSpPr/>
          <p:nvPr userDrawn="1"/>
        </p:nvGrpSpPr>
        <p:grpSpPr>
          <a:xfrm>
            <a:off x="-11242" y="16887"/>
            <a:ext cx="12203241" cy="4724774"/>
            <a:chOff x="-11242" y="16887"/>
            <a:chExt cx="12203241" cy="4724774"/>
          </a:xfrm>
          <a:solidFill>
            <a:schemeClr val="accent6">
              <a:lumMod val="20000"/>
              <a:lumOff val="80000"/>
              <a:alpha val="20000"/>
            </a:schemeClr>
          </a:solidFill>
        </p:grpSpPr>
        <p:sp>
          <p:nvSpPr>
            <p:cNvPr id="143" name="Freeform 5">
              <a:extLst>
                <a:ext uri="{FF2B5EF4-FFF2-40B4-BE49-F238E27FC236}">
                  <a16:creationId xmlns:a16="http://schemas.microsoft.com/office/drawing/2014/main" id="{236C69B9-5FBA-44B6-8FA0-1200A9BA01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666" y="1261766"/>
              <a:ext cx="749205" cy="746908"/>
            </a:xfrm>
            <a:custGeom>
              <a:avLst/>
              <a:gdLst>
                <a:gd name="T0" fmla="*/ 0 w 3262"/>
                <a:gd name="T1" fmla="*/ 1106 h 3252"/>
                <a:gd name="T2" fmla="*/ 1108 w 3262"/>
                <a:gd name="T3" fmla="*/ 1106 h 3252"/>
                <a:gd name="T4" fmla="*/ 1108 w 3262"/>
                <a:gd name="T5" fmla="*/ 0 h 3252"/>
                <a:gd name="T6" fmla="*/ 2154 w 3262"/>
                <a:gd name="T7" fmla="*/ 0 h 3252"/>
                <a:gd name="T8" fmla="*/ 2154 w 3262"/>
                <a:gd name="T9" fmla="*/ 1106 h 3252"/>
                <a:gd name="T10" fmla="*/ 3262 w 3262"/>
                <a:gd name="T11" fmla="*/ 1106 h 3252"/>
                <a:gd name="T12" fmla="*/ 3262 w 3262"/>
                <a:gd name="T13" fmla="*/ 2146 h 3252"/>
                <a:gd name="T14" fmla="*/ 2154 w 3262"/>
                <a:gd name="T15" fmla="*/ 2146 h 3252"/>
                <a:gd name="T16" fmla="*/ 2154 w 3262"/>
                <a:gd name="T17" fmla="*/ 3252 h 3252"/>
                <a:gd name="T18" fmla="*/ 1108 w 3262"/>
                <a:gd name="T19" fmla="*/ 3252 h 3252"/>
                <a:gd name="T20" fmla="*/ 1108 w 3262"/>
                <a:gd name="T21" fmla="*/ 2146 h 3252"/>
                <a:gd name="T22" fmla="*/ 0 w 3262"/>
                <a:gd name="T23" fmla="*/ 2146 h 3252"/>
                <a:gd name="T24" fmla="*/ 0 w 3262"/>
                <a:gd name="T25" fmla="*/ 1106 h 3252"/>
                <a:gd name="T26" fmla="*/ 0 w 3262"/>
                <a:gd name="T27" fmla="*/ 1106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2" h="3252">
                  <a:moveTo>
                    <a:pt x="0" y="1106"/>
                  </a:moveTo>
                  <a:lnTo>
                    <a:pt x="1108" y="1106"/>
                  </a:lnTo>
                  <a:lnTo>
                    <a:pt x="1108" y="0"/>
                  </a:lnTo>
                  <a:lnTo>
                    <a:pt x="2154" y="0"/>
                  </a:lnTo>
                  <a:lnTo>
                    <a:pt x="2154" y="1106"/>
                  </a:lnTo>
                  <a:lnTo>
                    <a:pt x="3262" y="1106"/>
                  </a:lnTo>
                  <a:lnTo>
                    <a:pt x="3262" y="2146"/>
                  </a:lnTo>
                  <a:lnTo>
                    <a:pt x="2154" y="2146"/>
                  </a:lnTo>
                  <a:lnTo>
                    <a:pt x="2154" y="3252"/>
                  </a:lnTo>
                  <a:lnTo>
                    <a:pt x="1108" y="3252"/>
                  </a:lnTo>
                  <a:lnTo>
                    <a:pt x="1108" y="2146"/>
                  </a:lnTo>
                  <a:lnTo>
                    <a:pt x="0" y="2146"/>
                  </a:lnTo>
                  <a:lnTo>
                    <a:pt x="0" y="1106"/>
                  </a:lnTo>
                  <a:lnTo>
                    <a:pt x="0" y="11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6" name="Freeform 5">
              <a:extLst>
                <a:ext uri="{FF2B5EF4-FFF2-40B4-BE49-F238E27FC236}">
                  <a16:creationId xmlns:a16="http://schemas.microsoft.com/office/drawing/2014/main" id="{D38FFE8C-7EC2-4F93-81DB-933306757B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57826" y="16887"/>
              <a:ext cx="749205" cy="746908"/>
            </a:xfrm>
            <a:custGeom>
              <a:avLst/>
              <a:gdLst>
                <a:gd name="T0" fmla="*/ 0 w 3262"/>
                <a:gd name="T1" fmla="*/ 1106 h 3252"/>
                <a:gd name="T2" fmla="*/ 1108 w 3262"/>
                <a:gd name="T3" fmla="*/ 1106 h 3252"/>
                <a:gd name="T4" fmla="*/ 1108 w 3262"/>
                <a:gd name="T5" fmla="*/ 0 h 3252"/>
                <a:gd name="T6" fmla="*/ 2154 w 3262"/>
                <a:gd name="T7" fmla="*/ 0 h 3252"/>
                <a:gd name="T8" fmla="*/ 2154 w 3262"/>
                <a:gd name="T9" fmla="*/ 1106 h 3252"/>
                <a:gd name="T10" fmla="*/ 3262 w 3262"/>
                <a:gd name="T11" fmla="*/ 1106 h 3252"/>
                <a:gd name="T12" fmla="*/ 3262 w 3262"/>
                <a:gd name="T13" fmla="*/ 2146 h 3252"/>
                <a:gd name="T14" fmla="*/ 2154 w 3262"/>
                <a:gd name="T15" fmla="*/ 2146 h 3252"/>
                <a:gd name="T16" fmla="*/ 2154 w 3262"/>
                <a:gd name="T17" fmla="*/ 3252 h 3252"/>
                <a:gd name="T18" fmla="*/ 1108 w 3262"/>
                <a:gd name="T19" fmla="*/ 3252 h 3252"/>
                <a:gd name="T20" fmla="*/ 1108 w 3262"/>
                <a:gd name="T21" fmla="*/ 2146 h 3252"/>
                <a:gd name="T22" fmla="*/ 0 w 3262"/>
                <a:gd name="T23" fmla="*/ 2146 h 3252"/>
                <a:gd name="T24" fmla="*/ 0 w 3262"/>
                <a:gd name="T25" fmla="*/ 1106 h 3252"/>
                <a:gd name="T26" fmla="*/ 0 w 3262"/>
                <a:gd name="T27" fmla="*/ 1106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2" h="3252">
                  <a:moveTo>
                    <a:pt x="0" y="1106"/>
                  </a:moveTo>
                  <a:lnTo>
                    <a:pt x="1108" y="1106"/>
                  </a:lnTo>
                  <a:lnTo>
                    <a:pt x="1108" y="0"/>
                  </a:lnTo>
                  <a:lnTo>
                    <a:pt x="2154" y="0"/>
                  </a:lnTo>
                  <a:lnTo>
                    <a:pt x="2154" y="1106"/>
                  </a:lnTo>
                  <a:lnTo>
                    <a:pt x="3262" y="1106"/>
                  </a:lnTo>
                  <a:lnTo>
                    <a:pt x="3262" y="2146"/>
                  </a:lnTo>
                  <a:lnTo>
                    <a:pt x="2154" y="2146"/>
                  </a:lnTo>
                  <a:lnTo>
                    <a:pt x="2154" y="3252"/>
                  </a:lnTo>
                  <a:lnTo>
                    <a:pt x="1108" y="3252"/>
                  </a:lnTo>
                  <a:lnTo>
                    <a:pt x="1108" y="2146"/>
                  </a:lnTo>
                  <a:lnTo>
                    <a:pt x="0" y="2146"/>
                  </a:lnTo>
                  <a:lnTo>
                    <a:pt x="0" y="1106"/>
                  </a:lnTo>
                  <a:lnTo>
                    <a:pt x="0" y="11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7" name="Freeform 5">
              <a:extLst>
                <a:ext uri="{FF2B5EF4-FFF2-40B4-BE49-F238E27FC236}">
                  <a16:creationId xmlns:a16="http://schemas.microsoft.com/office/drawing/2014/main" id="{4CF1E21B-2EAC-4E99-912E-B2CF9C7C00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05321" y="16887"/>
              <a:ext cx="749205" cy="746908"/>
            </a:xfrm>
            <a:custGeom>
              <a:avLst/>
              <a:gdLst>
                <a:gd name="T0" fmla="*/ 0 w 3262"/>
                <a:gd name="T1" fmla="*/ 1106 h 3252"/>
                <a:gd name="T2" fmla="*/ 1108 w 3262"/>
                <a:gd name="T3" fmla="*/ 1106 h 3252"/>
                <a:gd name="T4" fmla="*/ 1108 w 3262"/>
                <a:gd name="T5" fmla="*/ 0 h 3252"/>
                <a:gd name="T6" fmla="*/ 2154 w 3262"/>
                <a:gd name="T7" fmla="*/ 0 h 3252"/>
                <a:gd name="T8" fmla="*/ 2154 w 3262"/>
                <a:gd name="T9" fmla="*/ 1106 h 3252"/>
                <a:gd name="T10" fmla="*/ 3262 w 3262"/>
                <a:gd name="T11" fmla="*/ 1106 h 3252"/>
                <a:gd name="T12" fmla="*/ 3262 w 3262"/>
                <a:gd name="T13" fmla="*/ 2146 h 3252"/>
                <a:gd name="T14" fmla="*/ 2154 w 3262"/>
                <a:gd name="T15" fmla="*/ 2146 h 3252"/>
                <a:gd name="T16" fmla="*/ 2154 w 3262"/>
                <a:gd name="T17" fmla="*/ 3252 h 3252"/>
                <a:gd name="T18" fmla="*/ 1108 w 3262"/>
                <a:gd name="T19" fmla="*/ 3252 h 3252"/>
                <a:gd name="T20" fmla="*/ 1108 w 3262"/>
                <a:gd name="T21" fmla="*/ 2146 h 3252"/>
                <a:gd name="T22" fmla="*/ 0 w 3262"/>
                <a:gd name="T23" fmla="*/ 2146 h 3252"/>
                <a:gd name="T24" fmla="*/ 0 w 3262"/>
                <a:gd name="T25" fmla="*/ 1106 h 3252"/>
                <a:gd name="T26" fmla="*/ 0 w 3262"/>
                <a:gd name="T27" fmla="*/ 1106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2" h="3252">
                  <a:moveTo>
                    <a:pt x="0" y="1106"/>
                  </a:moveTo>
                  <a:lnTo>
                    <a:pt x="1108" y="1106"/>
                  </a:lnTo>
                  <a:lnTo>
                    <a:pt x="1108" y="0"/>
                  </a:lnTo>
                  <a:lnTo>
                    <a:pt x="2154" y="0"/>
                  </a:lnTo>
                  <a:lnTo>
                    <a:pt x="2154" y="1106"/>
                  </a:lnTo>
                  <a:lnTo>
                    <a:pt x="3262" y="1106"/>
                  </a:lnTo>
                  <a:lnTo>
                    <a:pt x="3262" y="2146"/>
                  </a:lnTo>
                  <a:lnTo>
                    <a:pt x="2154" y="2146"/>
                  </a:lnTo>
                  <a:lnTo>
                    <a:pt x="2154" y="3252"/>
                  </a:lnTo>
                  <a:lnTo>
                    <a:pt x="1108" y="3252"/>
                  </a:lnTo>
                  <a:lnTo>
                    <a:pt x="1108" y="2146"/>
                  </a:lnTo>
                  <a:lnTo>
                    <a:pt x="0" y="2146"/>
                  </a:lnTo>
                  <a:lnTo>
                    <a:pt x="0" y="1106"/>
                  </a:lnTo>
                  <a:lnTo>
                    <a:pt x="0" y="11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8" name="Freeform 5">
              <a:extLst>
                <a:ext uri="{FF2B5EF4-FFF2-40B4-BE49-F238E27FC236}">
                  <a16:creationId xmlns:a16="http://schemas.microsoft.com/office/drawing/2014/main" id="{2264259C-F57C-42BE-90A8-A1A63DDAB7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15" y="16887"/>
              <a:ext cx="749205" cy="746908"/>
            </a:xfrm>
            <a:custGeom>
              <a:avLst/>
              <a:gdLst>
                <a:gd name="T0" fmla="*/ 0 w 3262"/>
                <a:gd name="T1" fmla="*/ 1106 h 3252"/>
                <a:gd name="T2" fmla="*/ 1108 w 3262"/>
                <a:gd name="T3" fmla="*/ 1106 h 3252"/>
                <a:gd name="T4" fmla="*/ 1108 w 3262"/>
                <a:gd name="T5" fmla="*/ 0 h 3252"/>
                <a:gd name="T6" fmla="*/ 2154 w 3262"/>
                <a:gd name="T7" fmla="*/ 0 h 3252"/>
                <a:gd name="T8" fmla="*/ 2154 w 3262"/>
                <a:gd name="T9" fmla="*/ 1106 h 3252"/>
                <a:gd name="T10" fmla="*/ 3262 w 3262"/>
                <a:gd name="T11" fmla="*/ 1106 h 3252"/>
                <a:gd name="T12" fmla="*/ 3262 w 3262"/>
                <a:gd name="T13" fmla="*/ 2146 h 3252"/>
                <a:gd name="T14" fmla="*/ 2154 w 3262"/>
                <a:gd name="T15" fmla="*/ 2146 h 3252"/>
                <a:gd name="T16" fmla="*/ 2154 w 3262"/>
                <a:gd name="T17" fmla="*/ 3252 h 3252"/>
                <a:gd name="T18" fmla="*/ 1108 w 3262"/>
                <a:gd name="T19" fmla="*/ 3252 h 3252"/>
                <a:gd name="T20" fmla="*/ 1108 w 3262"/>
                <a:gd name="T21" fmla="*/ 2146 h 3252"/>
                <a:gd name="T22" fmla="*/ 0 w 3262"/>
                <a:gd name="T23" fmla="*/ 2146 h 3252"/>
                <a:gd name="T24" fmla="*/ 0 w 3262"/>
                <a:gd name="T25" fmla="*/ 1106 h 3252"/>
                <a:gd name="T26" fmla="*/ 0 w 3262"/>
                <a:gd name="T27" fmla="*/ 1106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2" h="3252">
                  <a:moveTo>
                    <a:pt x="0" y="1106"/>
                  </a:moveTo>
                  <a:lnTo>
                    <a:pt x="1108" y="1106"/>
                  </a:lnTo>
                  <a:lnTo>
                    <a:pt x="1108" y="0"/>
                  </a:lnTo>
                  <a:lnTo>
                    <a:pt x="2154" y="0"/>
                  </a:lnTo>
                  <a:lnTo>
                    <a:pt x="2154" y="1106"/>
                  </a:lnTo>
                  <a:lnTo>
                    <a:pt x="3262" y="1106"/>
                  </a:lnTo>
                  <a:lnTo>
                    <a:pt x="3262" y="2146"/>
                  </a:lnTo>
                  <a:lnTo>
                    <a:pt x="2154" y="2146"/>
                  </a:lnTo>
                  <a:lnTo>
                    <a:pt x="2154" y="3252"/>
                  </a:lnTo>
                  <a:lnTo>
                    <a:pt x="1108" y="3252"/>
                  </a:lnTo>
                  <a:lnTo>
                    <a:pt x="1108" y="2146"/>
                  </a:lnTo>
                  <a:lnTo>
                    <a:pt x="0" y="2146"/>
                  </a:lnTo>
                  <a:lnTo>
                    <a:pt x="0" y="1106"/>
                  </a:lnTo>
                  <a:lnTo>
                    <a:pt x="0" y="11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9" name="Freeform 5">
              <a:extLst>
                <a:ext uri="{FF2B5EF4-FFF2-40B4-BE49-F238E27FC236}">
                  <a16:creationId xmlns:a16="http://schemas.microsoft.com/office/drawing/2014/main" id="{96756F96-C186-452A-9F05-6130D02E1E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00310" y="16887"/>
              <a:ext cx="749205" cy="746908"/>
            </a:xfrm>
            <a:custGeom>
              <a:avLst/>
              <a:gdLst>
                <a:gd name="T0" fmla="*/ 0 w 3262"/>
                <a:gd name="T1" fmla="*/ 1106 h 3252"/>
                <a:gd name="T2" fmla="*/ 1108 w 3262"/>
                <a:gd name="T3" fmla="*/ 1106 h 3252"/>
                <a:gd name="T4" fmla="*/ 1108 w 3262"/>
                <a:gd name="T5" fmla="*/ 0 h 3252"/>
                <a:gd name="T6" fmla="*/ 2154 w 3262"/>
                <a:gd name="T7" fmla="*/ 0 h 3252"/>
                <a:gd name="T8" fmla="*/ 2154 w 3262"/>
                <a:gd name="T9" fmla="*/ 1106 h 3252"/>
                <a:gd name="T10" fmla="*/ 3262 w 3262"/>
                <a:gd name="T11" fmla="*/ 1106 h 3252"/>
                <a:gd name="T12" fmla="*/ 3262 w 3262"/>
                <a:gd name="T13" fmla="*/ 2146 h 3252"/>
                <a:gd name="T14" fmla="*/ 2154 w 3262"/>
                <a:gd name="T15" fmla="*/ 2146 h 3252"/>
                <a:gd name="T16" fmla="*/ 2154 w 3262"/>
                <a:gd name="T17" fmla="*/ 3252 h 3252"/>
                <a:gd name="T18" fmla="*/ 1108 w 3262"/>
                <a:gd name="T19" fmla="*/ 3252 h 3252"/>
                <a:gd name="T20" fmla="*/ 1108 w 3262"/>
                <a:gd name="T21" fmla="*/ 2146 h 3252"/>
                <a:gd name="T22" fmla="*/ 0 w 3262"/>
                <a:gd name="T23" fmla="*/ 2146 h 3252"/>
                <a:gd name="T24" fmla="*/ 0 w 3262"/>
                <a:gd name="T25" fmla="*/ 1106 h 3252"/>
                <a:gd name="T26" fmla="*/ 0 w 3262"/>
                <a:gd name="T27" fmla="*/ 1106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2" h="3252">
                  <a:moveTo>
                    <a:pt x="0" y="1106"/>
                  </a:moveTo>
                  <a:lnTo>
                    <a:pt x="1108" y="1106"/>
                  </a:lnTo>
                  <a:lnTo>
                    <a:pt x="1108" y="0"/>
                  </a:lnTo>
                  <a:lnTo>
                    <a:pt x="2154" y="0"/>
                  </a:lnTo>
                  <a:lnTo>
                    <a:pt x="2154" y="1106"/>
                  </a:lnTo>
                  <a:lnTo>
                    <a:pt x="3262" y="1106"/>
                  </a:lnTo>
                  <a:lnTo>
                    <a:pt x="3262" y="2146"/>
                  </a:lnTo>
                  <a:lnTo>
                    <a:pt x="2154" y="2146"/>
                  </a:lnTo>
                  <a:lnTo>
                    <a:pt x="2154" y="3252"/>
                  </a:lnTo>
                  <a:lnTo>
                    <a:pt x="1108" y="3252"/>
                  </a:lnTo>
                  <a:lnTo>
                    <a:pt x="1108" y="2146"/>
                  </a:lnTo>
                  <a:lnTo>
                    <a:pt x="0" y="2146"/>
                  </a:lnTo>
                  <a:lnTo>
                    <a:pt x="0" y="1106"/>
                  </a:lnTo>
                  <a:lnTo>
                    <a:pt x="0" y="11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0" name="Freeform 5">
              <a:extLst>
                <a:ext uri="{FF2B5EF4-FFF2-40B4-BE49-F238E27FC236}">
                  <a16:creationId xmlns:a16="http://schemas.microsoft.com/office/drawing/2014/main" id="{FA5FE0BC-0CB7-41A7-8189-ADAE9F67F2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7805" y="16887"/>
              <a:ext cx="749205" cy="746908"/>
            </a:xfrm>
            <a:custGeom>
              <a:avLst/>
              <a:gdLst>
                <a:gd name="T0" fmla="*/ 0 w 3262"/>
                <a:gd name="T1" fmla="*/ 1106 h 3252"/>
                <a:gd name="T2" fmla="*/ 1108 w 3262"/>
                <a:gd name="T3" fmla="*/ 1106 h 3252"/>
                <a:gd name="T4" fmla="*/ 1108 w 3262"/>
                <a:gd name="T5" fmla="*/ 0 h 3252"/>
                <a:gd name="T6" fmla="*/ 2154 w 3262"/>
                <a:gd name="T7" fmla="*/ 0 h 3252"/>
                <a:gd name="T8" fmla="*/ 2154 w 3262"/>
                <a:gd name="T9" fmla="*/ 1106 h 3252"/>
                <a:gd name="T10" fmla="*/ 3262 w 3262"/>
                <a:gd name="T11" fmla="*/ 1106 h 3252"/>
                <a:gd name="T12" fmla="*/ 3262 w 3262"/>
                <a:gd name="T13" fmla="*/ 2146 h 3252"/>
                <a:gd name="T14" fmla="*/ 2154 w 3262"/>
                <a:gd name="T15" fmla="*/ 2146 h 3252"/>
                <a:gd name="T16" fmla="*/ 2154 w 3262"/>
                <a:gd name="T17" fmla="*/ 3252 h 3252"/>
                <a:gd name="T18" fmla="*/ 1108 w 3262"/>
                <a:gd name="T19" fmla="*/ 3252 h 3252"/>
                <a:gd name="T20" fmla="*/ 1108 w 3262"/>
                <a:gd name="T21" fmla="*/ 2146 h 3252"/>
                <a:gd name="T22" fmla="*/ 0 w 3262"/>
                <a:gd name="T23" fmla="*/ 2146 h 3252"/>
                <a:gd name="T24" fmla="*/ 0 w 3262"/>
                <a:gd name="T25" fmla="*/ 1106 h 3252"/>
                <a:gd name="T26" fmla="*/ 0 w 3262"/>
                <a:gd name="T27" fmla="*/ 1106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2" h="3252">
                  <a:moveTo>
                    <a:pt x="0" y="1106"/>
                  </a:moveTo>
                  <a:lnTo>
                    <a:pt x="1108" y="1106"/>
                  </a:lnTo>
                  <a:lnTo>
                    <a:pt x="1108" y="0"/>
                  </a:lnTo>
                  <a:lnTo>
                    <a:pt x="2154" y="0"/>
                  </a:lnTo>
                  <a:lnTo>
                    <a:pt x="2154" y="1106"/>
                  </a:lnTo>
                  <a:lnTo>
                    <a:pt x="3262" y="1106"/>
                  </a:lnTo>
                  <a:lnTo>
                    <a:pt x="3262" y="2146"/>
                  </a:lnTo>
                  <a:lnTo>
                    <a:pt x="2154" y="2146"/>
                  </a:lnTo>
                  <a:lnTo>
                    <a:pt x="2154" y="3252"/>
                  </a:lnTo>
                  <a:lnTo>
                    <a:pt x="1108" y="3252"/>
                  </a:lnTo>
                  <a:lnTo>
                    <a:pt x="1108" y="2146"/>
                  </a:lnTo>
                  <a:lnTo>
                    <a:pt x="0" y="2146"/>
                  </a:lnTo>
                  <a:lnTo>
                    <a:pt x="0" y="1106"/>
                  </a:lnTo>
                  <a:lnTo>
                    <a:pt x="0" y="11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" name="Freeform 5">
              <a:extLst>
                <a:ext uri="{FF2B5EF4-FFF2-40B4-BE49-F238E27FC236}">
                  <a16:creationId xmlns:a16="http://schemas.microsoft.com/office/drawing/2014/main" id="{6B2BA529-E879-4680-AE84-C0DE007D78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95299" y="16887"/>
              <a:ext cx="749205" cy="746908"/>
            </a:xfrm>
            <a:custGeom>
              <a:avLst/>
              <a:gdLst>
                <a:gd name="T0" fmla="*/ 0 w 3262"/>
                <a:gd name="T1" fmla="*/ 1106 h 3252"/>
                <a:gd name="T2" fmla="*/ 1108 w 3262"/>
                <a:gd name="T3" fmla="*/ 1106 h 3252"/>
                <a:gd name="T4" fmla="*/ 1108 w 3262"/>
                <a:gd name="T5" fmla="*/ 0 h 3252"/>
                <a:gd name="T6" fmla="*/ 2154 w 3262"/>
                <a:gd name="T7" fmla="*/ 0 h 3252"/>
                <a:gd name="T8" fmla="*/ 2154 w 3262"/>
                <a:gd name="T9" fmla="*/ 1106 h 3252"/>
                <a:gd name="T10" fmla="*/ 3262 w 3262"/>
                <a:gd name="T11" fmla="*/ 1106 h 3252"/>
                <a:gd name="T12" fmla="*/ 3262 w 3262"/>
                <a:gd name="T13" fmla="*/ 2146 h 3252"/>
                <a:gd name="T14" fmla="*/ 2154 w 3262"/>
                <a:gd name="T15" fmla="*/ 2146 h 3252"/>
                <a:gd name="T16" fmla="*/ 2154 w 3262"/>
                <a:gd name="T17" fmla="*/ 3252 h 3252"/>
                <a:gd name="T18" fmla="*/ 1108 w 3262"/>
                <a:gd name="T19" fmla="*/ 3252 h 3252"/>
                <a:gd name="T20" fmla="*/ 1108 w 3262"/>
                <a:gd name="T21" fmla="*/ 2146 h 3252"/>
                <a:gd name="T22" fmla="*/ 0 w 3262"/>
                <a:gd name="T23" fmla="*/ 2146 h 3252"/>
                <a:gd name="T24" fmla="*/ 0 w 3262"/>
                <a:gd name="T25" fmla="*/ 1106 h 3252"/>
                <a:gd name="T26" fmla="*/ 0 w 3262"/>
                <a:gd name="T27" fmla="*/ 1106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2" h="3252">
                  <a:moveTo>
                    <a:pt x="0" y="1106"/>
                  </a:moveTo>
                  <a:lnTo>
                    <a:pt x="1108" y="1106"/>
                  </a:lnTo>
                  <a:lnTo>
                    <a:pt x="1108" y="0"/>
                  </a:lnTo>
                  <a:lnTo>
                    <a:pt x="2154" y="0"/>
                  </a:lnTo>
                  <a:lnTo>
                    <a:pt x="2154" y="1106"/>
                  </a:lnTo>
                  <a:lnTo>
                    <a:pt x="3262" y="1106"/>
                  </a:lnTo>
                  <a:lnTo>
                    <a:pt x="3262" y="2146"/>
                  </a:lnTo>
                  <a:lnTo>
                    <a:pt x="2154" y="2146"/>
                  </a:lnTo>
                  <a:lnTo>
                    <a:pt x="2154" y="3252"/>
                  </a:lnTo>
                  <a:lnTo>
                    <a:pt x="1108" y="3252"/>
                  </a:lnTo>
                  <a:lnTo>
                    <a:pt x="1108" y="2146"/>
                  </a:lnTo>
                  <a:lnTo>
                    <a:pt x="0" y="2146"/>
                  </a:lnTo>
                  <a:lnTo>
                    <a:pt x="0" y="1106"/>
                  </a:lnTo>
                  <a:lnTo>
                    <a:pt x="0" y="11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2" name="Freeform 5">
              <a:extLst>
                <a:ext uri="{FF2B5EF4-FFF2-40B4-BE49-F238E27FC236}">
                  <a16:creationId xmlns:a16="http://schemas.microsoft.com/office/drawing/2014/main" id="{10789FD1-DD48-46B1-A5D8-BAD018004A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42794" y="16887"/>
              <a:ext cx="749205" cy="746908"/>
            </a:xfrm>
            <a:custGeom>
              <a:avLst/>
              <a:gdLst>
                <a:gd name="T0" fmla="*/ 0 w 3262"/>
                <a:gd name="T1" fmla="*/ 1106 h 3252"/>
                <a:gd name="T2" fmla="*/ 1108 w 3262"/>
                <a:gd name="T3" fmla="*/ 1106 h 3252"/>
                <a:gd name="T4" fmla="*/ 1108 w 3262"/>
                <a:gd name="T5" fmla="*/ 0 h 3252"/>
                <a:gd name="T6" fmla="*/ 2154 w 3262"/>
                <a:gd name="T7" fmla="*/ 0 h 3252"/>
                <a:gd name="T8" fmla="*/ 2154 w 3262"/>
                <a:gd name="T9" fmla="*/ 1106 h 3252"/>
                <a:gd name="T10" fmla="*/ 3262 w 3262"/>
                <a:gd name="T11" fmla="*/ 1106 h 3252"/>
                <a:gd name="T12" fmla="*/ 3262 w 3262"/>
                <a:gd name="T13" fmla="*/ 2146 h 3252"/>
                <a:gd name="T14" fmla="*/ 2154 w 3262"/>
                <a:gd name="T15" fmla="*/ 2146 h 3252"/>
                <a:gd name="T16" fmla="*/ 2154 w 3262"/>
                <a:gd name="T17" fmla="*/ 3252 h 3252"/>
                <a:gd name="T18" fmla="*/ 1108 w 3262"/>
                <a:gd name="T19" fmla="*/ 3252 h 3252"/>
                <a:gd name="T20" fmla="*/ 1108 w 3262"/>
                <a:gd name="T21" fmla="*/ 2146 h 3252"/>
                <a:gd name="T22" fmla="*/ 0 w 3262"/>
                <a:gd name="T23" fmla="*/ 2146 h 3252"/>
                <a:gd name="T24" fmla="*/ 0 w 3262"/>
                <a:gd name="T25" fmla="*/ 1106 h 3252"/>
                <a:gd name="T26" fmla="*/ 0 w 3262"/>
                <a:gd name="T27" fmla="*/ 1106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2" h="3252">
                  <a:moveTo>
                    <a:pt x="0" y="1106"/>
                  </a:moveTo>
                  <a:lnTo>
                    <a:pt x="1108" y="1106"/>
                  </a:lnTo>
                  <a:lnTo>
                    <a:pt x="1108" y="0"/>
                  </a:lnTo>
                  <a:lnTo>
                    <a:pt x="2154" y="0"/>
                  </a:lnTo>
                  <a:lnTo>
                    <a:pt x="2154" y="1106"/>
                  </a:lnTo>
                  <a:lnTo>
                    <a:pt x="3262" y="1106"/>
                  </a:lnTo>
                  <a:lnTo>
                    <a:pt x="3262" y="2146"/>
                  </a:lnTo>
                  <a:lnTo>
                    <a:pt x="2154" y="2146"/>
                  </a:lnTo>
                  <a:lnTo>
                    <a:pt x="2154" y="3252"/>
                  </a:lnTo>
                  <a:lnTo>
                    <a:pt x="1108" y="3252"/>
                  </a:lnTo>
                  <a:lnTo>
                    <a:pt x="1108" y="2146"/>
                  </a:lnTo>
                  <a:lnTo>
                    <a:pt x="0" y="2146"/>
                  </a:lnTo>
                  <a:lnTo>
                    <a:pt x="0" y="1106"/>
                  </a:lnTo>
                  <a:lnTo>
                    <a:pt x="0" y="11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5" name="Freeform 5">
              <a:extLst>
                <a:ext uri="{FF2B5EF4-FFF2-40B4-BE49-F238E27FC236}">
                  <a16:creationId xmlns:a16="http://schemas.microsoft.com/office/drawing/2014/main" id="{27B328B8-F73D-4CCB-B277-B65B84EE85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57269" y="1261766"/>
              <a:ext cx="749205" cy="746908"/>
            </a:xfrm>
            <a:custGeom>
              <a:avLst/>
              <a:gdLst>
                <a:gd name="T0" fmla="*/ 0 w 3262"/>
                <a:gd name="T1" fmla="*/ 1106 h 3252"/>
                <a:gd name="T2" fmla="*/ 1108 w 3262"/>
                <a:gd name="T3" fmla="*/ 1106 h 3252"/>
                <a:gd name="T4" fmla="*/ 1108 w 3262"/>
                <a:gd name="T5" fmla="*/ 0 h 3252"/>
                <a:gd name="T6" fmla="*/ 2154 w 3262"/>
                <a:gd name="T7" fmla="*/ 0 h 3252"/>
                <a:gd name="T8" fmla="*/ 2154 w 3262"/>
                <a:gd name="T9" fmla="*/ 1106 h 3252"/>
                <a:gd name="T10" fmla="*/ 3262 w 3262"/>
                <a:gd name="T11" fmla="*/ 1106 h 3252"/>
                <a:gd name="T12" fmla="*/ 3262 w 3262"/>
                <a:gd name="T13" fmla="*/ 2146 h 3252"/>
                <a:gd name="T14" fmla="*/ 2154 w 3262"/>
                <a:gd name="T15" fmla="*/ 2146 h 3252"/>
                <a:gd name="T16" fmla="*/ 2154 w 3262"/>
                <a:gd name="T17" fmla="*/ 3252 h 3252"/>
                <a:gd name="T18" fmla="*/ 1108 w 3262"/>
                <a:gd name="T19" fmla="*/ 3252 h 3252"/>
                <a:gd name="T20" fmla="*/ 1108 w 3262"/>
                <a:gd name="T21" fmla="*/ 2146 h 3252"/>
                <a:gd name="T22" fmla="*/ 0 w 3262"/>
                <a:gd name="T23" fmla="*/ 2146 h 3252"/>
                <a:gd name="T24" fmla="*/ 0 w 3262"/>
                <a:gd name="T25" fmla="*/ 1106 h 3252"/>
                <a:gd name="T26" fmla="*/ 0 w 3262"/>
                <a:gd name="T27" fmla="*/ 1106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2" h="3252">
                  <a:moveTo>
                    <a:pt x="0" y="1106"/>
                  </a:moveTo>
                  <a:lnTo>
                    <a:pt x="1108" y="1106"/>
                  </a:lnTo>
                  <a:lnTo>
                    <a:pt x="1108" y="0"/>
                  </a:lnTo>
                  <a:lnTo>
                    <a:pt x="2154" y="0"/>
                  </a:lnTo>
                  <a:lnTo>
                    <a:pt x="2154" y="1106"/>
                  </a:lnTo>
                  <a:lnTo>
                    <a:pt x="3262" y="1106"/>
                  </a:lnTo>
                  <a:lnTo>
                    <a:pt x="3262" y="2146"/>
                  </a:lnTo>
                  <a:lnTo>
                    <a:pt x="2154" y="2146"/>
                  </a:lnTo>
                  <a:lnTo>
                    <a:pt x="2154" y="3252"/>
                  </a:lnTo>
                  <a:lnTo>
                    <a:pt x="1108" y="3252"/>
                  </a:lnTo>
                  <a:lnTo>
                    <a:pt x="1108" y="2146"/>
                  </a:lnTo>
                  <a:lnTo>
                    <a:pt x="0" y="2146"/>
                  </a:lnTo>
                  <a:lnTo>
                    <a:pt x="0" y="1106"/>
                  </a:lnTo>
                  <a:lnTo>
                    <a:pt x="0" y="11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6" name="Freeform 5">
              <a:extLst>
                <a:ext uri="{FF2B5EF4-FFF2-40B4-BE49-F238E27FC236}">
                  <a16:creationId xmlns:a16="http://schemas.microsoft.com/office/drawing/2014/main" id="{650D5BA1-E5F2-4405-9717-5E4F075F46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04763" y="1261766"/>
              <a:ext cx="749205" cy="746908"/>
            </a:xfrm>
            <a:custGeom>
              <a:avLst/>
              <a:gdLst>
                <a:gd name="T0" fmla="*/ 0 w 3262"/>
                <a:gd name="T1" fmla="*/ 1106 h 3252"/>
                <a:gd name="T2" fmla="*/ 1108 w 3262"/>
                <a:gd name="T3" fmla="*/ 1106 h 3252"/>
                <a:gd name="T4" fmla="*/ 1108 w 3262"/>
                <a:gd name="T5" fmla="*/ 0 h 3252"/>
                <a:gd name="T6" fmla="*/ 2154 w 3262"/>
                <a:gd name="T7" fmla="*/ 0 h 3252"/>
                <a:gd name="T8" fmla="*/ 2154 w 3262"/>
                <a:gd name="T9" fmla="*/ 1106 h 3252"/>
                <a:gd name="T10" fmla="*/ 3262 w 3262"/>
                <a:gd name="T11" fmla="*/ 1106 h 3252"/>
                <a:gd name="T12" fmla="*/ 3262 w 3262"/>
                <a:gd name="T13" fmla="*/ 2146 h 3252"/>
                <a:gd name="T14" fmla="*/ 2154 w 3262"/>
                <a:gd name="T15" fmla="*/ 2146 h 3252"/>
                <a:gd name="T16" fmla="*/ 2154 w 3262"/>
                <a:gd name="T17" fmla="*/ 3252 h 3252"/>
                <a:gd name="T18" fmla="*/ 1108 w 3262"/>
                <a:gd name="T19" fmla="*/ 3252 h 3252"/>
                <a:gd name="T20" fmla="*/ 1108 w 3262"/>
                <a:gd name="T21" fmla="*/ 2146 h 3252"/>
                <a:gd name="T22" fmla="*/ 0 w 3262"/>
                <a:gd name="T23" fmla="*/ 2146 h 3252"/>
                <a:gd name="T24" fmla="*/ 0 w 3262"/>
                <a:gd name="T25" fmla="*/ 1106 h 3252"/>
                <a:gd name="T26" fmla="*/ 0 w 3262"/>
                <a:gd name="T27" fmla="*/ 1106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2" h="3252">
                  <a:moveTo>
                    <a:pt x="0" y="1106"/>
                  </a:moveTo>
                  <a:lnTo>
                    <a:pt x="1108" y="1106"/>
                  </a:lnTo>
                  <a:lnTo>
                    <a:pt x="1108" y="0"/>
                  </a:lnTo>
                  <a:lnTo>
                    <a:pt x="2154" y="0"/>
                  </a:lnTo>
                  <a:lnTo>
                    <a:pt x="2154" y="1106"/>
                  </a:lnTo>
                  <a:lnTo>
                    <a:pt x="3262" y="1106"/>
                  </a:lnTo>
                  <a:lnTo>
                    <a:pt x="3262" y="2146"/>
                  </a:lnTo>
                  <a:lnTo>
                    <a:pt x="2154" y="2146"/>
                  </a:lnTo>
                  <a:lnTo>
                    <a:pt x="2154" y="3252"/>
                  </a:lnTo>
                  <a:lnTo>
                    <a:pt x="1108" y="3252"/>
                  </a:lnTo>
                  <a:lnTo>
                    <a:pt x="1108" y="2146"/>
                  </a:lnTo>
                  <a:lnTo>
                    <a:pt x="0" y="2146"/>
                  </a:lnTo>
                  <a:lnTo>
                    <a:pt x="0" y="1106"/>
                  </a:lnTo>
                  <a:lnTo>
                    <a:pt x="0" y="11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7" name="Freeform 5">
              <a:extLst>
                <a:ext uri="{FF2B5EF4-FFF2-40B4-BE49-F238E27FC236}">
                  <a16:creationId xmlns:a16="http://schemas.microsoft.com/office/drawing/2014/main" id="{5B88EB8B-4D31-4048-83B8-9E5438C402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52258" y="1261766"/>
              <a:ext cx="749205" cy="746908"/>
            </a:xfrm>
            <a:custGeom>
              <a:avLst/>
              <a:gdLst>
                <a:gd name="T0" fmla="*/ 0 w 3262"/>
                <a:gd name="T1" fmla="*/ 1106 h 3252"/>
                <a:gd name="T2" fmla="*/ 1108 w 3262"/>
                <a:gd name="T3" fmla="*/ 1106 h 3252"/>
                <a:gd name="T4" fmla="*/ 1108 w 3262"/>
                <a:gd name="T5" fmla="*/ 0 h 3252"/>
                <a:gd name="T6" fmla="*/ 2154 w 3262"/>
                <a:gd name="T7" fmla="*/ 0 h 3252"/>
                <a:gd name="T8" fmla="*/ 2154 w 3262"/>
                <a:gd name="T9" fmla="*/ 1106 h 3252"/>
                <a:gd name="T10" fmla="*/ 3262 w 3262"/>
                <a:gd name="T11" fmla="*/ 1106 h 3252"/>
                <a:gd name="T12" fmla="*/ 3262 w 3262"/>
                <a:gd name="T13" fmla="*/ 2146 h 3252"/>
                <a:gd name="T14" fmla="*/ 2154 w 3262"/>
                <a:gd name="T15" fmla="*/ 2146 h 3252"/>
                <a:gd name="T16" fmla="*/ 2154 w 3262"/>
                <a:gd name="T17" fmla="*/ 3252 h 3252"/>
                <a:gd name="T18" fmla="*/ 1108 w 3262"/>
                <a:gd name="T19" fmla="*/ 3252 h 3252"/>
                <a:gd name="T20" fmla="*/ 1108 w 3262"/>
                <a:gd name="T21" fmla="*/ 2146 h 3252"/>
                <a:gd name="T22" fmla="*/ 0 w 3262"/>
                <a:gd name="T23" fmla="*/ 2146 h 3252"/>
                <a:gd name="T24" fmla="*/ 0 w 3262"/>
                <a:gd name="T25" fmla="*/ 1106 h 3252"/>
                <a:gd name="T26" fmla="*/ 0 w 3262"/>
                <a:gd name="T27" fmla="*/ 1106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2" h="3252">
                  <a:moveTo>
                    <a:pt x="0" y="1106"/>
                  </a:moveTo>
                  <a:lnTo>
                    <a:pt x="1108" y="1106"/>
                  </a:lnTo>
                  <a:lnTo>
                    <a:pt x="1108" y="0"/>
                  </a:lnTo>
                  <a:lnTo>
                    <a:pt x="2154" y="0"/>
                  </a:lnTo>
                  <a:lnTo>
                    <a:pt x="2154" y="1106"/>
                  </a:lnTo>
                  <a:lnTo>
                    <a:pt x="3262" y="1106"/>
                  </a:lnTo>
                  <a:lnTo>
                    <a:pt x="3262" y="2146"/>
                  </a:lnTo>
                  <a:lnTo>
                    <a:pt x="2154" y="2146"/>
                  </a:lnTo>
                  <a:lnTo>
                    <a:pt x="2154" y="3252"/>
                  </a:lnTo>
                  <a:lnTo>
                    <a:pt x="1108" y="3252"/>
                  </a:lnTo>
                  <a:lnTo>
                    <a:pt x="1108" y="2146"/>
                  </a:lnTo>
                  <a:lnTo>
                    <a:pt x="0" y="2146"/>
                  </a:lnTo>
                  <a:lnTo>
                    <a:pt x="0" y="1106"/>
                  </a:lnTo>
                  <a:lnTo>
                    <a:pt x="0" y="11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8" name="Freeform 5">
              <a:extLst>
                <a:ext uri="{FF2B5EF4-FFF2-40B4-BE49-F238E27FC236}">
                  <a16:creationId xmlns:a16="http://schemas.microsoft.com/office/drawing/2014/main" id="{C21E09F9-07D9-4F48-9194-BD98AC97B2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99753" y="1261766"/>
              <a:ext cx="749205" cy="746908"/>
            </a:xfrm>
            <a:custGeom>
              <a:avLst/>
              <a:gdLst>
                <a:gd name="T0" fmla="*/ 0 w 3262"/>
                <a:gd name="T1" fmla="*/ 1106 h 3252"/>
                <a:gd name="T2" fmla="*/ 1108 w 3262"/>
                <a:gd name="T3" fmla="*/ 1106 h 3252"/>
                <a:gd name="T4" fmla="*/ 1108 w 3262"/>
                <a:gd name="T5" fmla="*/ 0 h 3252"/>
                <a:gd name="T6" fmla="*/ 2154 w 3262"/>
                <a:gd name="T7" fmla="*/ 0 h 3252"/>
                <a:gd name="T8" fmla="*/ 2154 w 3262"/>
                <a:gd name="T9" fmla="*/ 1106 h 3252"/>
                <a:gd name="T10" fmla="*/ 3262 w 3262"/>
                <a:gd name="T11" fmla="*/ 1106 h 3252"/>
                <a:gd name="T12" fmla="*/ 3262 w 3262"/>
                <a:gd name="T13" fmla="*/ 2146 h 3252"/>
                <a:gd name="T14" fmla="*/ 2154 w 3262"/>
                <a:gd name="T15" fmla="*/ 2146 h 3252"/>
                <a:gd name="T16" fmla="*/ 2154 w 3262"/>
                <a:gd name="T17" fmla="*/ 3252 h 3252"/>
                <a:gd name="T18" fmla="*/ 1108 w 3262"/>
                <a:gd name="T19" fmla="*/ 3252 h 3252"/>
                <a:gd name="T20" fmla="*/ 1108 w 3262"/>
                <a:gd name="T21" fmla="*/ 2146 h 3252"/>
                <a:gd name="T22" fmla="*/ 0 w 3262"/>
                <a:gd name="T23" fmla="*/ 2146 h 3252"/>
                <a:gd name="T24" fmla="*/ 0 w 3262"/>
                <a:gd name="T25" fmla="*/ 1106 h 3252"/>
                <a:gd name="T26" fmla="*/ 0 w 3262"/>
                <a:gd name="T27" fmla="*/ 1106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2" h="3252">
                  <a:moveTo>
                    <a:pt x="0" y="1106"/>
                  </a:moveTo>
                  <a:lnTo>
                    <a:pt x="1108" y="1106"/>
                  </a:lnTo>
                  <a:lnTo>
                    <a:pt x="1108" y="0"/>
                  </a:lnTo>
                  <a:lnTo>
                    <a:pt x="2154" y="0"/>
                  </a:lnTo>
                  <a:lnTo>
                    <a:pt x="2154" y="1106"/>
                  </a:lnTo>
                  <a:lnTo>
                    <a:pt x="3262" y="1106"/>
                  </a:lnTo>
                  <a:lnTo>
                    <a:pt x="3262" y="2146"/>
                  </a:lnTo>
                  <a:lnTo>
                    <a:pt x="2154" y="2146"/>
                  </a:lnTo>
                  <a:lnTo>
                    <a:pt x="2154" y="3252"/>
                  </a:lnTo>
                  <a:lnTo>
                    <a:pt x="1108" y="3252"/>
                  </a:lnTo>
                  <a:lnTo>
                    <a:pt x="1108" y="2146"/>
                  </a:lnTo>
                  <a:lnTo>
                    <a:pt x="0" y="2146"/>
                  </a:lnTo>
                  <a:lnTo>
                    <a:pt x="0" y="1106"/>
                  </a:lnTo>
                  <a:lnTo>
                    <a:pt x="0" y="11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9" name="Freeform 5">
              <a:extLst>
                <a:ext uri="{FF2B5EF4-FFF2-40B4-BE49-F238E27FC236}">
                  <a16:creationId xmlns:a16="http://schemas.microsoft.com/office/drawing/2014/main" id="{A4906C5E-34CA-4261-BF4B-B2AA763668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47247" y="1261766"/>
              <a:ext cx="749205" cy="746908"/>
            </a:xfrm>
            <a:custGeom>
              <a:avLst/>
              <a:gdLst>
                <a:gd name="T0" fmla="*/ 0 w 3262"/>
                <a:gd name="T1" fmla="*/ 1106 h 3252"/>
                <a:gd name="T2" fmla="*/ 1108 w 3262"/>
                <a:gd name="T3" fmla="*/ 1106 h 3252"/>
                <a:gd name="T4" fmla="*/ 1108 w 3262"/>
                <a:gd name="T5" fmla="*/ 0 h 3252"/>
                <a:gd name="T6" fmla="*/ 2154 w 3262"/>
                <a:gd name="T7" fmla="*/ 0 h 3252"/>
                <a:gd name="T8" fmla="*/ 2154 w 3262"/>
                <a:gd name="T9" fmla="*/ 1106 h 3252"/>
                <a:gd name="T10" fmla="*/ 3262 w 3262"/>
                <a:gd name="T11" fmla="*/ 1106 h 3252"/>
                <a:gd name="T12" fmla="*/ 3262 w 3262"/>
                <a:gd name="T13" fmla="*/ 2146 h 3252"/>
                <a:gd name="T14" fmla="*/ 2154 w 3262"/>
                <a:gd name="T15" fmla="*/ 2146 h 3252"/>
                <a:gd name="T16" fmla="*/ 2154 w 3262"/>
                <a:gd name="T17" fmla="*/ 3252 h 3252"/>
                <a:gd name="T18" fmla="*/ 1108 w 3262"/>
                <a:gd name="T19" fmla="*/ 3252 h 3252"/>
                <a:gd name="T20" fmla="*/ 1108 w 3262"/>
                <a:gd name="T21" fmla="*/ 2146 h 3252"/>
                <a:gd name="T22" fmla="*/ 0 w 3262"/>
                <a:gd name="T23" fmla="*/ 2146 h 3252"/>
                <a:gd name="T24" fmla="*/ 0 w 3262"/>
                <a:gd name="T25" fmla="*/ 1106 h 3252"/>
                <a:gd name="T26" fmla="*/ 0 w 3262"/>
                <a:gd name="T27" fmla="*/ 1106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2" h="3252">
                  <a:moveTo>
                    <a:pt x="0" y="1106"/>
                  </a:moveTo>
                  <a:lnTo>
                    <a:pt x="1108" y="1106"/>
                  </a:lnTo>
                  <a:lnTo>
                    <a:pt x="1108" y="0"/>
                  </a:lnTo>
                  <a:lnTo>
                    <a:pt x="2154" y="0"/>
                  </a:lnTo>
                  <a:lnTo>
                    <a:pt x="2154" y="1106"/>
                  </a:lnTo>
                  <a:lnTo>
                    <a:pt x="3262" y="1106"/>
                  </a:lnTo>
                  <a:lnTo>
                    <a:pt x="3262" y="2146"/>
                  </a:lnTo>
                  <a:lnTo>
                    <a:pt x="2154" y="2146"/>
                  </a:lnTo>
                  <a:lnTo>
                    <a:pt x="2154" y="3252"/>
                  </a:lnTo>
                  <a:lnTo>
                    <a:pt x="1108" y="3252"/>
                  </a:lnTo>
                  <a:lnTo>
                    <a:pt x="1108" y="2146"/>
                  </a:lnTo>
                  <a:lnTo>
                    <a:pt x="0" y="2146"/>
                  </a:lnTo>
                  <a:lnTo>
                    <a:pt x="0" y="1106"/>
                  </a:lnTo>
                  <a:lnTo>
                    <a:pt x="0" y="11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3" name="Freeform 5">
              <a:extLst>
                <a:ext uri="{FF2B5EF4-FFF2-40B4-BE49-F238E27FC236}">
                  <a16:creationId xmlns:a16="http://schemas.microsoft.com/office/drawing/2014/main" id="{F733F965-D3CD-45FD-93CF-A771B7DD6D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8809" y="16887"/>
              <a:ext cx="749205" cy="746908"/>
            </a:xfrm>
            <a:custGeom>
              <a:avLst/>
              <a:gdLst>
                <a:gd name="T0" fmla="*/ 0 w 3262"/>
                <a:gd name="T1" fmla="*/ 1106 h 3252"/>
                <a:gd name="T2" fmla="*/ 1108 w 3262"/>
                <a:gd name="T3" fmla="*/ 1106 h 3252"/>
                <a:gd name="T4" fmla="*/ 1108 w 3262"/>
                <a:gd name="T5" fmla="*/ 0 h 3252"/>
                <a:gd name="T6" fmla="*/ 2154 w 3262"/>
                <a:gd name="T7" fmla="*/ 0 h 3252"/>
                <a:gd name="T8" fmla="*/ 2154 w 3262"/>
                <a:gd name="T9" fmla="*/ 1106 h 3252"/>
                <a:gd name="T10" fmla="*/ 3262 w 3262"/>
                <a:gd name="T11" fmla="*/ 1106 h 3252"/>
                <a:gd name="T12" fmla="*/ 3262 w 3262"/>
                <a:gd name="T13" fmla="*/ 2146 h 3252"/>
                <a:gd name="T14" fmla="*/ 2154 w 3262"/>
                <a:gd name="T15" fmla="*/ 2146 h 3252"/>
                <a:gd name="T16" fmla="*/ 2154 w 3262"/>
                <a:gd name="T17" fmla="*/ 3252 h 3252"/>
                <a:gd name="T18" fmla="*/ 1108 w 3262"/>
                <a:gd name="T19" fmla="*/ 3252 h 3252"/>
                <a:gd name="T20" fmla="*/ 1108 w 3262"/>
                <a:gd name="T21" fmla="*/ 2146 h 3252"/>
                <a:gd name="T22" fmla="*/ 0 w 3262"/>
                <a:gd name="T23" fmla="*/ 2146 h 3252"/>
                <a:gd name="T24" fmla="*/ 0 w 3262"/>
                <a:gd name="T25" fmla="*/ 1106 h 3252"/>
                <a:gd name="T26" fmla="*/ 0 w 3262"/>
                <a:gd name="T27" fmla="*/ 1106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2" h="3252">
                  <a:moveTo>
                    <a:pt x="0" y="1106"/>
                  </a:moveTo>
                  <a:lnTo>
                    <a:pt x="1108" y="1106"/>
                  </a:lnTo>
                  <a:lnTo>
                    <a:pt x="1108" y="0"/>
                  </a:lnTo>
                  <a:lnTo>
                    <a:pt x="2154" y="0"/>
                  </a:lnTo>
                  <a:lnTo>
                    <a:pt x="2154" y="1106"/>
                  </a:lnTo>
                  <a:lnTo>
                    <a:pt x="3262" y="1106"/>
                  </a:lnTo>
                  <a:lnTo>
                    <a:pt x="3262" y="2146"/>
                  </a:lnTo>
                  <a:lnTo>
                    <a:pt x="2154" y="2146"/>
                  </a:lnTo>
                  <a:lnTo>
                    <a:pt x="2154" y="3252"/>
                  </a:lnTo>
                  <a:lnTo>
                    <a:pt x="1108" y="3252"/>
                  </a:lnTo>
                  <a:lnTo>
                    <a:pt x="1108" y="2146"/>
                  </a:lnTo>
                  <a:lnTo>
                    <a:pt x="0" y="2146"/>
                  </a:lnTo>
                  <a:lnTo>
                    <a:pt x="0" y="1106"/>
                  </a:lnTo>
                  <a:lnTo>
                    <a:pt x="0" y="11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4" name="Freeform 5">
              <a:extLst>
                <a:ext uri="{FF2B5EF4-FFF2-40B4-BE49-F238E27FC236}">
                  <a16:creationId xmlns:a16="http://schemas.microsoft.com/office/drawing/2014/main" id="{DC5C1D29-F624-4DA9-B81E-81CAC49306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1242" y="16887"/>
              <a:ext cx="749205" cy="746908"/>
            </a:xfrm>
            <a:custGeom>
              <a:avLst/>
              <a:gdLst>
                <a:gd name="T0" fmla="*/ 0 w 3262"/>
                <a:gd name="T1" fmla="*/ 1106 h 3252"/>
                <a:gd name="T2" fmla="*/ 1108 w 3262"/>
                <a:gd name="T3" fmla="*/ 1106 h 3252"/>
                <a:gd name="T4" fmla="*/ 1108 w 3262"/>
                <a:gd name="T5" fmla="*/ 0 h 3252"/>
                <a:gd name="T6" fmla="*/ 2154 w 3262"/>
                <a:gd name="T7" fmla="*/ 0 h 3252"/>
                <a:gd name="T8" fmla="*/ 2154 w 3262"/>
                <a:gd name="T9" fmla="*/ 1106 h 3252"/>
                <a:gd name="T10" fmla="*/ 3262 w 3262"/>
                <a:gd name="T11" fmla="*/ 1106 h 3252"/>
                <a:gd name="T12" fmla="*/ 3262 w 3262"/>
                <a:gd name="T13" fmla="*/ 2146 h 3252"/>
                <a:gd name="T14" fmla="*/ 2154 w 3262"/>
                <a:gd name="T15" fmla="*/ 2146 h 3252"/>
                <a:gd name="T16" fmla="*/ 2154 w 3262"/>
                <a:gd name="T17" fmla="*/ 3252 h 3252"/>
                <a:gd name="T18" fmla="*/ 1108 w 3262"/>
                <a:gd name="T19" fmla="*/ 3252 h 3252"/>
                <a:gd name="T20" fmla="*/ 1108 w 3262"/>
                <a:gd name="T21" fmla="*/ 2146 h 3252"/>
                <a:gd name="T22" fmla="*/ 0 w 3262"/>
                <a:gd name="T23" fmla="*/ 2146 h 3252"/>
                <a:gd name="T24" fmla="*/ 0 w 3262"/>
                <a:gd name="T25" fmla="*/ 1106 h 3252"/>
                <a:gd name="T26" fmla="*/ 0 w 3262"/>
                <a:gd name="T27" fmla="*/ 1106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2" h="3252">
                  <a:moveTo>
                    <a:pt x="0" y="1106"/>
                  </a:moveTo>
                  <a:lnTo>
                    <a:pt x="1108" y="1106"/>
                  </a:lnTo>
                  <a:lnTo>
                    <a:pt x="1108" y="0"/>
                  </a:lnTo>
                  <a:lnTo>
                    <a:pt x="2154" y="0"/>
                  </a:lnTo>
                  <a:lnTo>
                    <a:pt x="2154" y="1106"/>
                  </a:lnTo>
                  <a:lnTo>
                    <a:pt x="3262" y="1106"/>
                  </a:lnTo>
                  <a:lnTo>
                    <a:pt x="3262" y="2146"/>
                  </a:lnTo>
                  <a:lnTo>
                    <a:pt x="2154" y="2146"/>
                  </a:lnTo>
                  <a:lnTo>
                    <a:pt x="2154" y="3252"/>
                  </a:lnTo>
                  <a:lnTo>
                    <a:pt x="1108" y="3252"/>
                  </a:lnTo>
                  <a:lnTo>
                    <a:pt x="1108" y="2146"/>
                  </a:lnTo>
                  <a:lnTo>
                    <a:pt x="0" y="2146"/>
                  </a:lnTo>
                  <a:lnTo>
                    <a:pt x="0" y="1106"/>
                  </a:lnTo>
                  <a:lnTo>
                    <a:pt x="0" y="11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8" name="Freeform 5">
              <a:extLst>
                <a:ext uri="{FF2B5EF4-FFF2-40B4-BE49-F238E27FC236}">
                  <a16:creationId xmlns:a16="http://schemas.microsoft.com/office/drawing/2014/main" id="{A5994840-DDE1-4624-A906-BED06C7AC9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52815" y="3994753"/>
              <a:ext cx="749205" cy="746908"/>
            </a:xfrm>
            <a:custGeom>
              <a:avLst/>
              <a:gdLst>
                <a:gd name="T0" fmla="*/ 0 w 3262"/>
                <a:gd name="T1" fmla="*/ 1106 h 3252"/>
                <a:gd name="T2" fmla="*/ 1108 w 3262"/>
                <a:gd name="T3" fmla="*/ 1106 h 3252"/>
                <a:gd name="T4" fmla="*/ 1108 w 3262"/>
                <a:gd name="T5" fmla="*/ 0 h 3252"/>
                <a:gd name="T6" fmla="*/ 2154 w 3262"/>
                <a:gd name="T7" fmla="*/ 0 h 3252"/>
                <a:gd name="T8" fmla="*/ 2154 w 3262"/>
                <a:gd name="T9" fmla="*/ 1106 h 3252"/>
                <a:gd name="T10" fmla="*/ 3262 w 3262"/>
                <a:gd name="T11" fmla="*/ 1106 h 3252"/>
                <a:gd name="T12" fmla="*/ 3262 w 3262"/>
                <a:gd name="T13" fmla="*/ 2146 h 3252"/>
                <a:gd name="T14" fmla="*/ 2154 w 3262"/>
                <a:gd name="T15" fmla="*/ 2146 h 3252"/>
                <a:gd name="T16" fmla="*/ 2154 w 3262"/>
                <a:gd name="T17" fmla="*/ 3252 h 3252"/>
                <a:gd name="T18" fmla="*/ 1108 w 3262"/>
                <a:gd name="T19" fmla="*/ 3252 h 3252"/>
                <a:gd name="T20" fmla="*/ 1108 w 3262"/>
                <a:gd name="T21" fmla="*/ 2146 h 3252"/>
                <a:gd name="T22" fmla="*/ 0 w 3262"/>
                <a:gd name="T23" fmla="*/ 2146 h 3252"/>
                <a:gd name="T24" fmla="*/ 0 w 3262"/>
                <a:gd name="T25" fmla="*/ 1106 h 3252"/>
                <a:gd name="T26" fmla="*/ 0 w 3262"/>
                <a:gd name="T27" fmla="*/ 1106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2" h="3252">
                  <a:moveTo>
                    <a:pt x="0" y="1106"/>
                  </a:moveTo>
                  <a:lnTo>
                    <a:pt x="1108" y="1106"/>
                  </a:lnTo>
                  <a:lnTo>
                    <a:pt x="1108" y="0"/>
                  </a:lnTo>
                  <a:lnTo>
                    <a:pt x="2154" y="0"/>
                  </a:lnTo>
                  <a:lnTo>
                    <a:pt x="2154" y="1106"/>
                  </a:lnTo>
                  <a:lnTo>
                    <a:pt x="3262" y="1106"/>
                  </a:lnTo>
                  <a:lnTo>
                    <a:pt x="3262" y="2146"/>
                  </a:lnTo>
                  <a:lnTo>
                    <a:pt x="2154" y="2146"/>
                  </a:lnTo>
                  <a:lnTo>
                    <a:pt x="2154" y="3252"/>
                  </a:lnTo>
                  <a:lnTo>
                    <a:pt x="1108" y="3252"/>
                  </a:lnTo>
                  <a:lnTo>
                    <a:pt x="1108" y="2146"/>
                  </a:lnTo>
                  <a:lnTo>
                    <a:pt x="0" y="2146"/>
                  </a:lnTo>
                  <a:lnTo>
                    <a:pt x="0" y="1106"/>
                  </a:lnTo>
                  <a:lnTo>
                    <a:pt x="0" y="11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9" name="Freeform 5">
              <a:extLst>
                <a:ext uri="{FF2B5EF4-FFF2-40B4-BE49-F238E27FC236}">
                  <a16:creationId xmlns:a16="http://schemas.microsoft.com/office/drawing/2014/main" id="{36DCE0D8-D3B9-436E-98FE-B23AB1CC1A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00310" y="3994753"/>
              <a:ext cx="749205" cy="746908"/>
            </a:xfrm>
            <a:custGeom>
              <a:avLst/>
              <a:gdLst>
                <a:gd name="T0" fmla="*/ 0 w 3262"/>
                <a:gd name="T1" fmla="*/ 1106 h 3252"/>
                <a:gd name="T2" fmla="*/ 1108 w 3262"/>
                <a:gd name="T3" fmla="*/ 1106 h 3252"/>
                <a:gd name="T4" fmla="*/ 1108 w 3262"/>
                <a:gd name="T5" fmla="*/ 0 h 3252"/>
                <a:gd name="T6" fmla="*/ 2154 w 3262"/>
                <a:gd name="T7" fmla="*/ 0 h 3252"/>
                <a:gd name="T8" fmla="*/ 2154 w 3262"/>
                <a:gd name="T9" fmla="*/ 1106 h 3252"/>
                <a:gd name="T10" fmla="*/ 3262 w 3262"/>
                <a:gd name="T11" fmla="*/ 1106 h 3252"/>
                <a:gd name="T12" fmla="*/ 3262 w 3262"/>
                <a:gd name="T13" fmla="*/ 2146 h 3252"/>
                <a:gd name="T14" fmla="*/ 2154 w 3262"/>
                <a:gd name="T15" fmla="*/ 2146 h 3252"/>
                <a:gd name="T16" fmla="*/ 2154 w 3262"/>
                <a:gd name="T17" fmla="*/ 3252 h 3252"/>
                <a:gd name="T18" fmla="*/ 1108 w 3262"/>
                <a:gd name="T19" fmla="*/ 3252 h 3252"/>
                <a:gd name="T20" fmla="*/ 1108 w 3262"/>
                <a:gd name="T21" fmla="*/ 2146 h 3252"/>
                <a:gd name="T22" fmla="*/ 0 w 3262"/>
                <a:gd name="T23" fmla="*/ 2146 h 3252"/>
                <a:gd name="T24" fmla="*/ 0 w 3262"/>
                <a:gd name="T25" fmla="*/ 1106 h 3252"/>
                <a:gd name="T26" fmla="*/ 0 w 3262"/>
                <a:gd name="T27" fmla="*/ 1106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2" h="3252">
                  <a:moveTo>
                    <a:pt x="0" y="1106"/>
                  </a:moveTo>
                  <a:lnTo>
                    <a:pt x="1108" y="1106"/>
                  </a:lnTo>
                  <a:lnTo>
                    <a:pt x="1108" y="0"/>
                  </a:lnTo>
                  <a:lnTo>
                    <a:pt x="2154" y="0"/>
                  </a:lnTo>
                  <a:lnTo>
                    <a:pt x="2154" y="1106"/>
                  </a:lnTo>
                  <a:lnTo>
                    <a:pt x="3262" y="1106"/>
                  </a:lnTo>
                  <a:lnTo>
                    <a:pt x="3262" y="2146"/>
                  </a:lnTo>
                  <a:lnTo>
                    <a:pt x="2154" y="2146"/>
                  </a:lnTo>
                  <a:lnTo>
                    <a:pt x="2154" y="3252"/>
                  </a:lnTo>
                  <a:lnTo>
                    <a:pt x="1108" y="3252"/>
                  </a:lnTo>
                  <a:lnTo>
                    <a:pt x="1108" y="2146"/>
                  </a:lnTo>
                  <a:lnTo>
                    <a:pt x="0" y="2146"/>
                  </a:lnTo>
                  <a:lnTo>
                    <a:pt x="0" y="1106"/>
                  </a:lnTo>
                  <a:lnTo>
                    <a:pt x="0" y="11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0" name="Freeform 5">
              <a:extLst>
                <a:ext uri="{FF2B5EF4-FFF2-40B4-BE49-F238E27FC236}">
                  <a16:creationId xmlns:a16="http://schemas.microsoft.com/office/drawing/2014/main" id="{AA6E2B5C-5F76-44A6-9567-1524CDB50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47805" y="3994753"/>
              <a:ext cx="749205" cy="746908"/>
            </a:xfrm>
            <a:custGeom>
              <a:avLst/>
              <a:gdLst>
                <a:gd name="T0" fmla="*/ 0 w 3262"/>
                <a:gd name="T1" fmla="*/ 1106 h 3252"/>
                <a:gd name="T2" fmla="*/ 1108 w 3262"/>
                <a:gd name="T3" fmla="*/ 1106 h 3252"/>
                <a:gd name="T4" fmla="*/ 1108 w 3262"/>
                <a:gd name="T5" fmla="*/ 0 h 3252"/>
                <a:gd name="T6" fmla="*/ 2154 w 3262"/>
                <a:gd name="T7" fmla="*/ 0 h 3252"/>
                <a:gd name="T8" fmla="*/ 2154 w 3262"/>
                <a:gd name="T9" fmla="*/ 1106 h 3252"/>
                <a:gd name="T10" fmla="*/ 3262 w 3262"/>
                <a:gd name="T11" fmla="*/ 1106 h 3252"/>
                <a:gd name="T12" fmla="*/ 3262 w 3262"/>
                <a:gd name="T13" fmla="*/ 2146 h 3252"/>
                <a:gd name="T14" fmla="*/ 2154 w 3262"/>
                <a:gd name="T15" fmla="*/ 2146 h 3252"/>
                <a:gd name="T16" fmla="*/ 2154 w 3262"/>
                <a:gd name="T17" fmla="*/ 3252 h 3252"/>
                <a:gd name="T18" fmla="*/ 1108 w 3262"/>
                <a:gd name="T19" fmla="*/ 3252 h 3252"/>
                <a:gd name="T20" fmla="*/ 1108 w 3262"/>
                <a:gd name="T21" fmla="*/ 2146 h 3252"/>
                <a:gd name="T22" fmla="*/ 0 w 3262"/>
                <a:gd name="T23" fmla="*/ 2146 h 3252"/>
                <a:gd name="T24" fmla="*/ 0 w 3262"/>
                <a:gd name="T25" fmla="*/ 1106 h 3252"/>
                <a:gd name="T26" fmla="*/ 0 w 3262"/>
                <a:gd name="T27" fmla="*/ 1106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2" h="3252">
                  <a:moveTo>
                    <a:pt x="0" y="1106"/>
                  </a:moveTo>
                  <a:lnTo>
                    <a:pt x="1108" y="1106"/>
                  </a:lnTo>
                  <a:lnTo>
                    <a:pt x="1108" y="0"/>
                  </a:lnTo>
                  <a:lnTo>
                    <a:pt x="2154" y="0"/>
                  </a:lnTo>
                  <a:lnTo>
                    <a:pt x="2154" y="1106"/>
                  </a:lnTo>
                  <a:lnTo>
                    <a:pt x="3262" y="1106"/>
                  </a:lnTo>
                  <a:lnTo>
                    <a:pt x="3262" y="2146"/>
                  </a:lnTo>
                  <a:lnTo>
                    <a:pt x="2154" y="2146"/>
                  </a:lnTo>
                  <a:lnTo>
                    <a:pt x="2154" y="3252"/>
                  </a:lnTo>
                  <a:lnTo>
                    <a:pt x="1108" y="3252"/>
                  </a:lnTo>
                  <a:lnTo>
                    <a:pt x="1108" y="2146"/>
                  </a:lnTo>
                  <a:lnTo>
                    <a:pt x="0" y="2146"/>
                  </a:lnTo>
                  <a:lnTo>
                    <a:pt x="0" y="1106"/>
                  </a:lnTo>
                  <a:lnTo>
                    <a:pt x="0" y="11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1" name="Freeform 5">
              <a:extLst>
                <a:ext uri="{FF2B5EF4-FFF2-40B4-BE49-F238E27FC236}">
                  <a16:creationId xmlns:a16="http://schemas.microsoft.com/office/drawing/2014/main" id="{06A39B99-A999-4122-BC0E-477FB4541C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95299" y="3994753"/>
              <a:ext cx="749205" cy="746908"/>
            </a:xfrm>
            <a:custGeom>
              <a:avLst/>
              <a:gdLst>
                <a:gd name="T0" fmla="*/ 0 w 3262"/>
                <a:gd name="T1" fmla="*/ 1106 h 3252"/>
                <a:gd name="T2" fmla="*/ 1108 w 3262"/>
                <a:gd name="T3" fmla="*/ 1106 h 3252"/>
                <a:gd name="T4" fmla="*/ 1108 w 3262"/>
                <a:gd name="T5" fmla="*/ 0 h 3252"/>
                <a:gd name="T6" fmla="*/ 2154 w 3262"/>
                <a:gd name="T7" fmla="*/ 0 h 3252"/>
                <a:gd name="T8" fmla="*/ 2154 w 3262"/>
                <a:gd name="T9" fmla="*/ 1106 h 3252"/>
                <a:gd name="T10" fmla="*/ 3262 w 3262"/>
                <a:gd name="T11" fmla="*/ 1106 h 3252"/>
                <a:gd name="T12" fmla="*/ 3262 w 3262"/>
                <a:gd name="T13" fmla="*/ 2146 h 3252"/>
                <a:gd name="T14" fmla="*/ 2154 w 3262"/>
                <a:gd name="T15" fmla="*/ 2146 h 3252"/>
                <a:gd name="T16" fmla="*/ 2154 w 3262"/>
                <a:gd name="T17" fmla="*/ 3252 h 3252"/>
                <a:gd name="T18" fmla="*/ 1108 w 3262"/>
                <a:gd name="T19" fmla="*/ 3252 h 3252"/>
                <a:gd name="T20" fmla="*/ 1108 w 3262"/>
                <a:gd name="T21" fmla="*/ 2146 h 3252"/>
                <a:gd name="T22" fmla="*/ 0 w 3262"/>
                <a:gd name="T23" fmla="*/ 2146 h 3252"/>
                <a:gd name="T24" fmla="*/ 0 w 3262"/>
                <a:gd name="T25" fmla="*/ 1106 h 3252"/>
                <a:gd name="T26" fmla="*/ 0 w 3262"/>
                <a:gd name="T27" fmla="*/ 1106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2" h="3252">
                  <a:moveTo>
                    <a:pt x="0" y="1106"/>
                  </a:moveTo>
                  <a:lnTo>
                    <a:pt x="1108" y="1106"/>
                  </a:lnTo>
                  <a:lnTo>
                    <a:pt x="1108" y="0"/>
                  </a:lnTo>
                  <a:lnTo>
                    <a:pt x="2154" y="0"/>
                  </a:lnTo>
                  <a:lnTo>
                    <a:pt x="2154" y="1106"/>
                  </a:lnTo>
                  <a:lnTo>
                    <a:pt x="3262" y="1106"/>
                  </a:lnTo>
                  <a:lnTo>
                    <a:pt x="3262" y="2146"/>
                  </a:lnTo>
                  <a:lnTo>
                    <a:pt x="2154" y="2146"/>
                  </a:lnTo>
                  <a:lnTo>
                    <a:pt x="2154" y="3252"/>
                  </a:lnTo>
                  <a:lnTo>
                    <a:pt x="1108" y="3252"/>
                  </a:lnTo>
                  <a:lnTo>
                    <a:pt x="1108" y="2146"/>
                  </a:lnTo>
                  <a:lnTo>
                    <a:pt x="0" y="2146"/>
                  </a:lnTo>
                  <a:lnTo>
                    <a:pt x="0" y="1106"/>
                  </a:lnTo>
                  <a:lnTo>
                    <a:pt x="0" y="11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2" name="Freeform 5">
              <a:extLst>
                <a:ext uri="{FF2B5EF4-FFF2-40B4-BE49-F238E27FC236}">
                  <a16:creationId xmlns:a16="http://schemas.microsoft.com/office/drawing/2014/main" id="{B81E9AD0-FDD8-4C11-95C4-56141EE9DA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42794" y="3994753"/>
              <a:ext cx="749205" cy="746908"/>
            </a:xfrm>
            <a:custGeom>
              <a:avLst/>
              <a:gdLst>
                <a:gd name="T0" fmla="*/ 0 w 3262"/>
                <a:gd name="T1" fmla="*/ 1106 h 3252"/>
                <a:gd name="T2" fmla="*/ 1108 w 3262"/>
                <a:gd name="T3" fmla="*/ 1106 h 3252"/>
                <a:gd name="T4" fmla="*/ 1108 w 3262"/>
                <a:gd name="T5" fmla="*/ 0 h 3252"/>
                <a:gd name="T6" fmla="*/ 2154 w 3262"/>
                <a:gd name="T7" fmla="*/ 0 h 3252"/>
                <a:gd name="T8" fmla="*/ 2154 w 3262"/>
                <a:gd name="T9" fmla="*/ 1106 h 3252"/>
                <a:gd name="T10" fmla="*/ 3262 w 3262"/>
                <a:gd name="T11" fmla="*/ 1106 h 3252"/>
                <a:gd name="T12" fmla="*/ 3262 w 3262"/>
                <a:gd name="T13" fmla="*/ 2146 h 3252"/>
                <a:gd name="T14" fmla="*/ 2154 w 3262"/>
                <a:gd name="T15" fmla="*/ 2146 h 3252"/>
                <a:gd name="T16" fmla="*/ 2154 w 3262"/>
                <a:gd name="T17" fmla="*/ 3252 h 3252"/>
                <a:gd name="T18" fmla="*/ 1108 w 3262"/>
                <a:gd name="T19" fmla="*/ 3252 h 3252"/>
                <a:gd name="T20" fmla="*/ 1108 w 3262"/>
                <a:gd name="T21" fmla="*/ 2146 h 3252"/>
                <a:gd name="T22" fmla="*/ 0 w 3262"/>
                <a:gd name="T23" fmla="*/ 2146 h 3252"/>
                <a:gd name="T24" fmla="*/ 0 w 3262"/>
                <a:gd name="T25" fmla="*/ 1106 h 3252"/>
                <a:gd name="T26" fmla="*/ 0 w 3262"/>
                <a:gd name="T27" fmla="*/ 1106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2" h="3252">
                  <a:moveTo>
                    <a:pt x="0" y="1106"/>
                  </a:moveTo>
                  <a:lnTo>
                    <a:pt x="1108" y="1106"/>
                  </a:lnTo>
                  <a:lnTo>
                    <a:pt x="1108" y="0"/>
                  </a:lnTo>
                  <a:lnTo>
                    <a:pt x="2154" y="0"/>
                  </a:lnTo>
                  <a:lnTo>
                    <a:pt x="2154" y="1106"/>
                  </a:lnTo>
                  <a:lnTo>
                    <a:pt x="3262" y="1106"/>
                  </a:lnTo>
                  <a:lnTo>
                    <a:pt x="3262" y="2146"/>
                  </a:lnTo>
                  <a:lnTo>
                    <a:pt x="2154" y="2146"/>
                  </a:lnTo>
                  <a:lnTo>
                    <a:pt x="2154" y="3252"/>
                  </a:lnTo>
                  <a:lnTo>
                    <a:pt x="1108" y="3252"/>
                  </a:lnTo>
                  <a:lnTo>
                    <a:pt x="1108" y="2146"/>
                  </a:lnTo>
                  <a:lnTo>
                    <a:pt x="0" y="2146"/>
                  </a:lnTo>
                  <a:lnTo>
                    <a:pt x="0" y="1106"/>
                  </a:lnTo>
                  <a:lnTo>
                    <a:pt x="0" y="11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</p:grpSp>
      <p:sp>
        <p:nvSpPr>
          <p:cNvPr id="9875" name="矩形 9874">
            <a:extLst>
              <a:ext uri="{FF2B5EF4-FFF2-40B4-BE49-F238E27FC236}">
                <a16:creationId xmlns:a16="http://schemas.microsoft.com/office/drawing/2014/main" id="{F5445AA7-51D9-4D49-8C8C-181C512ACF10}"/>
              </a:ext>
            </a:extLst>
          </p:cNvPr>
          <p:cNvSpPr/>
          <p:nvPr userDrawn="1"/>
        </p:nvSpPr>
        <p:spPr>
          <a:xfrm>
            <a:off x="0" y="5077229"/>
            <a:ext cx="12192000" cy="1780771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4F7C3C1-B71E-4D99-8A61-A0F46FE00209}"/>
              </a:ext>
            </a:extLst>
          </p:cNvPr>
          <p:cNvSpPr>
            <a:spLocks/>
          </p:cNvSpPr>
          <p:nvPr userDrawn="1"/>
        </p:nvSpPr>
        <p:spPr bwMode="auto">
          <a:xfrm>
            <a:off x="1521440" y="-1"/>
            <a:ext cx="4019550" cy="4007227"/>
          </a:xfrm>
          <a:custGeom>
            <a:avLst/>
            <a:gdLst>
              <a:gd name="T0" fmla="*/ 0 w 3262"/>
              <a:gd name="T1" fmla="*/ 1106 h 3252"/>
              <a:gd name="T2" fmla="*/ 1108 w 3262"/>
              <a:gd name="T3" fmla="*/ 1106 h 3252"/>
              <a:gd name="T4" fmla="*/ 1108 w 3262"/>
              <a:gd name="T5" fmla="*/ 0 h 3252"/>
              <a:gd name="T6" fmla="*/ 2154 w 3262"/>
              <a:gd name="T7" fmla="*/ 0 h 3252"/>
              <a:gd name="T8" fmla="*/ 2154 w 3262"/>
              <a:gd name="T9" fmla="*/ 1106 h 3252"/>
              <a:gd name="T10" fmla="*/ 3262 w 3262"/>
              <a:gd name="T11" fmla="*/ 1106 h 3252"/>
              <a:gd name="T12" fmla="*/ 3262 w 3262"/>
              <a:gd name="T13" fmla="*/ 2146 h 3252"/>
              <a:gd name="T14" fmla="*/ 2154 w 3262"/>
              <a:gd name="T15" fmla="*/ 2146 h 3252"/>
              <a:gd name="T16" fmla="*/ 2154 w 3262"/>
              <a:gd name="T17" fmla="*/ 3252 h 3252"/>
              <a:gd name="T18" fmla="*/ 1108 w 3262"/>
              <a:gd name="T19" fmla="*/ 3252 h 3252"/>
              <a:gd name="T20" fmla="*/ 1108 w 3262"/>
              <a:gd name="T21" fmla="*/ 2146 h 3252"/>
              <a:gd name="T22" fmla="*/ 0 w 3262"/>
              <a:gd name="T23" fmla="*/ 2146 h 3252"/>
              <a:gd name="T24" fmla="*/ 0 w 3262"/>
              <a:gd name="T25" fmla="*/ 1106 h 3252"/>
              <a:gd name="T26" fmla="*/ 0 w 3262"/>
              <a:gd name="T27" fmla="*/ 1106 h 3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262" h="3252">
                <a:moveTo>
                  <a:pt x="0" y="1106"/>
                </a:moveTo>
                <a:lnTo>
                  <a:pt x="1108" y="1106"/>
                </a:lnTo>
                <a:lnTo>
                  <a:pt x="1108" y="0"/>
                </a:lnTo>
                <a:lnTo>
                  <a:pt x="2154" y="0"/>
                </a:lnTo>
                <a:lnTo>
                  <a:pt x="2154" y="1106"/>
                </a:lnTo>
                <a:lnTo>
                  <a:pt x="3262" y="1106"/>
                </a:lnTo>
                <a:lnTo>
                  <a:pt x="3262" y="2146"/>
                </a:lnTo>
                <a:lnTo>
                  <a:pt x="2154" y="2146"/>
                </a:lnTo>
                <a:lnTo>
                  <a:pt x="2154" y="3252"/>
                </a:lnTo>
                <a:lnTo>
                  <a:pt x="1108" y="3252"/>
                </a:lnTo>
                <a:lnTo>
                  <a:pt x="1108" y="2146"/>
                </a:lnTo>
                <a:lnTo>
                  <a:pt x="0" y="2146"/>
                </a:lnTo>
                <a:lnTo>
                  <a:pt x="0" y="1106"/>
                </a:lnTo>
                <a:lnTo>
                  <a:pt x="0" y="110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grpSp>
        <p:nvGrpSpPr>
          <p:cNvPr id="9878" name="组合 9877">
            <a:extLst>
              <a:ext uri="{FF2B5EF4-FFF2-40B4-BE49-F238E27FC236}">
                <a16:creationId xmlns:a16="http://schemas.microsoft.com/office/drawing/2014/main" id="{D45BE4CF-709F-4339-AA80-C33467858C28}"/>
              </a:ext>
            </a:extLst>
          </p:cNvPr>
          <p:cNvGrpSpPr/>
          <p:nvPr userDrawn="1"/>
        </p:nvGrpSpPr>
        <p:grpSpPr>
          <a:xfrm>
            <a:off x="673458" y="3168650"/>
            <a:ext cx="5672138" cy="2967038"/>
            <a:chOff x="673458" y="3168650"/>
            <a:chExt cx="5672138" cy="2967038"/>
          </a:xfrm>
        </p:grpSpPr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D5789524-2AAF-4C28-8370-B447B4F0A3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458" y="5391149"/>
              <a:ext cx="5672138" cy="725487"/>
            </a:xfrm>
            <a:custGeom>
              <a:avLst/>
              <a:gdLst>
                <a:gd name="T0" fmla="*/ 4299 w 4897"/>
                <a:gd name="T1" fmla="*/ 0 h 582"/>
                <a:gd name="T2" fmla="*/ 1819 w 4897"/>
                <a:gd name="T3" fmla="*/ 0 h 582"/>
                <a:gd name="T4" fmla="*/ 1812 w 4897"/>
                <a:gd name="T5" fmla="*/ 187 h 582"/>
                <a:gd name="T6" fmla="*/ 1801 w 4897"/>
                <a:gd name="T7" fmla="*/ 479 h 582"/>
                <a:gd name="T8" fmla="*/ 1701 w 4897"/>
                <a:gd name="T9" fmla="*/ 492 h 582"/>
                <a:gd name="T10" fmla="*/ 1649 w 4897"/>
                <a:gd name="T11" fmla="*/ 223 h 582"/>
                <a:gd name="T12" fmla="*/ 1605 w 4897"/>
                <a:gd name="T13" fmla="*/ 0 h 582"/>
                <a:gd name="T14" fmla="*/ 1341 w 4897"/>
                <a:gd name="T15" fmla="*/ 0 h 582"/>
                <a:gd name="T16" fmla="*/ 1266 w 4897"/>
                <a:gd name="T17" fmla="*/ 512 h 582"/>
                <a:gd name="T18" fmla="*/ 1167 w 4897"/>
                <a:gd name="T19" fmla="*/ 512 h 582"/>
                <a:gd name="T20" fmla="*/ 1137 w 4897"/>
                <a:gd name="T21" fmla="*/ 0 h 582"/>
                <a:gd name="T22" fmla="*/ 63 w 4897"/>
                <a:gd name="T23" fmla="*/ 1 h 582"/>
                <a:gd name="T24" fmla="*/ 31 w 4897"/>
                <a:gd name="T25" fmla="*/ 75 h 582"/>
                <a:gd name="T26" fmla="*/ 469 w 4897"/>
                <a:gd name="T27" fmla="*/ 485 h 582"/>
                <a:gd name="T28" fmla="*/ 732 w 4897"/>
                <a:gd name="T29" fmla="*/ 582 h 582"/>
                <a:gd name="T30" fmla="*/ 4496 w 4897"/>
                <a:gd name="T31" fmla="*/ 582 h 582"/>
                <a:gd name="T32" fmla="*/ 4715 w 4897"/>
                <a:gd name="T33" fmla="*/ 254 h 582"/>
                <a:gd name="T34" fmla="*/ 4299 w 4897"/>
                <a:gd name="T35" fmla="*/ 0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97" h="582">
                  <a:moveTo>
                    <a:pt x="4299" y="0"/>
                  </a:moveTo>
                  <a:cubicBezTo>
                    <a:pt x="1819" y="0"/>
                    <a:pt x="1819" y="0"/>
                    <a:pt x="1819" y="0"/>
                  </a:cubicBezTo>
                  <a:cubicBezTo>
                    <a:pt x="1816" y="62"/>
                    <a:pt x="1814" y="125"/>
                    <a:pt x="1812" y="187"/>
                  </a:cubicBezTo>
                  <a:cubicBezTo>
                    <a:pt x="1808" y="284"/>
                    <a:pt x="1804" y="382"/>
                    <a:pt x="1801" y="479"/>
                  </a:cubicBezTo>
                  <a:cubicBezTo>
                    <a:pt x="1701" y="492"/>
                    <a:pt x="1701" y="492"/>
                    <a:pt x="1701" y="492"/>
                  </a:cubicBezTo>
                  <a:cubicBezTo>
                    <a:pt x="1684" y="402"/>
                    <a:pt x="1666" y="313"/>
                    <a:pt x="1649" y="223"/>
                  </a:cubicBezTo>
                  <a:cubicBezTo>
                    <a:pt x="1634" y="149"/>
                    <a:pt x="1620" y="75"/>
                    <a:pt x="1605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266" y="512"/>
                    <a:pt x="1266" y="512"/>
                    <a:pt x="1266" y="512"/>
                  </a:cubicBezTo>
                  <a:cubicBezTo>
                    <a:pt x="1167" y="512"/>
                    <a:pt x="1167" y="512"/>
                    <a:pt x="1167" y="512"/>
                  </a:cubicBezTo>
                  <a:cubicBezTo>
                    <a:pt x="1137" y="0"/>
                    <a:pt x="1137" y="0"/>
                    <a:pt x="1137" y="0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20" y="1"/>
                    <a:pt x="0" y="49"/>
                    <a:pt x="31" y="75"/>
                  </a:cubicBezTo>
                  <a:cubicBezTo>
                    <a:pt x="469" y="485"/>
                    <a:pt x="469" y="485"/>
                    <a:pt x="469" y="485"/>
                  </a:cubicBezTo>
                  <a:cubicBezTo>
                    <a:pt x="540" y="547"/>
                    <a:pt x="634" y="582"/>
                    <a:pt x="732" y="582"/>
                  </a:cubicBezTo>
                  <a:cubicBezTo>
                    <a:pt x="4496" y="582"/>
                    <a:pt x="4496" y="582"/>
                    <a:pt x="4496" y="582"/>
                  </a:cubicBezTo>
                  <a:cubicBezTo>
                    <a:pt x="4721" y="582"/>
                    <a:pt x="4897" y="373"/>
                    <a:pt x="4715" y="254"/>
                  </a:cubicBezTo>
                  <a:cubicBezTo>
                    <a:pt x="4299" y="0"/>
                    <a:pt x="4299" y="0"/>
                    <a:pt x="4299" y="0"/>
                  </a:cubicBezTo>
                </a:path>
              </a:pathLst>
            </a:custGeom>
            <a:gradFill>
              <a:gsLst>
                <a:gs pos="40000">
                  <a:schemeClr val="accent1"/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42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76002BB8-B5D1-4068-B66D-D38091F928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00671" y="3876675"/>
              <a:ext cx="1666875" cy="1025525"/>
            </a:xfrm>
            <a:custGeom>
              <a:avLst/>
              <a:gdLst>
                <a:gd name="T0" fmla="*/ 0 w 1439"/>
                <a:gd name="T1" fmla="*/ 884 h 886"/>
                <a:gd name="T2" fmla="*/ 0 w 1439"/>
                <a:gd name="T3" fmla="*/ 174 h 886"/>
                <a:gd name="T4" fmla="*/ 174 w 1439"/>
                <a:gd name="T5" fmla="*/ 0 h 886"/>
                <a:gd name="T6" fmla="*/ 1265 w 1439"/>
                <a:gd name="T7" fmla="*/ 0 h 886"/>
                <a:gd name="T8" fmla="*/ 1439 w 1439"/>
                <a:gd name="T9" fmla="*/ 174 h 886"/>
                <a:gd name="T10" fmla="*/ 1439 w 1439"/>
                <a:gd name="T11" fmla="*/ 886 h 886"/>
                <a:gd name="T12" fmla="*/ 0 w 1439"/>
                <a:gd name="T13" fmla="*/ 884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9" h="886">
                  <a:moveTo>
                    <a:pt x="0" y="884"/>
                  </a:moveTo>
                  <a:cubicBezTo>
                    <a:pt x="0" y="174"/>
                    <a:pt x="0" y="174"/>
                    <a:pt x="0" y="174"/>
                  </a:cubicBezTo>
                  <a:cubicBezTo>
                    <a:pt x="0" y="78"/>
                    <a:pt x="78" y="0"/>
                    <a:pt x="174" y="0"/>
                  </a:cubicBezTo>
                  <a:cubicBezTo>
                    <a:pt x="1265" y="0"/>
                    <a:pt x="1265" y="0"/>
                    <a:pt x="1265" y="0"/>
                  </a:cubicBezTo>
                  <a:cubicBezTo>
                    <a:pt x="1361" y="0"/>
                    <a:pt x="1439" y="78"/>
                    <a:pt x="1439" y="174"/>
                  </a:cubicBezTo>
                  <a:cubicBezTo>
                    <a:pt x="1439" y="886"/>
                    <a:pt x="1439" y="886"/>
                    <a:pt x="1439" y="886"/>
                  </a:cubicBezTo>
                  <a:cubicBezTo>
                    <a:pt x="0" y="884"/>
                    <a:pt x="0" y="884"/>
                    <a:pt x="0" y="884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BB69F9FD-4D5C-4B5F-ADAA-00D65D7F29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2208" y="3876675"/>
              <a:ext cx="1668463" cy="1025525"/>
            </a:xfrm>
            <a:custGeom>
              <a:avLst/>
              <a:gdLst>
                <a:gd name="T0" fmla="*/ 0 w 1439"/>
                <a:gd name="T1" fmla="*/ 884 h 886"/>
                <a:gd name="T2" fmla="*/ 0 w 1439"/>
                <a:gd name="T3" fmla="*/ 174 h 886"/>
                <a:gd name="T4" fmla="*/ 174 w 1439"/>
                <a:gd name="T5" fmla="*/ 0 h 886"/>
                <a:gd name="T6" fmla="*/ 1265 w 1439"/>
                <a:gd name="T7" fmla="*/ 0 h 886"/>
                <a:gd name="T8" fmla="*/ 1439 w 1439"/>
                <a:gd name="T9" fmla="*/ 174 h 886"/>
                <a:gd name="T10" fmla="*/ 1439 w 1439"/>
                <a:gd name="T11" fmla="*/ 886 h 886"/>
                <a:gd name="T12" fmla="*/ 0 w 1439"/>
                <a:gd name="T13" fmla="*/ 884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9" h="886">
                  <a:moveTo>
                    <a:pt x="0" y="884"/>
                  </a:moveTo>
                  <a:cubicBezTo>
                    <a:pt x="0" y="174"/>
                    <a:pt x="0" y="174"/>
                    <a:pt x="0" y="174"/>
                  </a:cubicBezTo>
                  <a:cubicBezTo>
                    <a:pt x="0" y="78"/>
                    <a:pt x="78" y="0"/>
                    <a:pt x="174" y="0"/>
                  </a:cubicBezTo>
                  <a:cubicBezTo>
                    <a:pt x="1265" y="0"/>
                    <a:pt x="1265" y="0"/>
                    <a:pt x="1265" y="0"/>
                  </a:cubicBezTo>
                  <a:cubicBezTo>
                    <a:pt x="1361" y="0"/>
                    <a:pt x="1439" y="78"/>
                    <a:pt x="1439" y="174"/>
                  </a:cubicBezTo>
                  <a:cubicBezTo>
                    <a:pt x="1439" y="886"/>
                    <a:pt x="1439" y="886"/>
                    <a:pt x="1439" y="886"/>
                  </a:cubicBezTo>
                  <a:cubicBezTo>
                    <a:pt x="0" y="884"/>
                    <a:pt x="0" y="884"/>
                    <a:pt x="0" y="884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93F62CE9-F89E-476D-83FD-AF34CF2CA6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7546" y="3876675"/>
              <a:ext cx="1668463" cy="1027113"/>
            </a:xfrm>
            <a:custGeom>
              <a:avLst/>
              <a:gdLst>
                <a:gd name="T0" fmla="*/ 0 w 1440"/>
                <a:gd name="T1" fmla="*/ 888 h 888"/>
                <a:gd name="T2" fmla="*/ 0 w 1440"/>
                <a:gd name="T3" fmla="*/ 174 h 888"/>
                <a:gd name="T4" fmla="*/ 174 w 1440"/>
                <a:gd name="T5" fmla="*/ 0 h 888"/>
                <a:gd name="T6" fmla="*/ 1266 w 1440"/>
                <a:gd name="T7" fmla="*/ 0 h 888"/>
                <a:gd name="T8" fmla="*/ 1440 w 1440"/>
                <a:gd name="T9" fmla="*/ 174 h 888"/>
                <a:gd name="T10" fmla="*/ 1440 w 1440"/>
                <a:gd name="T11" fmla="*/ 886 h 888"/>
                <a:gd name="T12" fmla="*/ 0 w 1440"/>
                <a:gd name="T13" fmla="*/ 888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0" h="888">
                  <a:moveTo>
                    <a:pt x="0" y="888"/>
                  </a:moveTo>
                  <a:cubicBezTo>
                    <a:pt x="0" y="174"/>
                    <a:pt x="0" y="174"/>
                    <a:pt x="0" y="174"/>
                  </a:cubicBezTo>
                  <a:cubicBezTo>
                    <a:pt x="0" y="78"/>
                    <a:pt x="78" y="0"/>
                    <a:pt x="174" y="0"/>
                  </a:cubicBezTo>
                  <a:cubicBezTo>
                    <a:pt x="1266" y="0"/>
                    <a:pt x="1266" y="0"/>
                    <a:pt x="1266" y="0"/>
                  </a:cubicBezTo>
                  <a:cubicBezTo>
                    <a:pt x="1362" y="0"/>
                    <a:pt x="1440" y="78"/>
                    <a:pt x="1440" y="174"/>
                  </a:cubicBezTo>
                  <a:cubicBezTo>
                    <a:pt x="1440" y="886"/>
                    <a:pt x="1440" y="886"/>
                    <a:pt x="1440" y="886"/>
                  </a:cubicBezTo>
                  <a:cubicBezTo>
                    <a:pt x="0" y="888"/>
                    <a:pt x="0" y="888"/>
                    <a:pt x="0" y="88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DE130FEC-6357-494F-8C8E-F60A9D99A3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00671" y="3916363"/>
              <a:ext cx="1666875" cy="985838"/>
            </a:xfrm>
            <a:custGeom>
              <a:avLst/>
              <a:gdLst>
                <a:gd name="T0" fmla="*/ 1368 w 1439"/>
                <a:gd name="T1" fmla="*/ 0 h 852"/>
                <a:gd name="T2" fmla="*/ 0 w 1439"/>
                <a:gd name="T3" fmla="*/ 844 h 852"/>
                <a:gd name="T4" fmla="*/ 0 w 1439"/>
                <a:gd name="T5" fmla="*/ 850 h 852"/>
                <a:gd name="T6" fmla="*/ 1439 w 1439"/>
                <a:gd name="T7" fmla="*/ 852 h 852"/>
                <a:gd name="T8" fmla="*/ 1439 w 1439"/>
                <a:gd name="T9" fmla="*/ 140 h 852"/>
                <a:gd name="T10" fmla="*/ 1368 w 1439"/>
                <a:gd name="T11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39" h="852">
                  <a:moveTo>
                    <a:pt x="1368" y="0"/>
                  </a:moveTo>
                  <a:cubicBezTo>
                    <a:pt x="0" y="844"/>
                    <a:pt x="0" y="844"/>
                    <a:pt x="0" y="844"/>
                  </a:cubicBezTo>
                  <a:cubicBezTo>
                    <a:pt x="0" y="850"/>
                    <a:pt x="0" y="850"/>
                    <a:pt x="0" y="850"/>
                  </a:cubicBezTo>
                  <a:cubicBezTo>
                    <a:pt x="1439" y="852"/>
                    <a:pt x="1439" y="852"/>
                    <a:pt x="1439" y="852"/>
                  </a:cubicBezTo>
                  <a:cubicBezTo>
                    <a:pt x="1439" y="140"/>
                    <a:pt x="1439" y="140"/>
                    <a:pt x="1439" y="140"/>
                  </a:cubicBezTo>
                  <a:cubicBezTo>
                    <a:pt x="1439" y="83"/>
                    <a:pt x="1411" y="32"/>
                    <a:pt x="1368" y="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A923DBEB-CC0E-43C4-80E5-AD11F9B74E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7546" y="3921125"/>
              <a:ext cx="1668463" cy="982663"/>
            </a:xfrm>
            <a:custGeom>
              <a:avLst/>
              <a:gdLst>
                <a:gd name="T0" fmla="*/ 1375 w 1439"/>
                <a:gd name="T1" fmla="*/ 0 h 849"/>
                <a:gd name="T2" fmla="*/ 0 w 1439"/>
                <a:gd name="T3" fmla="*/ 849 h 849"/>
                <a:gd name="T4" fmla="*/ 1439 w 1439"/>
                <a:gd name="T5" fmla="*/ 847 h 849"/>
                <a:gd name="T6" fmla="*/ 1439 w 1439"/>
                <a:gd name="T7" fmla="*/ 135 h 849"/>
                <a:gd name="T8" fmla="*/ 1375 w 1439"/>
                <a:gd name="T9" fmla="*/ 0 h 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9" h="849">
                  <a:moveTo>
                    <a:pt x="1375" y="0"/>
                  </a:moveTo>
                  <a:cubicBezTo>
                    <a:pt x="0" y="849"/>
                    <a:pt x="0" y="849"/>
                    <a:pt x="0" y="849"/>
                  </a:cubicBezTo>
                  <a:cubicBezTo>
                    <a:pt x="1439" y="847"/>
                    <a:pt x="1439" y="847"/>
                    <a:pt x="1439" y="847"/>
                  </a:cubicBezTo>
                  <a:cubicBezTo>
                    <a:pt x="1439" y="135"/>
                    <a:pt x="1439" y="135"/>
                    <a:pt x="1439" y="135"/>
                  </a:cubicBezTo>
                  <a:cubicBezTo>
                    <a:pt x="1439" y="81"/>
                    <a:pt x="1414" y="32"/>
                    <a:pt x="1375" y="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C3D547C6-B8DE-4CCC-BE66-297941A7E7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2208" y="3921125"/>
              <a:ext cx="1668463" cy="985838"/>
            </a:xfrm>
            <a:custGeom>
              <a:avLst/>
              <a:gdLst>
                <a:gd name="T0" fmla="*/ 1368 w 1439"/>
                <a:gd name="T1" fmla="*/ 0 h 852"/>
                <a:gd name="T2" fmla="*/ 0 w 1439"/>
                <a:gd name="T3" fmla="*/ 844 h 852"/>
                <a:gd name="T4" fmla="*/ 0 w 1439"/>
                <a:gd name="T5" fmla="*/ 850 h 852"/>
                <a:gd name="T6" fmla="*/ 1439 w 1439"/>
                <a:gd name="T7" fmla="*/ 852 h 852"/>
                <a:gd name="T8" fmla="*/ 1439 w 1439"/>
                <a:gd name="T9" fmla="*/ 140 h 852"/>
                <a:gd name="T10" fmla="*/ 1368 w 1439"/>
                <a:gd name="T11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39" h="852">
                  <a:moveTo>
                    <a:pt x="1368" y="0"/>
                  </a:moveTo>
                  <a:cubicBezTo>
                    <a:pt x="0" y="844"/>
                    <a:pt x="0" y="844"/>
                    <a:pt x="0" y="844"/>
                  </a:cubicBezTo>
                  <a:cubicBezTo>
                    <a:pt x="0" y="850"/>
                    <a:pt x="0" y="850"/>
                    <a:pt x="0" y="850"/>
                  </a:cubicBezTo>
                  <a:cubicBezTo>
                    <a:pt x="1439" y="852"/>
                    <a:pt x="1439" y="852"/>
                    <a:pt x="1439" y="852"/>
                  </a:cubicBezTo>
                  <a:cubicBezTo>
                    <a:pt x="1439" y="140"/>
                    <a:pt x="1439" y="140"/>
                    <a:pt x="1439" y="140"/>
                  </a:cubicBezTo>
                  <a:cubicBezTo>
                    <a:pt x="1439" y="83"/>
                    <a:pt x="1411" y="32"/>
                    <a:pt x="1368" y="0"/>
                  </a:cubicBezTo>
                </a:path>
              </a:pathLst>
            </a:custGeom>
            <a:solidFill>
              <a:srgbClr val="0D55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F7049883-C170-4D30-A672-4FAEBA0909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7783" y="5226050"/>
              <a:ext cx="4692650" cy="400050"/>
            </a:xfrm>
            <a:custGeom>
              <a:avLst/>
              <a:gdLst>
                <a:gd name="T0" fmla="*/ 2902 w 2956"/>
                <a:gd name="T1" fmla="*/ 58 h 252"/>
                <a:gd name="T2" fmla="*/ 2900 w 2956"/>
                <a:gd name="T3" fmla="*/ 58 h 252"/>
                <a:gd name="T4" fmla="*/ 2900 w 2956"/>
                <a:gd name="T5" fmla="*/ 0 h 252"/>
                <a:gd name="T6" fmla="*/ 16 w 2956"/>
                <a:gd name="T7" fmla="*/ 0 h 252"/>
                <a:gd name="T8" fmla="*/ 16 w 2956"/>
                <a:gd name="T9" fmla="*/ 58 h 252"/>
                <a:gd name="T10" fmla="*/ 0 w 2956"/>
                <a:gd name="T11" fmla="*/ 58 h 252"/>
                <a:gd name="T12" fmla="*/ 22 w 2956"/>
                <a:gd name="T13" fmla="*/ 252 h 252"/>
                <a:gd name="T14" fmla="*/ 51 w 2956"/>
                <a:gd name="T15" fmla="*/ 252 h 252"/>
                <a:gd name="T16" fmla="*/ 59 w 2956"/>
                <a:gd name="T17" fmla="*/ 252 h 252"/>
                <a:gd name="T18" fmla="*/ 88 w 2956"/>
                <a:gd name="T19" fmla="*/ 252 h 252"/>
                <a:gd name="T20" fmla="*/ 102 w 2956"/>
                <a:gd name="T21" fmla="*/ 124 h 252"/>
                <a:gd name="T22" fmla="*/ 2854 w 2956"/>
                <a:gd name="T23" fmla="*/ 124 h 252"/>
                <a:gd name="T24" fmla="*/ 2869 w 2956"/>
                <a:gd name="T25" fmla="*/ 252 h 252"/>
                <a:gd name="T26" fmla="*/ 2898 w 2956"/>
                <a:gd name="T27" fmla="*/ 252 h 252"/>
                <a:gd name="T28" fmla="*/ 2905 w 2956"/>
                <a:gd name="T29" fmla="*/ 252 h 252"/>
                <a:gd name="T30" fmla="*/ 2935 w 2956"/>
                <a:gd name="T31" fmla="*/ 252 h 252"/>
                <a:gd name="T32" fmla="*/ 2956 w 2956"/>
                <a:gd name="T33" fmla="*/ 58 h 252"/>
                <a:gd name="T34" fmla="*/ 2902 w 2956"/>
                <a:gd name="T35" fmla="*/ 58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56" h="252">
                  <a:moveTo>
                    <a:pt x="2902" y="58"/>
                  </a:moveTo>
                  <a:lnTo>
                    <a:pt x="2900" y="58"/>
                  </a:lnTo>
                  <a:lnTo>
                    <a:pt x="2900" y="0"/>
                  </a:lnTo>
                  <a:lnTo>
                    <a:pt x="16" y="0"/>
                  </a:lnTo>
                  <a:lnTo>
                    <a:pt x="16" y="58"/>
                  </a:lnTo>
                  <a:lnTo>
                    <a:pt x="0" y="58"/>
                  </a:lnTo>
                  <a:lnTo>
                    <a:pt x="22" y="252"/>
                  </a:lnTo>
                  <a:lnTo>
                    <a:pt x="51" y="252"/>
                  </a:lnTo>
                  <a:lnTo>
                    <a:pt x="59" y="252"/>
                  </a:lnTo>
                  <a:lnTo>
                    <a:pt x="88" y="252"/>
                  </a:lnTo>
                  <a:lnTo>
                    <a:pt x="102" y="124"/>
                  </a:lnTo>
                  <a:lnTo>
                    <a:pt x="2854" y="124"/>
                  </a:lnTo>
                  <a:lnTo>
                    <a:pt x="2869" y="252"/>
                  </a:lnTo>
                  <a:lnTo>
                    <a:pt x="2898" y="252"/>
                  </a:lnTo>
                  <a:lnTo>
                    <a:pt x="2905" y="252"/>
                  </a:lnTo>
                  <a:lnTo>
                    <a:pt x="2935" y="252"/>
                  </a:lnTo>
                  <a:lnTo>
                    <a:pt x="2956" y="58"/>
                  </a:lnTo>
                  <a:lnTo>
                    <a:pt x="2902" y="58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67B5F740-B1DF-4D02-A867-6FB7A4C43D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446" y="4902200"/>
              <a:ext cx="5014913" cy="234950"/>
            </a:xfrm>
            <a:custGeom>
              <a:avLst/>
              <a:gdLst>
                <a:gd name="T0" fmla="*/ 0 w 3159"/>
                <a:gd name="T1" fmla="*/ 148 h 148"/>
                <a:gd name="T2" fmla="*/ 3159 w 3159"/>
                <a:gd name="T3" fmla="*/ 148 h 148"/>
                <a:gd name="T4" fmla="*/ 3060 w 3159"/>
                <a:gd name="T5" fmla="*/ 0 h 148"/>
                <a:gd name="T6" fmla="*/ 95 w 3159"/>
                <a:gd name="T7" fmla="*/ 0 h 148"/>
                <a:gd name="T8" fmla="*/ 0 w 3159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59" h="148">
                  <a:moveTo>
                    <a:pt x="0" y="148"/>
                  </a:moveTo>
                  <a:lnTo>
                    <a:pt x="3159" y="148"/>
                  </a:lnTo>
                  <a:lnTo>
                    <a:pt x="3060" y="0"/>
                  </a:lnTo>
                  <a:lnTo>
                    <a:pt x="95" y="0"/>
                  </a:lnTo>
                  <a:lnTo>
                    <a:pt x="0" y="148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8182E6F8-E023-422C-8460-64131FE46B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446" y="4902200"/>
              <a:ext cx="5014913" cy="234950"/>
            </a:xfrm>
            <a:custGeom>
              <a:avLst/>
              <a:gdLst>
                <a:gd name="T0" fmla="*/ 0 w 3159"/>
                <a:gd name="T1" fmla="*/ 148 h 148"/>
                <a:gd name="T2" fmla="*/ 3159 w 3159"/>
                <a:gd name="T3" fmla="*/ 148 h 148"/>
                <a:gd name="T4" fmla="*/ 3060 w 3159"/>
                <a:gd name="T5" fmla="*/ 0 h 148"/>
                <a:gd name="T6" fmla="*/ 95 w 3159"/>
                <a:gd name="T7" fmla="*/ 0 h 148"/>
                <a:gd name="T8" fmla="*/ 0 w 3159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59" h="148">
                  <a:moveTo>
                    <a:pt x="0" y="148"/>
                  </a:moveTo>
                  <a:lnTo>
                    <a:pt x="3159" y="148"/>
                  </a:lnTo>
                  <a:lnTo>
                    <a:pt x="3060" y="0"/>
                  </a:lnTo>
                  <a:lnTo>
                    <a:pt x="95" y="0"/>
                  </a:lnTo>
                  <a:lnTo>
                    <a:pt x="0" y="14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7209B253-9A14-4CCA-917E-5E2D47A36F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00671" y="5073650"/>
              <a:ext cx="1670050" cy="309563"/>
            </a:xfrm>
            <a:custGeom>
              <a:avLst/>
              <a:gdLst>
                <a:gd name="T0" fmla="*/ 1374 w 1441"/>
                <a:gd name="T1" fmla="*/ 268 h 268"/>
                <a:gd name="T2" fmla="*/ 66 w 1441"/>
                <a:gd name="T3" fmla="*/ 268 h 268"/>
                <a:gd name="T4" fmla="*/ 0 w 1441"/>
                <a:gd name="T5" fmla="*/ 201 h 268"/>
                <a:gd name="T6" fmla="*/ 0 w 1441"/>
                <a:gd name="T7" fmla="*/ 66 h 268"/>
                <a:gd name="T8" fmla="*/ 66 w 1441"/>
                <a:gd name="T9" fmla="*/ 0 h 268"/>
                <a:gd name="T10" fmla="*/ 1374 w 1441"/>
                <a:gd name="T11" fmla="*/ 0 h 268"/>
                <a:gd name="T12" fmla="*/ 1441 w 1441"/>
                <a:gd name="T13" fmla="*/ 66 h 268"/>
                <a:gd name="T14" fmla="*/ 1441 w 1441"/>
                <a:gd name="T15" fmla="*/ 201 h 268"/>
                <a:gd name="T16" fmla="*/ 1374 w 1441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1" h="268">
                  <a:moveTo>
                    <a:pt x="1374" y="268"/>
                  </a:moveTo>
                  <a:cubicBezTo>
                    <a:pt x="66" y="268"/>
                    <a:pt x="66" y="268"/>
                    <a:pt x="66" y="268"/>
                  </a:cubicBezTo>
                  <a:cubicBezTo>
                    <a:pt x="30" y="268"/>
                    <a:pt x="0" y="238"/>
                    <a:pt x="0" y="201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374" y="0"/>
                    <a:pt x="1374" y="0"/>
                    <a:pt x="1374" y="0"/>
                  </a:cubicBezTo>
                  <a:cubicBezTo>
                    <a:pt x="1411" y="0"/>
                    <a:pt x="1441" y="30"/>
                    <a:pt x="1441" y="66"/>
                  </a:cubicBezTo>
                  <a:cubicBezTo>
                    <a:pt x="1441" y="201"/>
                    <a:pt x="1441" y="201"/>
                    <a:pt x="1441" y="201"/>
                  </a:cubicBezTo>
                  <a:cubicBezTo>
                    <a:pt x="1441" y="238"/>
                    <a:pt x="1411" y="268"/>
                    <a:pt x="1374" y="26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C9537D45-5D19-4FA9-814D-765D36860F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446" y="5080000"/>
              <a:ext cx="1670050" cy="311150"/>
            </a:xfrm>
            <a:custGeom>
              <a:avLst/>
              <a:gdLst>
                <a:gd name="T0" fmla="*/ 1375 w 1441"/>
                <a:gd name="T1" fmla="*/ 268 h 268"/>
                <a:gd name="T2" fmla="*/ 67 w 1441"/>
                <a:gd name="T3" fmla="*/ 268 h 268"/>
                <a:gd name="T4" fmla="*/ 0 w 1441"/>
                <a:gd name="T5" fmla="*/ 202 h 268"/>
                <a:gd name="T6" fmla="*/ 0 w 1441"/>
                <a:gd name="T7" fmla="*/ 67 h 268"/>
                <a:gd name="T8" fmla="*/ 67 w 1441"/>
                <a:gd name="T9" fmla="*/ 0 h 268"/>
                <a:gd name="T10" fmla="*/ 1375 w 1441"/>
                <a:gd name="T11" fmla="*/ 0 h 268"/>
                <a:gd name="T12" fmla="*/ 1441 w 1441"/>
                <a:gd name="T13" fmla="*/ 67 h 268"/>
                <a:gd name="T14" fmla="*/ 1441 w 1441"/>
                <a:gd name="T15" fmla="*/ 202 h 268"/>
                <a:gd name="T16" fmla="*/ 1375 w 1441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1" h="268">
                  <a:moveTo>
                    <a:pt x="1375" y="268"/>
                  </a:moveTo>
                  <a:cubicBezTo>
                    <a:pt x="67" y="268"/>
                    <a:pt x="67" y="268"/>
                    <a:pt x="67" y="268"/>
                  </a:cubicBezTo>
                  <a:cubicBezTo>
                    <a:pt x="30" y="268"/>
                    <a:pt x="0" y="239"/>
                    <a:pt x="0" y="202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375" y="0"/>
                    <a:pt x="1375" y="0"/>
                    <a:pt x="1375" y="0"/>
                  </a:cubicBezTo>
                  <a:cubicBezTo>
                    <a:pt x="1412" y="0"/>
                    <a:pt x="1441" y="30"/>
                    <a:pt x="1441" y="67"/>
                  </a:cubicBezTo>
                  <a:cubicBezTo>
                    <a:pt x="1441" y="202"/>
                    <a:pt x="1441" y="202"/>
                    <a:pt x="1441" y="202"/>
                  </a:cubicBezTo>
                  <a:cubicBezTo>
                    <a:pt x="1441" y="239"/>
                    <a:pt x="1412" y="268"/>
                    <a:pt x="1375" y="26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DAACEA87-0DCB-45B6-9BE7-6D749DEA15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5958" y="5073650"/>
              <a:ext cx="1670050" cy="309563"/>
            </a:xfrm>
            <a:custGeom>
              <a:avLst/>
              <a:gdLst>
                <a:gd name="T0" fmla="*/ 1375 w 1441"/>
                <a:gd name="T1" fmla="*/ 268 h 268"/>
                <a:gd name="T2" fmla="*/ 67 w 1441"/>
                <a:gd name="T3" fmla="*/ 268 h 268"/>
                <a:gd name="T4" fmla="*/ 0 w 1441"/>
                <a:gd name="T5" fmla="*/ 201 h 268"/>
                <a:gd name="T6" fmla="*/ 0 w 1441"/>
                <a:gd name="T7" fmla="*/ 66 h 268"/>
                <a:gd name="T8" fmla="*/ 67 w 1441"/>
                <a:gd name="T9" fmla="*/ 0 h 268"/>
                <a:gd name="T10" fmla="*/ 1375 w 1441"/>
                <a:gd name="T11" fmla="*/ 0 h 268"/>
                <a:gd name="T12" fmla="*/ 1441 w 1441"/>
                <a:gd name="T13" fmla="*/ 66 h 268"/>
                <a:gd name="T14" fmla="*/ 1441 w 1441"/>
                <a:gd name="T15" fmla="*/ 201 h 268"/>
                <a:gd name="T16" fmla="*/ 1375 w 1441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1" h="268">
                  <a:moveTo>
                    <a:pt x="1375" y="268"/>
                  </a:moveTo>
                  <a:cubicBezTo>
                    <a:pt x="67" y="268"/>
                    <a:pt x="67" y="268"/>
                    <a:pt x="67" y="268"/>
                  </a:cubicBezTo>
                  <a:cubicBezTo>
                    <a:pt x="30" y="268"/>
                    <a:pt x="0" y="238"/>
                    <a:pt x="0" y="201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375" y="0"/>
                    <a:pt x="1375" y="0"/>
                    <a:pt x="1375" y="0"/>
                  </a:cubicBezTo>
                  <a:cubicBezTo>
                    <a:pt x="1411" y="0"/>
                    <a:pt x="1441" y="30"/>
                    <a:pt x="1441" y="66"/>
                  </a:cubicBezTo>
                  <a:cubicBezTo>
                    <a:pt x="1441" y="201"/>
                    <a:pt x="1441" y="201"/>
                    <a:pt x="1441" y="201"/>
                  </a:cubicBezTo>
                  <a:cubicBezTo>
                    <a:pt x="1441" y="238"/>
                    <a:pt x="1411" y="268"/>
                    <a:pt x="1375" y="26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893E56E4-EF46-4C5D-9EFA-45EC101ED3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85196" y="4413250"/>
              <a:ext cx="309563" cy="976313"/>
            </a:xfrm>
            <a:custGeom>
              <a:avLst/>
              <a:gdLst>
                <a:gd name="T0" fmla="*/ 67 w 267"/>
                <a:gd name="T1" fmla="*/ 843 h 843"/>
                <a:gd name="T2" fmla="*/ 201 w 267"/>
                <a:gd name="T3" fmla="*/ 843 h 843"/>
                <a:gd name="T4" fmla="*/ 267 w 267"/>
                <a:gd name="T5" fmla="*/ 776 h 843"/>
                <a:gd name="T6" fmla="*/ 267 w 267"/>
                <a:gd name="T7" fmla="*/ 67 h 843"/>
                <a:gd name="T8" fmla="*/ 201 w 267"/>
                <a:gd name="T9" fmla="*/ 0 h 843"/>
                <a:gd name="T10" fmla="*/ 67 w 267"/>
                <a:gd name="T11" fmla="*/ 0 h 843"/>
                <a:gd name="T12" fmla="*/ 0 w 267"/>
                <a:gd name="T13" fmla="*/ 67 h 843"/>
                <a:gd name="T14" fmla="*/ 0 w 267"/>
                <a:gd name="T15" fmla="*/ 776 h 843"/>
                <a:gd name="T16" fmla="*/ 67 w 267"/>
                <a:gd name="T17" fmla="*/ 843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7" h="843">
                  <a:moveTo>
                    <a:pt x="67" y="843"/>
                  </a:moveTo>
                  <a:cubicBezTo>
                    <a:pt x="201" y="843"/>
                    <a:pt x="201" y="843"/>
                    <a:pt x="201" y="843"/>
                  </a:cubicBezTo>
                  <a:cubicBezTo>
                    <a:pt x="238" y="843"/>
                    <a:pt x="267" y="813"/>
                    <a:pt x="267" y="776"/>
                  </a:cubicBezTo>
                  <a:cubicBezTo>
                    <a:pt x="267" y="67"/>
                    <a:pt x="267" y="67"/>
                    <a:pt x="267" y="67"/>
                  </a:cubicBezTo>
                  <a:cubicBezTo>
                    <a:pt x="267" y="30"/>
                    <a:pt x="238" y="0"/>
                    <a:pt x="201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30" y="0"/>
                    <a:pt x="0" y="30"/>
                    <a:pt x="0" y="67"/>
                  </a:cubicBezTo>
                  <a:cubicBezTo>
                    <a:pt x="0" y="776"/>
                    <a:pt x="0" y="776"/>
                    <a:pt x="0" y="776"/>
                  </a:cubicBezTo>
                  <a:cubicBezTo>
                    <a:pt x="0" y="813"/>
                    <a:pt x="30" y="843"/>
                    <a:pt x="67" y="8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50CFB4C8-1B88-4951-A4EE-51E86F253F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8221" y="4413250"/>
              <a:ext cx="309563" cy="976313"/>
            </a:xfrm>
            <a:custGeom>
              <a:avLst/>
              <a:gdLst>
                <a:gd name="T0" fmla="*/ 66 w 267"/>
                <a:gd name="T1" fmla="*/ 843 h 843"/>
                <a:gd name="T2" fmla="*/ 201 w 267"/>
                <a:gd name="T3" fmla="*/ 843 h 843"/>
                <a:gd name="T4" fmla="*/ 267 w 267"/>
                <a:gd name="T5" fmla="*/ 776 h 843"/>
                <a:gd name="T6" fmla="*/ 267 w 267"/>
                <a:gd name="T7" fmla="*/ 67 h 843"/>
                <a:gd name="T8" fmla="*/ 201 w 267"/>
                <a:gd name="T9" fmla="*/ 0 h 843"/>
                <a:gd name="T10" fmla="*/ 66 w 267"/>
                <a:gd name="T11" fmla="*/ 0 h 843"/>
                <a:gd name="T12" fmla="*/ 0 w 267"/>
                <a:gd name="T13" fmla="*/ 67 h 843"/>
                <a:gd name="T14" fmla="*/ 0 w 267"/>
                <a:gd name="T15" fmla="*/ 776 h 843"/>
                <a:gd name="T16" fmla="*/ 66 w 267"/>
                <a:gd name="T17" fmla="*/ 843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7" h="843">
                  <a:moveTo>
                    <a:pt x="66" y="843"/>
                  </a:moveTo>
                  <a:cubicBezTo>
                    <a:pt x="201" y="843"/>
                    <a:pt x="201" y="843"/>
                    <a:pt x="201" y="843"/>
                  </a:cubicBezTo>
                  <a:cubicBezTo>
                    <a:pt x="237" y="843"/>
                    <a:pt x="267" y="813"/>
                    <a:pt x="267" y="776"/>
                  </a:cubicBezTo>
                  <a:cubicBezTo>
                    <a:pt x="267" y="67"/>
                    <a:pt x="267" y="67"/>
                    <a:pt x="267" y="67"/>
                  </a:cubicBezTo>
                  <a:cubicBezTo>
                    <a:pt x="267" y="30"/>
                    <a:pt x="237" y="0"/>
                    <a:pt x="201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29" y="0"/>
                    <a:pt x="0" y="30"/>
                    <a:pt x="0" y="67"/>
                  </a:cubicBezTo>
                  <a:cubicBezTo>
                    <a:pt x="0" y="776"/>
                    <a:pt x="0" y="776"/>
                    <a:pt x="0" y="776"/>
                  </a:cubicBezTo>
                  <a:cubicBezTo>
                    <a:pt x="0" y="813"/>
                    <a:pt x="29" y="843"/>
                    <a:pt x="66" y="843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8CF7D4CD-E8BE-4017-8F42-5F42748BD1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0796" y="4318000"/>
              <a:ext cx="741363" cy="649288"/>
            </a:xfrm>
            <a:custGeom>
              <a:avLst/>
              <a:gdLst>
                <a:gd name="T0" fmla="*/ 112 w 640"/>
                <a:gd name="T1" fmla="*/ 560 h 561"/>
                <a:gd name="T2" fmla="*/ 415 w 640"/>
                <a:gd name="T3" fmla="*/ 511 h 561"/>
                <a:gd name="T4" fmla="*/ 426 w 640"/>
                <a:gd name="T5" fmla="*/ 510 h 561"/>
                <a:gd name="T6" fmla="*/ 597 w 640"/>
                <a:gd name="T7" fmla="*/ 532 h 561"/>
                <a:gd name="T8" fmla="*/ 640 w 640"/>
                <a:gd name="T9" fmla="*/ 495 h 561"/>
                <a:gd name="T10" fmla="*/ 638 w 640"/>
                <a:gd name="T11" fmla="*/ 484 h 561"/>
                <a:gd name="T12" fmla="*/ 584 w 640"/>
                <a:gd name="T13" fmla="*/ 176 h 561"/>
                <a:gd name="T14" fmla="*/ 584 w 640"/>
                <a:gd name="T15" fmla="*/ 42 h 561"/>
                <a:gd name="T16" fmla="*/ 536 w 640"/>
                <a:gd name="T17" fmla="*/ 7 h 561"/>
                <a:gd name="T18" fmla="*/ 495 w 640"/>
                <a:gd name="T19" fmla="*/ 18 h 561"/>
                <a:gd name="T20" fmla="*/ 485 w 640"/>
                <a:gd name="T21" fmla="*/ 19 h 561"/>
                <a:gd name="T22" fmla="*/ 40 w 640"/>
                <a:gd name="T23" fmla="*/ 19 h 561"/>
                <a:gd name="T24" fmla="*/ 3 w 640"/>
                <a:gd name="T25" fmla="*/ 48 h 561"/>
                <a:gd name="T26" fmla="*/ 2 w 640"/>
                <a:gd name="T27" fmla="*/ 53 h 561"/>
                <a:gd name="T28" fmla="*/ 4 w 640"/>
                <a:gd name="T29" fmla="*/ 75 h 561"/>
                <a:gd name="T30" fmla="*/ 62 w 640"/>
                <a:gd name="T31" fmla="*/ 346 h 561"/>
                <a:gd name="T32" fmla="*/ 63 w 640"/>
                <a:gd name="T33" fmla="*/ 520 h 561"/>
                <a:gd name="T34" fmla="*/ 85 w 640"/>
                <a:gd name="T35" fmla="*/ 555 h 561"/>
                <a:gd name="T36" fmla="*/ 90 w 640"/>
                <a:gd name="T37" fmla="*/ 557 h 561"/>
                <a:gd name="T38" fmla="*/ 112 w 640"/>
                <a:gd name="T39" fmla="*/ 560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0" h="561">
                  <a:moveTo>
                    <a:pt x="112" y="560"/>
                  </a:moveTo>
                  <a:cubicBezTo>
                    <a:pt x="415" y="511"/>
                    <a:pt x="415" y="511"/>
                    <a:pt x="415" y="511"/>
                  </a:cubicBezTo>
                  <a:cubicBezTo>
                    <a:pt x="419" y="510"/>
                    <a:pt x="422" y="510"/>
                    <a:pt x="426" y="510"/>
                  </a:cubicBezTo>
                  <a:cubicBezTo>
                    <a:pt x="597" y="532"/>
                    <a:pt x="597" y="532"/>
                    <a:pt x="597" y="532"/>
                  </a:cubicBezTo>
                  <a:cubicBezTo>
                    <a:pt x="620" y="535"/>
                    <a:pt x="640" y="518"/>
                    <a:pt x="640" y="495"/>
                  </a:cubicBezTo>
                  <a:cubicBezTo>
                    <a:pt x="640" y="491"/>
                    <a:pt x="639" y="487"/>
                    <a:pt x="638" y="484"/>
                  </a:cubicBezTo>
                  <a:cubicBezTo>
                    <a:pt x="629" y="453"/>
                    <a:pt x="581" y="294"/>
                    <a:pt x="584" y="176"/>
                  </a:cubicBezTo>
                  <a:cubicBezTo>
                    <a:pt x="586" y="114"/>
                    <a:pt x="585" y="70"/>
                    <a:pt x="584" y="42"/>
                  </a:cubicBezTo>
                  <a:cubicBezTo>
                    <a:pt x="583" y="17"/>
                    <a:pt x="560" y="0"/>
                    <a:pt x="536" y="7"/>
                  </a:cubicBezTo>
                  <a:cubicBezTo>
                    <a:pt x="495" y="18"/>
                    <a:pt x="495" y="18"/>
                    <a:pt x="495" y="18"/>
                  </a:cubicBezTo>
                  <a:cubicBezTo>
                    <a:pt x="492" y="19"/>
                    <a:pt x="489" y="19"/>
                    <a:pt x="485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2" y="19"/>
                    <a:pt x="7" y="31"/>
                    <a:pt x="3" y="48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0" y="60"/>
                    <a:pt x="1" y="68"/>
                    <a:pt x="4" y="75"/>
                  </a:cubicBezTo>
                  <a:cubicBezTo>
                    <a:pt x="17" y="110"/>
                    <a:pt x="59" y="229"/>
                    <a:pt x="62" y="346"/>
                  </a:cubicBezTo>
                  <a:cubicBezTo>
                    <a:pt x="64" y="434"/>
                    <a:pt x="64" y="490"/>
                    <a:pt x="63" y="520"/>
                  </a:cubicBezTo>
                  <a:cubicBezTo>
                    <a:pt x="63" y="535"/>
                    <a:pt x="71" y="549"/>
                    <a:pt x="85" y="555"/>
                  </a:cubicBezTo>
                  <a:cubicBezTo>
                    <a:pt x="90" y="557"/>
                    <a:pt x="90" y="557"/>
                    <a:pt x="90" y="557"/>
                  </a:cubicBezTo>
                  <a:cubicBezTo>
                    <a:pt x="97" y="560"/>
                    <a:pt x="104" y="561"/>
                    <a:pt x="112" y="56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A68CF66F-558A-445B-870A-2824E97FE0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3258" y="4635500"/>
              <a:ext cx="88900" cy="300038"/>
            </a:xfrm>
            <a:custGeom>
              <a:avLst/>
              <a:gdLst>
                <a:gd name="T0" fmla="*/ 34 w 78"/>
                <a:gd name="T1" fmla="*/ 257 h 260"/>
                <a:gd name="T2" fmla="*/ 37 w 78"/>
                <a:gd name="T3" fmla="*/ 258 h 260"/>
                <a:gd name="T4" fmla="*/ 78 w 78"/>
                <a:gd name="T5" fmla="*/ 221 h 260"/>
                <a:gd name="T6" fmla="*/ 76 w 78"/>
                <a:gd name="T7" fmla="*/ 210 h 260"/>
                <a:gd name="T8" fmla="*/ 29 w 78"/>
                <a:gd name="T9" fmla="*/ 0 h 260"/>
                <a:gd name="T10" fmla="*/ 3 w 78"/>
                <a:gd name="T11" fmla="*/ 187 h 260"/>
                <a:gd name="T12" fmla="*/ 34 w 78"/>
                <a:gd name="T13" fmla="*/ 257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260">
                  <a:moveTo>
                    <a:pt x="34" y="257"/>
                  </a:moveTo>
                  <a:cubicBezTo>
                    <a:pt x="35" y="257"/>
                    <a:pt x="36" y="258"/>
                    <a:pt x="37" y="258"/>
                  </a:cubicBezTo>
                  <a:cubicBezTo>
                    <a:pt x="59" y="260"/>
                    <a:pt x="78" y="243"/>
                    <a:pt x="78" y="221"/>
                  </a:cubicBezTo>
                  <a:cubicBezTo>
                    <a:pt x="78" y="217"/>
                    <a:pt x="77" y="213"/>
                    <a:pt x="76" y="210"/>
                  </a:cubicBezTo>
                  <a:cubicBezTo>
                    <a:pt x="69" y="187"/>
                    <a:pt x="41" y="94"/>
                    <a:pt x="29" y="0"/>
                  </a:cubicBezTo>
                  <a:cubicBezTo>
                    <a:pt x="3" y="187"/>
                    <a:pt x="3" y="187"/>
                    <a:pt x="3" y="187"/>
                  </a:cubicBezTo>
                  <a:cubicBezTo>
                    <a:pt x="3" y="187"/>
                    <a:pt x="0" y="236"/>
                    <a:pt x="34" y="25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27">
              <a:extLst>
                <a:ext uri="{FF2B5EF4-FFF2-40B4-BE49-F238E27FC236}">
                  <a16:creationId xmlns:a16="http://schemas.microsoft.com/office/drawing/2014/main" id="{75FD8604-8191-472D-82F5-D840739B3B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0796" y="4346575"/>
              <a:ext cx="146050" cy="611188"/>
            </a:xfrm>
            <a:custGeom>
              <a:avLst/>
              <a:gdLst>
                <a:gd name="T0" fmla="*/ 20 w 126"/>
                <a:gd name="T1" fmla="*/ 0 h 528"/>
                <a:gd name="T2" fmla="*/ 3 w 126"/>
                <a:gd name="T3" fmla="*/ 23 h 528"/>
                <a:gd name="T4" fmla="*/ 2 w 126"/>
                <a:gd name="T5" fmla="*/ 28 h 528"/>
                <a:gd name="T6" fmla="*/ 4 w 126"/>
                <a:gd name="T7" fmla="*/ 50 h 528"/>
                <a:gd name="T8" fmla="*/ 62 w 126"/>
                <a:gd name="T9" fmla="*/ 321 h 528"/>
                <a:gd name="T10" fmla="*/ 63 w 126"/>
                <a:gd name="T11" fmla="*/ 495 h 528"/>
                <a:gd name="T12" fmla="*/ 82 w 126"/>
                <a:gd name="T13" fmla="*/ 528 h 528"/>
                <a:gd name="T14" fmla="*/ 126 w 126"/>
                <a:gd name="T15" fmla="*/ 206 h 528"/>
                <a:gd name="T16" fmla="*/ 20 w 126"/>
                <a:gd name="T17" fmla="*/ 0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" h="528">
                  <a:moveTo>
                    <a:pt x="20" y="0"/>
                  </a:moveTo>
                  <a:cubicBezTo>
                    <a:pt x="12" y="5"/>
                    <a:pt x="5" y="13"/>
                    <a:pt x="3" y="23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0" y="35"/>
                    <a:pt x="1" y="43"/>
                    <a:pt x="4" y="50"/>
                  </a:cubicBezTo>
                  <a:cubicBezTo>
                    <a:pt x="17" y="85"/>
                    <a:pt x="59" y="204"/>
                    <a:pt x="62" y="321"/>
                  </a:cubicBezTo>
                  <a:cubicBezTo>
                    <a:pt x="64" y="409"/>
                    <a:pt x="64" y="465"/>
                    <a:pt x="63" y="495"/>
                  </a:cubicBezTo>
                  <a:cubicBezTo>
                    <a:pt x="63" y="509"/>
                    <a:pt x="70" y="522"/>
                    <a:pt x="82" y="528"/>
                  </a:cubicBezTo>
                  <a:cubicBezTo>
                    <a:pt x="126" y="206"/>
                    <a:pt x="126" y="206"/>
                    <a:pt x="126" y="206"/>
                  </a:cubicBezTo>
                  <a:lnTo>
                    <a:pt x="2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Freeform 28">
              <a:extLst>
                <a:ext uri="{FF2B5EF4-FFF2-40B4-BE49-F238E27FC236}">
                  <a16:creationId xmlns:a16="http://schemas.microsoft.com/office/drawing/2014/main" id="{B69BB06D-55D0-4D29-B5F2-734B20BFDA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6058" y="4292600"/>
              <a:ext cx="739775" cy="649288"/>
            </a:xfrm>
            <a:custGeom>
              <a:avLst/>
              <a:gdLst>
                <a:gd name="T0" fmla="*/ 112 w 640"/>
                <a:gd name="T1" fmla="*/ 1 h 561"/>
                <a:gd name="T2" fmla="*/ 415 w 640"/>
                <a:gd name="T3" fmla="*/ 51 h 561"/>
                <a:gd name="T4" fmla="*/ 426 w 640"/>
                <a:gd name="T5" fmla="*/ 51 h 561"/>
                <a:gd name="T6" fmla="*/ 597 w 640"/>
                <a:gd name="T7" fmla="*/ 29 h 561"/>
                <a:gd name="T8" fmla="*/ 640 w 640"/>
                <a:gd name="T9" fmla="*/ 67 h 561"/>
                <a:gd name="T10" fmla="*/ 638 w 640"/>
                <a:gd name="T11" fmla="*/ 78 h 561"/>
                <a:gd name="T12" fmla="*/ 584 w 640"/>
                <a:gd name="T13" fmla="*/ 386 h 561"/>
                <a:gd name="T14" fmla="*/ 584 w 640"/>
                <a:gd name="T15" fmla="*/ 520 h 561"/>
                <a:gd name="T16" fmla="*/ 536 w 640"/>
                <a:gd name="T17" fmla="*/ 555 h 561"/>
                <a:gd name="T18" fmla="*/ 495 w 640"/>
                <a:gd name="T19" fmla="*/ 544 h 561"/>
                <a:gd name="T20" fmla="*/ 485 w 640"/>
                <a:gd name="T21" fmla="*/ 543 h 561"/>
                <a:gd name="T22" fmla="*/ 40 w 640"/>
                <a:gd name="T23" fmla="*/ 543 h 561"/>
                <a:gd name="T24" fmla="*/ 3 w 640"/>
                <a:gd name="T25" fmla="*/ 513 h 561"/>
                <a:gd name="T26" fmla="*/ 2 w 640"/>
                <a:gd name="T27" fmla="*/ 509 h 561"/>
                <a:gd name="T28" fmla="*/ 4 w 640"/>
                <a:gd name="T29" fmla="*/ 487 h 561"/>
                <a:gd name="T30" fmla="*/ 62 w 640"/>
                <a:gd name="T31" fmla="*/ 215 h 561"/>
                <a:gd name="T32" fmla="*/ 63 w 640"/>
                <a:gd name="T33" fmla="*/ 42 h 561"/>
                <a:gd name="T34" fmla="*/ 85 w 640"/>
                <a:gd name="T35" fmla="*/ 6 h 561"/>
                <a:gd name="T36" fmla="*/ 90 w 640"/>
                <a:gd name="T37" fmla="*/ 4 h 561"/>
                <a:gd name="T38" fmla="*/ 112 w 640"/>
                <a:gd name="T39" fmla="*/ 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0" h="561">
                  <a:moveTo>
                    <a:pt x="112" y="1"/>
                  </a:moveTo>
                  <a:cubicBezTo>
                    <a:pt x="415" y="51"/>
                    <a:pt x="415" y="51"/>
                    <a:pt x="415" y="51"/>
                  </a:cubicBezTo>
                  <a:cubicBezTo>
                    <a:pt x="419" y="51"/>
                    <a:pt x="422" y="51"/>
                    <a:pt x="426" y="51"/>
                  </a:cubicBezTo>
                  <a:cubicBezTo>
                    <a:pt x="597" y="29"/>
                    <a:pt x="597" y="29"/>
                    <a:pt x="597" y="29"/>
                  </a:cubicBezTo>
                  <a:cubicBezTo>
                    <a:pt x="620" y="26"/>
                    <a:pt x="640" y="44"/>
                    <a:pt x="640" y="67"/>
                  </a:cubicBezTo>
                  <a:cubicBezTo>
                    <a:pt x="640" y="71"/>
                    <a:pt x="639" y="74"/>
                    <a:pt x="638" y="78"/>
                  </a:cubicBezTo>
                  <a:cubicBezTo>
                    <a:pt x="629" y="109"/>
                    <a:pt x="581" y="267"/>
                    <a:pt x="584" y="386"/>
                  </a:cubicBezTo>
                  <a:cubicBezTo>
                    <a:pt x="586" y="448"/>
                    <a:pt x="585" y="491"/>
                    <a:pt x="584" y="520"/>
                  </a:cubicBezTo>
                  <a:cubicBezTo>
                    <a:pt x="583" y="544"/>
                    <a:pt x="560" y="561"/>
                    <a:pt x="536" y="555"/>
                  </a:cubicBezTo>
                  <a:cubicBezTo>
                    <a:pt x="495" y="544"/>
                    <a:pt x="495" y="544"/>
                    <a:pt x="495" y="544"/>
                  </a:cubicBezTo>
                  <a:cubicBezTo>
                    <a:pt x="492" y="543"/>
                    <a:pt x="489" y="543"/>
                    <a:pt x="485" y="543"/>
                  </a:cubicBezTo>
                  <a:cubicBezTo>
                    <a:pt x="40" y="543"/>
                    <a:pt x="40" y="543"/>
                    <a:pt x="40" y="543"/>
                  </a:cubicBezTo>
                  <a:cubicBezTo>
                    <a:pt x="22" y="543"/>
                    <a:pt x="7" y="530"/>
                    <a:pt x="3" y="513"/>
                  </a:cubicBezTo>
                  <a:cubicBezTo>
                    <a:pt x="2" y="509"/>
                    <a:pt x="2" y="509"/>
                    <a:pt x="2" y="509"/>
                  </a:cubicBezTo>
                  <a:cubicBezTo>
                    <a:pt x="0" y="501"/>
                    <a:pt x="1" y="494"/>
                    <a:pt x="4" y="487"/>
                  </a:cubicBezTo>
                  <a:cubicBezTo>
                    <a:pt x="17" y="451"/>
                    <a:pt x="59" y="332"/>
                    <a:pt x="62" y="215"/>
                  </a:cubicBezTo>
                  <a:cubicBezTo>
                    <a:pt x="64" y="127"/>
                    <a:pt x="64" y="71"/>
                    <a:pt x="63" y="42"/>
                  </a:cubicBezTo>
                  <a:cubicBezTo>
                    <a:pt x="63" y="27"/>
                    <a:pt x="71" y="13"/>
                    <a:pt x="85" y="6"/>
                  </a:cubicBezTo>
                  <a:cubicBezTo>
                    <a:pt x="90" y="4"/>
                    <a:pt x="90" y="4"/>
                    <a:pt x="90" y="4"/>
                  </a:cubicBezTo>
                  <a:cubicBezTo>
                    <a:pt x="97" y="1"/>
                    <a:pt x="104" y="0"/>
                    <a:pt x="112" y="1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2" name="Freeform 29">
              <a:extLst>
                <a:ext uri="{FF2B5EF4-FFF2-40B4-BE49-F238E27FC236}">
                  <a16:creationId xmlns:a16="http://schemas.microsoft.com/office/drawing/2014/main" id="{ED8E2754-B730-481F-BB74-75F51B489B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93121" y="4356100"/>
              <a:ext cx="112713" cy="552450"/>
            </a:xfrm>
            <a:custGeom>
              <a:avLst/>
              <a:gdLst>
                <a:gd name="T0" fmla="*/ 98 w 98"/>
                <a:gd name="T1" fmla="*/ 12 h 478"/>
                <a:gd name="T2" fmla="*/ 96 w 98"/>
                <a:gd name="T3" fmla="*/ 0 h 478"/>
                <a:gd name="T4" fmla="*/ 0 w 98"/>
                <a:gd name="T5" fmla="*/ 101 h 478"/>
                <a:gd name="T6" fmla="*/ 39 w 98"/>
                <a:gd name="T7" fmla="*/ 478 h 478"/>
                <a:gd name="T8" fmla="*/ 42 w 98"/>
                <a:gd name="T9" fmla="*/ 465 h 478"/>
                <a:gd name="T10" fmla="*/ 42 w 98"/>
                <a:gd name="T11" fmla="*/ 331 h 478"/>
                <a:gd name="T12" fmla="*/ 96 w 98"/>
                <a:gd name="T13" fmla="*/ 23 h 478"/>
                <a:gd name="T14" fmla="*/ 98 w 98"/>
                <a:gd name="T15" fmla="*/ 12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" h="478">
                  <a:moveTo>
                    <a:pt x="98" y="12"/>
                  </a:moveTo>
                  <a:cubicBezTo>
                    <a:pt x="98" y="8"/>
                    <a:pt x="97" y="4"/>
                    <a:pt x="96" y="0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39" y="478"/>
                    <a:pt x="39" y="478"/>
                    <a:pt x="39" y="478"/>
                  </a:cubicBezTo>
                  <a:cubicBezTo>
                    <a:pt x="41" y="474"/>
                    <a:pt x="42" y="470"/>
                    <a:pt x="42" y="465"/>
                  </a:cubicBezTo>
                  <a:cubicBezTo>
                    <a:pt x="43" y="436"/>
                    <a:pt x="44" y="393"/>
                    <a:pt x="42" y="331"/>
                  </a:cubicBezTo>
                  <a:cubicBezTo>
                    <a:pt x="39" y="212"/>
                    <a:pt x="87" y="54"/>
                    <a:pt x="96" y="23"/>
                  </a:cubicBezTo>
                  <a:cubicBezTo>
                    <a:pt x="97" y="19"/>
                    <a:pt x="98" y="16"/>
                    <a:pt x="98" y="12"/>
                  </a:cubicBezTo>
                </a:path>
              </a:pathLst>
            </a:custGeom>
            <a:solidFill>
              <a:srgbClr val="37B0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3" name="Freeform 30">
              <a:extLst>
                <a:ext uri="{FF2B5EF4-FFF2-40B4-BE49-F238E27FC236}">
                  <a16:creationId xmlns:a16="http://schemas.microsoft.com/office/drawing/2014/main" id="{E74DB6CC-2647-4A4B-A494-9DEEF30DB4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7496" y="4357688"/>
              <a:ext cx="668338" cy="101600"/>
            </a:xfrm>
            <a:custGeom>
              <a:avLst/>
              <a:gdLst>
                <a:gd name="T0" fmla="*/ 246 w 577"/>
                <a:gd name="T1" fmla="*/ 86 h 89"/>
                <a:gd name="T2" fmla="*/ 568 w 577"/>
                <a:gd name="T3" fmla="*/ 46 h 89"/>
                <a:gd name="T4" fmla="*/ 575 w 577"/>
                <a:gd name="T5" fmla="*/ 22 h 89"/>
                <a:gd name="T6" fmla="*/ 577 w 577"/>
                <a:gd name="T7" fmla="*/ 14 h 89"/>
                <a:gd name="T8" fmla="*/ 243 w 577"/>
                <a:gd name="T9" fmla="*/ 38 h 89"/>
                <a:gd name="T10" fmla="*/ 0 w 577"/>
                <a:gd name="T11" fmla="*/ 0 h 89"/>
                <a:gd name="T12" fmla="*/ 1 w 577"/>
                <a:gd name="T13" fmla="*/ 47 h 89"/>
                <a:gd name="T14" fmla="*/ 246 w 577"/>
                <a:gd name="T15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" h="89">
                  <a:moveTo>
                    <a:pt x="246" y="86"/>
                  </a:moveTo>
                  <a:cubicBezTo>
                    <a:pt x="262" y="83"/>
                    <a:pt x="517" y="52"/>
                    <a:pt x="568" y="46"/>
                  </a:cubicBezTo>
                  <a:cubicBezTo>
                    <a:pt x="571" y="35"/>
                    <a:pt x="574" y="27"/>
                    <a:pt x="575" y="22"/>
                  </a:cubicBezTo>
                  <a:cubicBezTo>
                    <a:pt x="576" y="19"/>
                    <a:pt x="577" y="17"/>
                    <a:pt x="577" y="14"/>
                  </a:cubicBezTo>
                  <a:cubicBezTo>
                    <a:pt x="243" y="38"/>
                    <a:pt x="243" y="38"/>
                    <a:pt x="243" y="38"/>
                  </a:cubicBezTo>
                  <a:cubicBezTo>
                    <a:pt x="243" y="38"/>
                    <a:pt x="50" y="11"/>
                    <a:pt x="0" y="0"/>
                  </a:cubicBezTo>
                  <a:cubicBezTo>
                    <a:pt x="0" y="12"/>
                    <a:pt x="1" y="28"/>
                    <a:pt x="1" y="47"/>
                  </a:cubicBezTo>
                  <a:cubicBezTo>
                    <a:pt x="49" y="56"/>
                    <a:pt x="231" y="89"/>
                    <a:pt x="246" y="86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4" name="Freeform 31">
              <a:extLst>
                <a:ext uri="{FF2B5EF4-FFF2-40B4-BE49-F238E27FC236}">
                  <a16:creationId xmlns:a16="http://schemas.microsoft.com/office/drawing/2014/main" id="{28F07DE1-28C2-4DC9-8FAC-B791A15396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7808" y="4697413"/>
              <a:ext cx="644525" cy="92075"/>
            </a:xfrm>
            <a:custGeom>
              <a:avLst/>
              <a:gdLst>
                <a:gd name="T0" fmla="*/ 16 w 557"/>
                <a:gd name="T1" fmla="*/ 0 h 80"/>
                <a:gd name="T2" fmla="*/ 0 w 557"/>
                <a:gd name="T3" fmla="*/ 63 h 80"/>
                <a:gd name="T4" fmla="*/ 208 w 557"/>
                <a:gd name="T5" fmla="*/ 64 h 80"/>
                <a:gd name="T6" fmla="*/ 557 w 557"/>
                <a:gd name="T7" fmla="*/ 80 h 80"/>
                <a:gd name="T8" fmla="*/ 556 w 557"/>
                <a:gd name="T9" fmla="*/ 36 h 80"/>
                <a:gd name="T10" fmla="*/ 556 w 557"/>
                <a:gd name="T11" fmla="*/ 22 h 80"/>
                <a:gd name="T12" fmla="*/ 132 w 557"/>
                <a:gd name="T13" fmla="*/ 22 h 80"/>
                <a:gd name="T14" fmla="*/ 16 w 557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7" h="80">
                  <a:moveTo>
                    <a:pt x="16" y="0"/>
                  </a:moveTo>
                  <a:cubicBezTo>
                    <a:pt x="11" y="23"/>
                    <a:pt x="6" y="44"/>
                    <a:pt x="0" y="63"/>
                  </a:cubicBezTo>
                  <a:cubicBezTo>
                    <a:pt x="74" y="64"/>
                    <a:pt x="208" y="64"/>
                    <a:pt x="208" y="64"/>
                  </a:cubicBezTo>
                  <a:cubicBezTo>
                    <a:pt x="557" y="80"/>
                    <a:pt x="557" y="80"/>
                    <a:pt x="557" y="80"/>
                  </a:cubicBezTo>
                  <a:cubicBezTo>
                    <a:pt x="557" y="67"/>
                    <a:pt x="557" y="52"/>
                    <a:pt x="556" y="36"/>
                  </a:cubicBezTo>
                  <a:cubicBezTo>
                    <a:pt x="556" y="31"/>
                    <a:pt x="556" y="27"/>
                    <a:pt x="556" y="22"/>
                  </a:cubicBezTo>
                  <a:cubicBezTo>
                    <a:pt x="132" y="22"/>
                    <a:pt x="132" y="22"/>
                    <a:pt x="132" y="22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5" name="Freeform 32">
              <a:extLst>
                <a:ext uri="{FF2B5EF4-FFF2-40B4-BE49-F238E27FC236}">
                  <a16:creationId xmlns:a16="http://schemas.microsoft.com/office/drawing/2014/main" id="{2A662851-6141-4455-953E-D2AC44EC6F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6058" y="4822825"/>
              <a:ext cx="676275" cy="119063"/>
            </a:xfrm>
            <a:custGeom>
              <a:avLst/>
              <a:gdLst>
                <a:gd name="T0" fmla="*/ 9 w 585"/>
                <a:gd name="T1" fmla="*/ 12 h 102"/>
                <a:gd name="T2" fmla="*/ 4 w 585"/>
                <a:gd name="T3" fmla="*/ 28 h 102"/>
                <a:gd name="T4" fmla="*/ 2 w 585"/>
                <a:gd name="T5" fmla="*/ 50 h 102"/>
                <a:gd name="T6" fmla="*/ 3 w 585"/>
                <a:gd name="T7" fmla="*/ 54 h 102"/>
                <a:gd name="T8" fmla="*/ 28 w 585"/>
                <a:gd name="T9" fmla="*/ 81 h 102"/>
                <a:gd name="T10" fmla="*/ 224 w 585"/>
                <a:gd name="T11" fmla="*/ 57 h 102"/>
                <a:gd name="T12" fmla="*/ 459 w 585"/>
                <a:gd name="T13" fmla="*/ 84 h 102"/>
                <a:gd name="T14" fmla="*/ 485 w 585"/>
                <a:gd name="T15" fmla="*/ 84 h 102"/>
                <a:gd name="T16" fmla="*/ 495 w 585"/>
                <a:gd name="T17" fmla="*/ 85 h 102"/>
                <a:gd name="T18" fmla="*/ 536 w 585"/>
                <a:gd name="T19" fmla="*/ 96 h 102"/>
                <a:gd name="T20" fmla="*/ 584 w 585"/>
                <a:gd name="T21" fmla="*/ 61 h 102"/>
                <a:gd name="T22" fmla="*/ 585 w 585"/>
                <a:gd name="T23" fmla="*/ 33 h 102"/>
                <a:gd name="T24" fmla="*/ 212 w 585"/>
                <a:gd name="T25" fmla="*/ 0 h 102"/>
                <a:gd name="T26" fmla="*/ 9 w 585"/>
                <a:gd name="T27" fmla="*/ 1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5" h="102">
                  <a:moveTo>
                    <a:pt x="9" y="12"/>
                  </a:moveTo>
                  <a:cubicBezTo>
                    <a:pt x="7" y="18"/>
                    <a:pt x="5" y="24"/>
                    <a:pt x="4" y="28"/>
                  </a:cubicBezTo>
                  <a:cubicBezTo>
                    <a:pt x="1" y="35"/>
                    <a:pt x="0" y="42"/>
                    <a:pt x="2" y="50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6" y="67"/>
                    <a:pt x="16" y="77"/>
                    <a:pt x="28" y="81"/>
                  </a:cubicBezTo>
                  <a:cubicBezTo>
                    <a:pt x="224" y="57"/>
                    <a:pt x="224" y="57"/>
                    <a:pt x="224" y="57"/>
                  </a:cubicBezTo>
                  <a:cubicBezTo>
                    <a:pt x="459" y="84"/>
                    <a:pt x="459" y="84"/>
                    <a:pt x="459" y="84"/>
                  </a:cubicBezTo>
                  <a:cubicBezTo>
                    <a:pt x="485" y="84"/>
                    <a:pt x="485" y="84"/>
                    <a:pt x="485" y="84"/>
                  </a:cubicBezTo>
                  <a:cubicBezTo>
                    <a:pt x="489" y="84"/>
                    <a:pt x="492" y="84"/>
                    <a:pt x="495" y="85"/>
                  </a:cubicBezTo>
                  <a:cubicBezTo>
                    <a:pt x="536" y="96"/>
                    <a:pt x="536" y="96"/>
                    <a:pt x="536" y="96"/>
                  </a:cubicBezTo>
                  <a:cubicBezTo>
                    <a:pt x="560" y="102"/>
                    <a:pt x="583" y="85"/>
                    <a:pt x="584" y="61"/>
                  </a:cubicBezTo>
                  <a:cubicBezTo>
                    <a:pt x="584" y="53"/>
                    <a:pt x="585" y="44"/>
                    <a:pt x="585" y="33"/>
                  </a:cubicBezTo>
                  <a:cubicBezTo>
                    <a:pt x="212" y="0"/>
                    <a:pt x="212" y="0"/>
                    <a:pt x="212" y="0"/>
                  </a:cubicBezTo>
                  <a:lnTo>
                    <a:pt x="9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6" name="Freeform 33">
              <a:extLst>
                <a:ext uri="{FF2B5EF4-FFF2-40B4-BE49-F238E27FC236}">
                  <a16:creationId xmlns:a16="http://schemas.microsoft.com/office/drawing/2014/main" id="{511C8421-234D-4268-AA1E-CC4E5C9068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7496" y="4486275"/>
              <a:ext cx="635000" cy="74613"/>
            </a:xfrm>
            <a:custGeom>
              <a:avLst/>
              <a:gdLst>
                <a:gd name="T0" fmla="*/ 1 w 548"/>
                <a:gd name="T1" fmla="*/ 0 h 64"/>
                <a:gd name="T2" fmla="*/ 0 w 548"/>
                <a:gd name="T3" fmla="*/ 47 h 64"/>
                <a:gd name="T4" fmla="*/ 0 w 548"/>
                <a:gd name="T5" fmla="*/ 51 h 64"/>
                <a:gd name="T6" fmla="*/ 289 w 548"/>
                <a:gd name="T7" fmla="*/ 51 h 64"/>
                <a:gd name="T8" fmla="*/ 538 w 548"/>
                <a:gd name="T9" fmla="*/ 64 h 64"/>
                <a:gd name="T10" fmla="*/ 548 w 548"/>
                <a:gd name="T11" fmla="*/ 13 h 64"/>
                <a:gd name="T12" fmla="*/ 390 w 548"/>
                <a:gd name="T13" fmla="*/ 26 h 64"/>
                <a:gd name="T14" fmla="*/ 1 w 548"/>
                <a:gd name="T1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8" h="64">
                  <a:moveTo>
                    <a:pt x="1" y="0"/>
                  </a:moveTo>
                  <a:cubicBezTo>
                    <a:pt x="1" y="14"/>
                    <a:pt x="1" y="30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289" y="51"/>
                    <a:pt x="289" y="51"/>
                    <a:pt x="289" y="51"/>
                  </a:cubicBezTo>
                  <a:cubicBezTo>
                    <a:pt x="538" y="64"/>
                    <a:pt x="538" y="64"/>
                    <a:pt x="538" y="64"/>
                  </a:cubicBezTo>
                  <a:cubicBezTo>
                    <a:pt x="541" y="47"/>
                    <a:pt x="545" y="29"/>
                    <a:pt x="548" y="13"/>
                  </a:cubicBezTo>
                  <a:cubicBezTo>
                    <a:pt x="516" y="15"/>
                    <a:pt x="399" y="23"/>
                    <a:pt x="390" y="26"/>
                  </a:cubicBezTo>
                  <a:cubicBezTo>
                    <a:pt x="381" y="30"/>
                    <a:pt x="65" y="5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7" name="Freeform 34">
              <a:extLst>
                <a:ext uri="{FF2B5EF4-FFF2-40B4-BE49-F238E27FC236}">
                  <a16:creationId xmlns:a16="http://schemas.microsoft.com/office/drawing/2014/main" id="{79A1101A-9240-498A-B86F-3826439AD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26383" y="4592638"/>
              <a:ext cx="627063" cy="77788"/>
            </a:xfrm>
            <a:custGeom>
              <a:avLst/>
              <a:gdLst>
                <a:gd name="T0" fmla="*/ 6 w 541"/>
                <a:gd name="T1" fmla="*/ 0 h 68"/>
                <a:gd name="T2" fmla="*/ 0 w 541"/>
                <a:gd name="T3" fmla="*/ 49 h 68"/>
                <a:gd name="T4" fmla="*/ 298 w 541"/>
                <a:gd name="T5" fmla="*/ 68 h 68"/>
                <a:gd name="T6" fmla="*/ 535 w 541"/>
                <a:gd name="T7" fmla="*/ 49 h 68"/>
                <a:gd name="T8" fmla="*/ 541 w 541"/>
                <a:gd name="T9" fmla="*/ 6 h 68"/>
                <a:gd name="T10" fmla="*/ 152 w 541"/>
                <a:gd name="T11" fmla="*/ 16 h 68"/>
                <a:gd name="T12" fmla="*/ 6 w 541"/>
                <a:gd name="T13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1" h="68">
                  <a:moveTo>
                    <a:pt x="6" y="0"/>
                  </a:moveTo>
                  <a:cubicBezTo>
                    <a:pt x="5" y="17"/>
                    <a:pt x="2" y="33"/>
                    <a:pt x="0" y="49"/>
                  </a:cubicBezTo>
                  <a:cubicBezTo>
                    <a:pt x="298" y="68"/>
                    <a:pt x="298" y="68"/>
                    <a:pt x="298" y="68"/>
                  </a:cubicBezTo>
                  <a:cubicBezTo>
                    <a:pt x="535" y="49"/>
                    <a:pt x="535" y="49"/>
                    <a:pt x="535" y="49"/>
                  </a:cubicBezTo>
                  <a:cubicBezTo>
                    <a:pt x="537" y="35"/>
                    <a:pt x="539" y="20"/>
                    <a:pt x="541" y="6"/>
                  </a:cubicBezTo>
                  <a:cubicBezTo>
                    <a:pt x="152" y="16"/>
                    <a:pt x="152" y="16"/>
                    <a:pt x="152" y="16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8" name="Freeform 35">
              <a:extLst>
                <a:ext uri="{FF2B5EF4-FFF2-40B4-BE49-F238E27FC236}">
                  <a16:creationId xmlns:a16="http://schemas.microsoft.com/office/drawing/2014/main" id="{CB401B8C-78F5-4185-90A6-2602A71A25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7096" y="4373563"/>
              <a:ext cx="58738" cy="42863"/>
            </a:xfrm>
            <a:custGeom>
              <a:avLst/>
              <a:gdLst>
                <a:gd name="T0" fmla="*/ 44 w 51"/>
                <a:gd name="T1" fmla="*/ 24 h 37"/>
                <a:gd name="T2" fmla="*/ 45 w 51"/>
                <a:gd name="T3" fmla="*/ 20 h 37"/>
                <a:gd name="T4" fmla="*/ 46 w 51"/>
                <a:gd name="T5" fmla="*/ 19 h 37"/>
                <a:gd name="T6" fmla="*/ 47 w 51"/>
                <a:gd name="T7" fmla="*/ 16 h 37"/>
                <a:gd name="T8" fmla="*/ 47 w 51"/>
                <a:gd name="T9" fmla="*/ 15 h 37"/>
                <a:gd name="T10" fmla="*/ 48 w 51"/>
                <a:gd name="T11" fmla="*/ 12 h 37"/>
                <a:gd name="T12" fmla="*/ 48 w 51"/>
                <a:gd name="T13" fmla="*/ 11 h 37"/>
                <a:gd name="T14" fmla="*/ 49 w 51"/>
                <a:gd name="T15" fmla="*/ 8 h 37"/>
                <a:gd name="T16" fmla="*/ 50 w 51"/>
                <a:gd name="T17" fmla="*/ 4 h 37"/>
                <a:gd name="T18" fmla="*/ 50 w 51"/>
                <a:gd name="T19" fmla="*/ 4 h 37"/>
                <a:gd name="T20" fmla="*/ 51 w 51"/>
                <a:gd name="T21" fmla="*/ 0 h 37"/>
                <a:gd name="T22" fmla="*/ 34 w 51"/>
                <a:gd name="T23" fmla="*/ 1 h 37"/>
                <a:gd name="T24" fmla="*/ 0 w 51"/>
                <a:gd name="T25" fmla="*/ 37 h 37"/>
                <a:gd name="T26" fmla="*/ 42 w 51"/>
                <a:gd name="T27" fmla="*/ 32 h 37"/>
                <a:gd name="T28" fmla="*/ 43 w 51"/>
                <a:gd name="T29" fmla="*/ 30 h 37"/>
                <a:gd name="T30" fmla="*/ 44 w 51"/>
                <a:gd name="T31" fmla="*/ 26 h 37"/>
                <a:gd name="T32" fmla="*/ 44 w 51"/>
                <a:gd name="T33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37">
                  <a:moveTo>
                    <a:pt x="44" y="24"/>
                  </a:moveTo>
                  <a:cubicBezTo>
                    <a:pt x="45" y="23"/>
                    <a:pt x="45" y="22"/>
                    <a:pt x="45" y="20"/>
                  </a:cubicBezTo>
                  <a:cubicBezTo>
                    <a:pt x="46" y="20"/>
                    <a:pt x="46" y="20"/>
                    <a:pt x="46" y="19"/>
                  </a:cubicBezTo>
                  <a:cubicBezTo>
                    <a:pt x="46" y="18"/>
                    <a:pt x="46" y="17"/>
                    <a:pt x="47" y="16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4"/>
                    <a:pt x="48" y="13"/>
                    <a:pt x="48" y="12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9" y="10"/>
                    <a:pt x="49" y="9"/>
                    <a:pt x="49" y="8"/>
                  </a:cubicBezTo>
                  <a:cubicBezTo>
                    <a:pt x="50" y="7"/>
                    <a:pt x="50" y="6"/>
                    <a:pt x="50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0" y="2"/>
                    <a:pt x="51" y="1"/>
                    <a:pt x="51" y="0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9" y="34"/>
                    <a:pt x="33" y="33"/>
                    <a:pt x="42" y="32"/>
                  </a:cubicBezTo>
                  <a:cubicBezTo>
                    <a:pt x="42" y="31"/>
                    <a:pt x="42" y="30"/>
                    <a:pt x="43" y="30"/>
                  </a:cubicBezTo>
                  <a:cubicBezTo>
                    <a:pt x="43" y="29"/>
                    <a:pt x="43" y="28"/>
                    <a:pt x="44" y="26"/>
                  </a:cubicBezTo>
                  <a:cubicBezTo>
                    <a:pt x="44" y="26"/>
                    <a:pt x="44" y="25"/>
                    <a:pt x="44" y="2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9" name="Freeform 36">
              <a:extLst>
                <a:ext uri="{FF2B5EF4-FFF2-40B4-BE49-F238E27FC236}">
                  <a16:creationId xmlns:a16="http://schemas.microsoft.com/office/drawing/2014/main" id="{5156012B-9C00-4DC5-8D79-66505E43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20108" y="4722813"/>
              <a:ext cx="22225" cy="66675"/>
            </a:xfrm>
            <a:custGeom>
              <a:avLst/>
              <a:gdLst>
                <a:gd name="T0" fmla="*/ 0 w 20"/>
                <a:gd name="T1" fmla="*/ 0 h 58"/>
                <a:gd name="T2" fmla="*/ 5 w 20"/>
                <a:gd name="T3" fmla="*/ 58 h 58"/>
                <a:gd name="T4" fmla="*/ 20 w 20"/>
                <a:gd name="T5" fmla="*/ 58 h 58"/>
                <a:gd name="T6" fmla="*/ 20 w 20"/>
                <a:gd name="T7" fmla="*/ 58 h 58"/>
                <a:gd name="T8" fmla="*/ 20 w 20"/>
                <a:gd name="T9" fmla="*/ 48 h 58"/>
                <a:gd name="T10" fmla="*/ 20 w 20"/>
                <a:gd name="T11" fmla="*/ 48 h 58"/>
                <a:gd name="T12" fmla="*/ 20 w 20"/>
                <a:gd name="T13" fmla="*/ 38 h 58"/>
                <a:gd name="T14" fmla="*/ 20 w 20"/>
                <a:gd name="T15" fmla="*/ 37 h 58"/>
                <a:gd name="T16" fmla="*/ 20 w 20"/>
                <a:gd name="T17" fmla="*/ 27 h 58"/>
                <a:gd name="T18" fmla="*/ 20 w 20"/>
                <a:gd name="T19" fmla="*/ 26 h 58"/>
                <a:gd name="T20" fmla="*/ 19 w 20"/>
                <a:gd name="T21" fmla="*/ 14 h 58"/>
                <a:gd name="T22" fmla="*/ 19 w 20"/>
                <a:gd name="T23" fmla="*/ 0 h 58"/>
                <a:gd name="T24" fmla="*/ 19 w 20"/>
                <a:gd name="T25" fmla="*/ 0 h 58"/>
                <a:gd name="T26" fmla="*/ 0 w 20"/>
                <a:gd name="T2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58">
                  <a:moveTo>
                    <a:pt x="0" y="0"/>
                  </a:moveTo>
                  <a:cubicBezTo>
                    <a:pt x="5" y="58"/>
                    <a:pt x="5" y="58"/>
                    <a:pt x="5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5"/>
                    <a:pt x="20" y="51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5"/>
                    <a:pt x="20" y="41"/>
                    <a:pt x="20" y="38"/>
                  </a:cubicBezTo>
                  <a:cubicBezTo>
                    <a:pt x="20" y="38"/>
                    <a:pt x="20" y="37"/>
                    <a:pt x="20" y="37"/>
                  </a:cubicBezTo>
                  <a:cubicBezTo>
                    <a:pt x="20" y="34"/>
                    <a:pt x="20" y="30"/>
                    <a:pt x="20" y="27"/>
                  </a:cubicBezTo>
                  <a:cubicBezTo>
                    <a:pt x="20" y="27"/>
                    <a:pt x="20" y="26"/>
                    <a:pt x="20" y="26"/>
                  </a:cubicBezTo>
                  <a:cubicBezTo>
                    <a:pt x="19" y="22"/>
                    <a:pt x="19" y="18"/>
                    <a:pt x="19" y="14"/>
                  </a:cubicBezTo>
                  <a:cubicBezTo>
                    <a:pt x="19" y="9"/>
                    <a:pt x="19" y="5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0" name="Freeform 37">
              <a:extLst>
                <a:ext uri="{FF2B5EF4-FFF2-40B4-BE49-F238E27FC236}">
                  <a16:creationId xmlns:a16="http://schemas.microsoft.com/office/drawing/2014/main" id="{193359E3-6A29-4CE1-9F1D-09F862F5FA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34396" y="4860925"/>
              <a:ext cx="7938" cy="47625"/>
            </a:xfrm>
            <a:custGeom>
              <a:avLst/>
              <a:gdLst>
                <a:gd name="T0" fmla="*/ 4 w 8"/>
                <a:gd name="T1" fmla="*/ 42 h 42"/>
                <a:gd name="T2" fmla="*/ 4 w 8"/>
                <a:gd name="T3" fmla="*/ 42 h 42"/>
                <a:gd name="T4" fmla="*/ 5 w 8"/>
                <a:gd name="T5" fmla="*/ 40 h 42"/>
                <a:gd name="T6" fmla="*/ 5 w 8"/>
                <a:gd name="T7" fmla="*/ 39 h 42"/>
                <a:gd name="T8" fmla="*/ 6 w 8"/>
                <a:gd name="T9" fmla="*/ 37 h 42"/>
                <a:gd name="T10" fmla="*/ 6 w 8"/>
                <a:gd name="T11" fmla="*/ 34 h 42"/>
                <a:gd name="T12" fmla="*/ 7 w 8"/>
                <a:gd name="T13" fmla="*/ 33 h 42"/>
                <a:gd name="T14" fmla="*/ 7 w 8"/>
                <a:gd name="T15" fmla="*/ 29 h 42"/>
                <a:gd name="T16" fmla="*/ 7 w 8"/>
                <a:gd name="T17" fmla="*/ 23 h 42"/>
                <a:gd name="T18" fmla="*/ 7 w 8"/>
                <a:gd name="T19" fmla="*/ 22 h 42"/>
                <a:gd name="T20" fmla="*/ 7 w 8"/>
                <a:gd name="T21" fmla="*/ 16 h 42"/>
                <a:gd name="T22" fmla="*/ 7 w 8"/>
                <a:gd name="T23" fmla="*/ 15 h 42"/>
                <a:gd name="T24" fmla="*/ 8 w 8"/>
                <a:gd name="T25" fmla="*/ 9 h 42"/>
                <a:gd name="T26" fmla="*/ 8 w 8"/>
                <a:gd name="T27" fmla="*/ 9 h 42"/>
                <a:gd name="T28" fmla="*/ 8 w 8"/>
                <a:gd name="T29" fmla="*/ 1 h 42"/>
                <a:gd name="T30" fmla="*/ 8 w 8"/>
                <a:gd name="T31" fmla="*/ 1 h 42"/>
                <a:gd name="T32" fmla="*/ 0 w 8"/>
                <a:gd name="T33" fmla="*/ 0 h 42"/>
                <a:gd name="T34" fmla="*/ 4 w 8"/>
                <a:gd name="T3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" h="42">
                  <a:moveTo>
                    <a:pt x="4" y="42"/>
                  </a:move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5" y="41"/>
                    <a:pt x="5" y="40"/>
                  </a:cubicBezTo>
                  <a:cubicBezTo>
                    <a:pt x="5" y="40"/>
                    <a:pt x="5" y="39"/>
                    <a:pt x="5" y="39"/>
                  </a:cubicBezTo>
                  <a:cubicBezTo>
                    <a:pt x="6" y="38"/>
                    <a:pt x="6" y="37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6" y="34"/>
                    <a:pt x="7" y="33"/>
                    <a:pt x="7" y="33"/>
                  </a:cubicBezTo>
                  <a:cubicBezTo>
                    <a:pt x="7" y="32"/>
                    <a:pt x="7" y="30"/>
                    <a:pt x="7" y="29"/>
                  </a:cubicBezTo>
                  <a:cubicBezTo>
                    <a:pt x="7" y="27"/>
                    <a:pt x="7" y="25"/>
                    <a:pt x="7" y="23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0"/>
                    <a:pt x="7" y="18"/>
                    <a:pt x="7" y="16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8" y="13"/>
                    <a:pt x="8" y="11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6"/>
                    <a:pt x="8" y="4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3" name="Freeform 38">
              <a:extLst>
                <a:ext uri="{FF2B5EF4-FFF2-40B4-BE49-F238E27FC236}">
                  <a16:creationId xmlns:a16="http://schemas.microsoft.com/office/drawing/2014/main" id="{C3DCFCAD-E8C9-4115-B1F5-2E4D18A3BC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96296" y="4502150"/>
              <a:ext cx="76200" cy="58738"/>
            </a:xfrm>
            <a:custGeom>
              <a:avLst/>
              <a:gdLst>
                <a:gd name="T0" fmla="*/ 5 w 65"/>
                <a:gd name="T1" fmla="*/ 49 h 51"/>
                <a:gd name="T2" fmla="*/ 55 w 65"/>
                <a:gd name="T3" fmla="*/ 51 h 51"/>
                <a:gd name="T4" fmla="*/ 57 w 65"/>
                <a:gd name="T5" fmla="*/ 39 h 51"/>
                <a:gd name="T6" fmla="*/ 58 w 65"/>
                <a:gd name="T7" fmla="*/ 36 h 51"/>
                <a:gd name="T8" fmla="*/ 60 w 65"/>
                <a:gd name="T9" fmla="*/ 26 h 51"/>
                <a:gd name="T10" fmla="*/ 60 w 65"/>
                <a:gd name="T11" fmla="*/ 24 h 51"/>
                <a:gd name="T12" fmla="*/ 62 w 65"/>
                <a:gd name="T13" fmla="*/ 13 h 51"/>
                <a:gd name="T14" fmla="*/ 63 w 65"/>
                <a:gd name="T15" fmla="*/ 12 h 51"/>
                <a:gd name="T16" fmla="*/ 65 w 65"/>
                <a:gd name="T17" fmla="*/ 0 h 51"/>
                <a:gd name="T18" fmla="*/ 0 w 65"/>
                <a:gd name="T19" fmla="*/ 5 h 51"/>
                <a:gd name="T20" fmla="*/ 5 w 65"/>
                <a:gd name="T21" fmla="*/ 4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51">
                  <a:moveTo>
                    <a:pt x="5" y="49"/>
                  </a:moveTo>
                  <a:cubicBezTo>
                    <a:pt x="55" y="51"/>
                    <a:pt x="55" y="51"/>
                    <a:pt x="55" y="51"/>
                  </a:cubicBezTo>
                  <a:cubicBezTo>
                    <a:pt x="55" y="47"/>
                    <a:pt x="56" y="43"/>
                    <a:pt x="57" y="39"/>
                  </a:cubicBezTo>
                  <a:cubicBezTo>
                    <a:pt x="57" y="38"/>
                    <a:pt x="57" y="37"/>
                    <a:pt x="58" y="36"/>
                  </a:cubicBezTo>
                  <a:cubicBezTo>
                    <a:pt x="58" y="33"/>
                    <a:pt x="59" y="29"/>
                    <a:pt x="60" y="26"/>
                  </a:cubicBezTo>
                  <a:cubicBezTo>
                    <a:pt x="60" y="25"/>
                    <a:pt x="60" y="24"/>
                    <a:pt x="60" y="24"/>
                  </a:cubicBezTo>
                  <a:cubicBezTo>
                    <a:pt x="61" y="20"/>
                    <a:pt x="62" y="17"/>
                    <a:pt x="62" y="13"/>
                  </a:cubicBezTo>
                  <a:cubicBezTo>
                    <a:pt x="63" y="13"/>
                    <a:pt x="63" y="12"/>
                    <a:pt x="63" y="12"/>
                  </a:cubicBezTo>
                  <a:cubicBezTo>
                    <a:pt x="64" y="8"/>
                    <a:pt x="65" y="4"/>
                    <a:pt x="65" y="0"/>
                  </a:cubicBezTo>
                  <a:cubicBezTo>
                    <a:pt x="53" y="1"/>
                    <a:pt x="27" y="3"/>
                    <a:pt x="0" y="5"/>
                  </a:cubicBezTo>
                  <a:lnTo>
                    <a:pt x="5" y="4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4" name="Freeform 39">
              <a:extLst>
                <a:ext uri="{FF2B5EF4-FFF2-40B4-BE49-F238E27FC236}">
                  <a16:creationId xmlns:a16="http://schemas.microsoft.com/office/drawing/2014/main" id="{A6A9143A-606E-4DAD-BE83-8A8DA7C88F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07408" y="4598988"/>
              <a:ext cx="46038" cy="52388"/>
            </a:xfrm>
            <a:custGeom>
              <a:avLst/>
              <a:gdLst>
                <a:gd name="T0" fmla="*/ 4 w 40"/>
                <a:gd name="T1" fmla="*/ 46 h 46"/>
                <a:gd name="T2" fmla="*/ 34 w 40"/>
                <a:gd name="T3" fmla="*/ 43 h 46"/>
                <a:gd name="T4" fmla="*/ 37 w 40"/>
                <a:gd name="T5" fmla="*/ 22 h 46"/>
                <a:gd name="T6" fmla="*/ 37 w 40"/>
                <a:gd name="T7" fmla="*/ 21 h 46"/>
                <a:gd name="T8" fmla="*/ 40 w 40"/>
                <a:gd name="T9" fmla="*/ 0 h 46"/>
                <a:gd name="T10" fmla="*/ 0 w 40"/>
                <a:gd name="T11" fmla="*/ 1 h 46"/>
                <a:gd name="T12" fmla="*/ 4 w 40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46">
                  <a:moveTo>
                    <a:pt x="4" y="46"/>
                  </a:moveTo>
                  <a:cubicBezTo>
                    <a:pt x="34" y="43"/>
                    <a:pt x="34" y="43"/>
                    <a:pt x="34" y="43"/>
                  </a:cubicBezTo>
                  <a:cubicBezTo>
                    <a:pt x="35" y="36"/>
                    <a:pt x="36" y="29"/>
                    <a:pt x="37" y="22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8" y="14"/>
                    <a:pt x="39" y="7"/>
                    <a:pt x="4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5" name="Freeform 40">
              <a:extLst>
                <a:ext uri="{FF2B5EF4-FFF2-40B4-BE49-F238E27FC236}">
                  <a16:creationId xmlns:a16="http://schemas.microsoft.com/office/drawing/2014/main" id="{EAEE426C-372F-4EB0-A907-694DA0B31C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72058" y="3719513"/>
              <a:ext cx="1446213" cy="1398588"/>
            </a:xfrm>
            <a:custGeom>
              <a:avLst/>
              <a:gdLst>
                <a:gd name="T0" fmla="*/ 1020 w 1248"/>
                <a:gd name="T1" fmla="*/ 588 h 1209"/>
                <a:gd name="T2" fmla="*/ 1248 w 1248"/>
                <a:gd name="T3" fmla="*/ 268 h 1209"/>
                <a:gd name="T4" fmla="*/ 1192 w 1248"/>
                <a:gd name="T5" fmla="*/ 216 h 1209"/>
                <a:gd name="T6" fmla="*/ 967 w 1248"/>
                <a:gd name="T7" fmla="*/ 402 h 1209"/>
                <a:gd name="T8" fmla="*/ 772 w 1248"/>
                <a:gd name="T9" fmla="*/ 84 h 1209"/>
                <a:gd name="T10" fmla="*/ 691 w 1248"/>
                <a:gd name="T11" fmla="*/ 46 h 1209"/>
                <a:gd name="T12" fmla="*/ 657 w 1248"/>
                <a:gd name="T13" fmla="*/ 35 h 1209"/>
                <a:gd name="T14" fmla="*/ 635 w 1248"/>
                <a:gd name="T15" fmla="*/ 32 h 1209"/>
                <a:gd name="T16" fmla="*/ 457 w 1248"/>
                <a:gd name="T17" fmla="*/ 6 h 1209"/>
                <a:gd name="T18" fmla="*/ 392 w 1248"/>
                <a:gd name="T19" fmla="*/ 6 h 1209"/>
                <a:gd name="T20" fmla="*/ 375 w 1248"/>
                <a:gd name="T21" fmla="*/ 14 h 1209"/>
                <a:gd name="T22" fmla="*/ 244 w 1248"/>
                <a:gd name="T23" fmla="*/ 72 h 1209"/>
                <a:gd name="T24" fmla="*/ 0 w 1248"/>
                <a:gd name="T25" fmla="*/ 628 h 1209"/>
                <a:gd name="T26" fmla="*/ 80 w 1248"/>
                <a:gd name="T27" fmla="*/ 720 h 1209"/>
                <a:gd name="T28" fmla="*/ 122 w 1248"/>
                <a:gd name="T29" fmla="*/ 676 h 1209"/>
                <a:gd name="T30" fmla="*/ 204 w 1248"/>
                <a:gd name="T31" fmla="*/ 1166 h 1209"/>
                <a:gd name="T32" fmla="*/ 206 w 1248"/>
                <a:gd name="T33" fmla="*/ 1168 h 1209"/>
                <a:gd name="T34" fmla="*/ 488 w 1248"/>
                <a:gd name="T35" fmla="*/ 1114 h 1209"/>
                <a:gd name="T36" fmla="*/ 488 w 1248"/>
                <a:gd name="T37" fmla="*/ 1114 h 1209"/>
                <a:gd name="T38" fmla="*/ 773 w 1248"/>
                <a:gd name="T39" fmla="*/ 1147 h 1209"/>
                <a:gd name="T40" fmla="*/ 903 w 1248"/>
                <a:gd name="T41" fmla="*/ 1103 h 1209"/>
                <a:gd name="T42" fmla="*/ 935 w 1248"/>
                <a:gd name="T43" fmla="*/ 1002 h 1209"/>
                <a:gd name="T44" fmla="*/ 932 w 1248"/>
                <a:gd name="T45" fmla="*/ 909 h 1209"/>
                <a:gd name="T46" fmla="*/ 815 w 1248"/>
                <a:gd name="T47" fmla="*/ 477 h 1209"/>
                <a:gd name="T48" fmla="*/ 904 w 1248"/>
                <a:gd name="T49" fmla="*/ 600 h 1209"/>
                <a:gd name="T50" fmla="*/ 1020 w 1248"/>
                <a:gd name="T51" fmla="*/ 588 h 1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48" h="1209">
                  <a:moveTo>
                    <a:pt x="1020" y="588"/>
                  </a:moveTo>
                  <a:cubicBezTo>
                    <a:pt x="1248" y="268"/>
                    <a:pt x="1248" y="268"/>
                    <a:pt x="1248" y="268"/>
                  </a:cubicBezTo>
                  <a:cubicBezTo>
                    <a:pt x="1192" y="216"/>
                    <a:pt x="1192" y="216"/>
                    <a:pt x="1192" y="216"/>
                  </a:cubicBezTo>
                  <a:cubicBezTo>
                    <a:pt x="967" y="402"/>
                    <a:pt x="967" y="402"/>
                    <a:pt x="967" y="402"/>
                  </a:cubicBezTo>
                  <a:cubicBezTo>
                    <a:pt x="772" y="84"/>
                    <a:pt x="772" y="84"/>
                    <a:pt x="772" y="84"/>
                  </a:cubicBezTo>
                  <a:cubicBezTo>
                    <a:pt x="691" y="46"/>
                    <a:pt x="691" y="46"/>
                    <a:pt x="691" y="46"/>
                  </a:cubicBezTo>
                  <a:cubicBezTo>
                    <a:pt x="681" y="41"/>
                    <a:pt x="670" y="37"/>
                    <a:pt x="657" y="35"/>
                  </a:cubicBezTo>
                  <a:cubicBezTo>
                    <a:pt x="650" y="34"/>
                    <a:pt x="643" y="33"/>
                    <a:pt x="635" y="32"/>
                  </a:cubicBezTo>
                  <a:cubicBezTo>
                    <a:pt x="576" y="23"/>
                    <a:pt x="517" y="15"/>
                    <a:pt x="457" y="6"/>
                  </a:cubicBezTo>
                  <a:cubicBezTo>
                    <a:pt x="436" y="3"/>
                    <a:pt x="413" y="0"/>
                    <a:pt x="392" y="6"/>
                  </a:cubicBezTo>
                  <a:cubicBezTo>
                    <a:pt x="386" y="8"/>
                    <a:pt x="381" y="11"/>
                    <a:pt x="375" y="14"/>
                  </a:cubicBezTo>
                  <a:cubicBezTo>
                    <a:pt x="244" y="72"/>
                    <a:pt x="244" y="72"/>
                    <a:pt x="244" y="72"/>
                  </a:cubicBezTo>
                  <a:cubicBezTo>
                    <a:pt x="0" y="628"/>
                    <a:pt x="0" y="628"/>
                    <a:pt x="0" y="628"/>
                  </a:cubicBezTo>
                  <a:cubicBezTo>
                    <a:pt x="80" y="720"/>
                    <a:pt x="80" y="720"/>
                    <a:pt x="80" y="720"/>
                  </a:cubicBezTo>
                  <a:cubicBezTo>
                    <a:pt x="122" y="676"/>
                    <a:pt x="122" y="676"/>
                    <a:pt x="122" y="676"/>
                  </a:cubicBezTo>
                  <a:cubicBezTo>
                    <a:pt x="100" y="855"/>
                    <a:pt x="106" y="1053"/>
                    <a:pt x="204" y="1166"/>
                  </a:cubicBezTo>
                  <a:cubicBezTo>
                    <a:pt x="205" y="1167"/>
                    <a:pt x="205" y="1167"/>
                    <a:pt x="206" y="1168"/>
                  </a:cubicBezTo>
                  <a:cubicBezTo>
                    <a:pt x="270" y="1209"/>
                    <a:pt x="343" y="1135"/>
                    <a:pt x="488" y="1114"/>
                  </a:cubicBezTo>
                  <a:cubicBezTo>
                    <a:pt x="488" y="1114"/>
                    <a:pt x="488" y="1114"/>
                    <a:pt x="488" y="1114"/>
                  </a:cubicBezTo>
                  <a:cubicBezTo>
                    <a:pt x="633" y="1093"/>
                    <a:pt x="773" y="1147"/>
                    <a:pt x="773" y="1147"/>
                  </a:cubicBezTo>
                  <a:cubicBezTo>
                    <a:pt x="773" y="1147"/>
                    <a:pt x="855" y="1170"/>
                    <a:pt x="903" y="1103"/>
                  </a:cubicBezTo>
                  <a:cubicBezTo>
                    <a:pt x="919" y="1080"/>
                    <a:pt x="931" y="1048"/>
                    <a:pt x="935" y="1002"/>
                  </a:cubicBezTo>
                  <a:cubicBezTo>
                    <a:pt x="937" y="974"/>
                    <a:pt x="936" y="942"/>
                    <a:pt x="932" y="909"/>
                  </a:cubicBezTo>
                  <a:cubicBezTo>
                    <a:pt x="916" y="770"/>
                    <a:pt x="852" y="600"/>
                    <a:pt x="815" y="477"/>
                  </a:cubicBezTo>
                  <a:cubicBezTo>
                    <a:pt x="904" y="600"/>
                    <a:pt x="904" y="600"/>
                    <a:pt x="904" y="600"/>
                  </a:cubicBezTo>
                  <a:cubicBezTo>
                    <a:pt x="1020" y="588"/>
                    <a:pt x="1020" y="588"/>
                    <a:pt x="1020" y="588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6" name="Freeform 41">
              <a:extLst>
                <a:ext uri="{FF2B5EF4-FFF2-40B4-BE49-F238E27FC236}">
                  <a16:creationId xmlns:a16="http://schemas.microsoft.com/office/drawing/2014/main" id="{30913EFE-1B82-42FC-8A08-41CBD2B6C7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10108" y="4886325"/>
              <a:ext cx="454025" cy="1096963"/>
            </a:xfrm>
            <a:custGeom>
              <a:avLst/>
              <a:gdLst>
                <a:gd name="T0" fmla="*/ 228 w 286"/>
                <a:gd name="T1" fmla="*/ 0 h 691"/>
                <a:gd name="T2" fmla="*/ 286 w 286"/>
                <a:gd name="T3" fmla="*/ 151 h 691"/>
                <a:gd name="T4" fmla="*/ 208 w 286"/>
                <a:gd name="T5" fmla="*/ 691 h 691"/>
                <a:gd name="T6" fmla="*/ 135 w 286"/>
                <a:gd name="T7" fmla="*/ 691 h 691"/>
                <a:gd name="T8" fmla="*/ 105 w 286"/>
                <a:gd name="T9" fmla="*/ 191 h 691"/>
                <a:gd name="T10" fmla="*/ 0 w 286"/>
                <a:gd name="T11" fmla="*/ 23 h 691"/>
                <a:gd name="T12" fmla="*/ 228 w 286"/>
                <a:gd name="T13" fmla="*/ 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6" h="691">
                  <a:moveTo>
                    <a:pt x="228" y="0"/>
                  </a:moveTo>
                  <a:lnTo>
                    <a:pt x="286" y="151"/>
                  </a:lnTo>
                  <a:lnTo>
                    <a:pt x="208" y="691"/>
                  </a:lnTo>
                  <a:lnTo>
                    <a:pt x="135" y="691"/>
                  </a:lnTo>
                  <a:lnTo>
                    <a:pt x="105" y="191"/>
                  </a:lnTo>
                  <a:lnTo>
                    <a:pt x="0" y="23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7" name="Freeform 42">
              <a:extLst>
                <a:ext uri="{FF2B5EF4-FFF2-40B4-BE49-F238E27FC236}">
                  <a16:creationId xmlns:a16="http://schemas.microsoft.com/office/drawing/2014/main" id="{A5D8AD45-9C5E-4E40-8E3C-335EDCAC55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10108" y="4886325"/>
              <a:ext cx="454025" cy="1096963"/>
            </a:xfrm>
            <a:custGeom>
              <a:avLst/>
              <a:gdLst>
                <a:gd name="T0" fmla="*/ 228 w 286"/>
                <a:gd name="T1" fmla="*/ 0 h 691"/>
                <a:gd name="T2" fmla="*/ 286 w 286"/>
                <a:gd name="T3" fmla="*/ 151 h 691"/>
                <a:gd name="T4" fmla="*/ 208 w 286"/>
                <a:gd name="T5" fmla="*/ 691 h 691"/>
                <a:gd name="T6" fmla="*/ 135 w 286"/>
                <a:gd name="T7" fmla="*/ 691 h 691"/>
                <a:gd name="T8" fmla="*/ 105 w 286"/>
                <a:gd name="T9" fmla="*/ 191 h 691"/>
                <a:gd name="T10" fmla="*/ 0 w 286"/>
                <a:gd name="T11" fmla="*/ 23 h 691"/>
                <a:gd name="T12" fmla="*/ 228 w 286"/>
                <a:gd name="T13" fmla="*/ 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6" h="691">
                  <a:moveTo>
                    <a:pt x="228" y="0"/>
                  </a:moveTo>
                  <a:lnTo>
                    <a:pt x="286" y="151"/>
                  </a:lnTo>
                  <a:lnTo>
                    <a:pt x="208" y="691"/>
                  </a:lnTo>
                  <a:lnTo>
                    <a:pt x="135" y="691"/>
                  </a:lnTo>
                  <a:lnTo>
                    <a:pt x="105" y="191"/>
                  </a:lnTo>
                  <a:lnTo>
                    <a:pt x="0" y="23"/>
                  </a:lnTo>
                  <a:lnTo>
                    <a:pt x="22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8" name="Freeform 43">
              <a:extLst>
                <a:ext uri="{FF2B5EF4-FFF2-40B4-BE49-F238E27FC236}">
                  <a16:creationId xmlns:a16="http://schemas.microsoft.com/office/drawing/2014/main" id="{4A06B6B7-B980-4324-B618-02BF546006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33871" y="4838700"/>
              <a:ext cx="500063" cy="1144588"/>
            </a:xfrm>
            <a:custGeom>
              <a:avLst/>
              <a:gdLst>
                <a:gd name="T0" fmla="*/ 307 w 315"/>
                <a:gd name="T1" fmla="*/ 47 h 721"/>
                <a:gd name="T2" fmla="*/ 315 w 315"/>
                <a:gd name="T3" fmla="*/ 232 h 721"/>
                <a:gd name="T4" fmla="*/ 285 w 315"/>
                <a:gd name="T5" fmla="*/ 721 h 721"/>
                <a:gd name="T6" fmla="*/ 210 w 315"/>
                <a:gd name="T7" fmla="*/ 709 h 721"/>
                <a:gd name="T8" fmla="*/ 137 w 315"/>
                <a:gd name="T9" fmla="*/ 244 h 721"/>
                <a:gd name="T10" fmla="*/ 0 w 315"/>
                <a:gd name="T11" fmla="*/ 133 h 721"/>
                <a:gd name="T12" fmla="*/ 126 w 315"/>
                <a:gd name="T13" fmla="*/ 0 h 721"/>
                <a:gd name="T14" fmla="*/ 307 w 315"/>
                <a:gd name="T15" fmla="*/ 47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5" h="721">
                  <a:moveTo>
                    <a:pt x="307" y="47"/>
                  </a:moveTo>
                  <a:lnTo>
                    <a:pt x="315" y="232"/>
                  </a:lnTo>
                  <a:lnTo>
                    <a:pt x="285" y="721"/>
                  </a:lnTo>
                  <a:lnTo>
                    <a:pt x="210" y="709"/>
                  </a:lnTo>
                  <a:lnTo>
                    <a:pt x="137" y="244"/>
                  </a:lnTo>
                  <a:lnTo>
                    <a:pt x="0" y="133"/>
                  </a:lnTo>
                  <a:lnTo>
                    <a:pt x="126" y="0"/>
                  </a:lnTo>
                  <a:lnTo>
                    <a:pt x="307" y="4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9" name="Freeform 44">
              <a:extLst>
                <a:ext uri="{FF2B5EF4-FFF2-40B4-BE49-F238E27FC236}">
                  <a16:creationId xmlns:a16="http://schemas.microsoft.com/office/drawing/2014/main" id="{6B48AEDA-8F5B-45AA-8FE4-1B2817CDA1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3946" y="5983288"/>
              <a:ext cx="158750" cy="109538"/>
            </a:xfrm>
            <a:custGeom>
              <a:avLst/>
              <a:gdLst>
                <a:gd name="T0" fmla="*/ 55 w 100"/>
                <a:gd name="T1" fmla="*/ 0 h 69"/>
                <a:gd name="T2" fmla="*/ 100 w 100"/>
                <a:gd name="T3" fmla="*/ 48 h 69"/>
                <a:gd name="T4" fmla="*/ 79 w 100"/>
                <a:gd name="T5" fmla="*/ 69 h 69"/>
                <a:gd name="T6" fmla="*/ 0 w 100"/>
                <a:gd name="T7" fmla="*/ 42 h 69"/>
                <a:gd name="T8" fmla="*/ 7 w 100"/>
                <a:gd name="T9" fmla="*/ 0 h 69"/>
                <a:gd name="T10" fmla="*/ 55 w 100"/>
                <a:gd name="T1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69">
                  <a:moveTo>
                    <a:pt x="55" y="0"/>
                  </a:moveTo>
                  <a:lnTo>
                    <a:pt x="100" y="48"/>
                  </a:lnTo>
                  <a:lnTo>
                    <a:pt x="79" y="69"/>
                  </a:lnTo>
                  <a:lnTo>
                    <a:pt x="0" y="42"/>
                  </a:lnTo>
                  <a:lnTo>
                    <a:pt x="7" y="0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0" name="Freeform 45">
              <a:extLst>
                <a:ext uri="{FF2B5EF4-FFF2-40B4-BE49-F238E27FC236}">
                  <a16:creationId xmlns:a16="http://schemas.microsoft.com/office/drawing/2014/main" id="{AC68DB6E-3FB5-4EBA-B22A-D5648611EC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67246" y="5965825"/>
              <a:ext cx="176213" cy="127000"/>
            </a:xfrm>
            <a:custGeom>
              <a:avLst/>
              <a:gdLst>
                <a:gd name="T0" fmla="*/ 65 w 111"/>
                <a:gd name="T1" fmla="*/ 10 h 80"/>
                <a:gd name="T2" fmla="*/ 111 w 111"/>
                <a:gd name="T3" fmla="*/ 53 h 80"/>
                <a:gd name="T4" fmla="*/ 87 w 111"/>
                <a:gd name="T5" fmla="*/ 80 h 80"/>
                <a:gd name="T6" fmla="*/ 0 w 111"/>
                <a:gd name="T7" fmla="*/ 44 h 80"/>
                <a:gd name="T8" fmla="*/ 8 w 111"/>
                <a:gd name="T9" fmla="*/ 0 h 80"/>
                <a:gd name="T10" fmla="*/ 65 w 111"/>
                <a:gd name="T11" fmla="*/ 1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80">
                  <a:moveTo>
                    <a:pt x="65" y="10"/>
                  </a:moveTo>
                  <a:lnTo>
                    <a:pt x="111" y="53"/>
                  </a:lnTo>
                  <a:lnTo>
                    <a:pt x="87" y="80"/>
                  </a:lnTo>
                  <a:lnTo>
                    <a:pt x="0" y="44"/>
                  </a:lnTo>
                  <a:lnTo>
                    <a:pt x="8" y="0"/>
                  </a:lnTo>
                  <a:lnTo>
                    <a:pt x="65" y="1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1" name="Freeform 46">
              <a:extLst>
                <a:ext uri="{FF2B5EF4-FFF2-40B4-BE49-F238E27FC236}">
                  <a16:creationId xmlns:a16="http://schemas.microsoft.com/office/drawing/2014/main" id="{F39C1F80-7A98-4093-802A-38DEEC8452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7096" y="3805238"/>
              <a:ext cx="320675" cy="747713"/>
            </a:xfrm>
            <a:custGeom>
              <a:avLst/>
              <a:gdLst>
                <a:gd name="T0" fmla="*/ 0 w 202"/>
                <a:gd name="T1" fmla="*/ 0 h 471"/>
                <a:gd name="T2" fmla="*/ 68 w 202"/>
                <a:gd name="T3" fmla="*/ 36 h 471"/>
                <a:gd name="T4" fmla="*/ 202 w 202"/>
                <a:gd name="T5" fmla="*/ 345 h 471"/>
                <a:gd name="T6" fmla="*/ 158 w 202"/>
                <a:gd name="T7" fmla="*/ 471 h 471"/>
                <a:gd name="T8" fmla="*/ 77 w 202"/>
                <a:gd name="T9" fmla="*/ 401 h 471"/>
                <a:gd name="T10" fmla="*/ 1 w 202"/>
                <a:gd name="T11" fmla="*/ 7 h 471"/>
                <a:gd name="T12" fmla="*/ 0 w 202"/>
                <a:gd name="T13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471">
                  <a:moveTo>
                    <a:pt x="0" y="0"/>
                  </a:moveTo>
                  <a:lnTo>
                    <a:pt x="68" y="36"/>
                  </a:lnTo>
                  <a:lnTo>
                    <a:pt x="202" y="345"/>
                  </a:lnTo>
                  <a:lnTo>
                    <a:pt x="158" y="471"/>
                  </a:lnTo>
                  <a:lnTo>
                    <a:pt x="77" y="401"/>
                  </a:lnTo>
                  <a:lnTo>
                    <a:pt x="1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2" name="Freeform 47">
              <a:extLst>
                <a:ext uri="{FF2B5EF4-FFF2-40B4-BE49-F238E27FC236}">
                  <a16:creationId xmlns:a16="http://schemas.microsoft.com/office/drawing/2014/main" id="{586E167C-1157-44BA-B526-C1E7340490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1321" y="3784600"/>
              <a:ext cx="231775" cy="688975"/>
            </a:xfrm>
            <a:custGeom>
              <a:avLst/>
              <a:gdLst>
                <a:gd name="T0" fmla="*/ 200 w 200"/>
                <a:gd name="T1" fmla="*/ 0 h 596"/>
                <a:gd name="T2" fmla="*/ 108 w 200"/>
                <a:gd name="T3" fmla="*/ 40 h 596"/>
                <a:gd name="T4" fmla="*/ 23 w 200"/>
                <a:gd name="T5" fmla="*/ 441 h 596"/>
                <a:gd name="T6" fmla="*/ 164 w 200"/>
                <a:gd name="T7" fmla="*/ 420 h 596"/>
                <a:gd name="T8" fmla="*/ 200 w 200"/>
                <a:gd name="T9" fmla="*/ 0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0" h="596">
                  <a:moveTo>
                    <a:pt x="200" y="0"/>
                  </a:moveTo>
                  <a:cubicBezTo>
                    <a:pt x="108" y="40"/>
                    <a:pt x="108" y="40"/>
                    <a:pt x="108" y="40"/>
                  </a:cubicBezTo>
                  <a:cubicBezTo>
                    <a:pt x="108" y="40"/>
                    <a:pt x="46" y="285"/>
                    <a:pt x="23" y="441"/>
                  </a:cubicBezTo>
                  <a:cubicBezTo>
                    <a:pt x="0" y="596"/>
                    <a:pt x="164" y="420"/>
                    <a:pt x="164" y="420"/>
                  </a:cubicBezTo>
                  <a:lnTo>
                    <a:pt x="200" y="0"/>
                  </a:lnTo>
                  <a:close/>
                </a:path>
              </a:pathLst>
            </a:custGeom>
            <a:solidFill>
              <a:srgbClr val="CCA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3" name="Freeform 48">
              <a:extLst>
                <a:ext uri="{FF2B5EF4-FFF2-40B4-BE49-F238E27FC236}">
                  <a16:creationId xmlns:a16="http://schemas.microsoft.com/office/drawing/2014/main" id="{A0FE74D4-68E9-4E4A-AB5F-17416A94C4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2583" y="3751263"/>
              <a:ext cx="1055688" cy="1420813"/>
            </a:xfrm>
            <a:custGeom>
              <a:avLst/>
              <a:gdLst>
                <a:gd name="T0" fmla="*/ 771 w 911"/>
                <a:gd name="T1" fmla="*/ 921 h 1227"/>
                <a:gd name="T2" fmla="*/ 719 w 911"/>
                <a:gd name="T3" fmla="*/ 770 h 1227"/>
                <a:gd name="T4" fmla="*/ 677 w 911"/>
                <a:gd name="T5" fmla="*/ 537 h 1227"/>
                <a:gd name="T6" fmla="*/ 521 w 911"/>
                <a:gd name="T7" fmla="*/ 93 h 1227"/>
                <a:gd name="T8" fmla="*/ 426 w 911"/>
                <a:gd name="T9" fmla="*/ 24 h 1227"/>
                <a:gd name="T10" fmla="*/ 233 w 911"/>
                <a:gd name="T11" fmla="*/ 36 h 1227"/>
                <a:gd name="T12" fmla="*/ 159 w 911"/>
                <a:gd name="T13" fmla="*/ 68 h 1227"/>
                <a:gd name="T14" fmla="*/ 74 w 911"/>
                <a:gd name="T15" fmla="*/ 469 h 1227"/>
                <a:gd name="T16" fmla="*/ 39 w 911"/>
                <a:gd name="T17" fmla="*/ 972 h 1227"/>
                <a:gd name="T18" fmla="*/ 211 w 911"/>
                <a:gd name="T19" fmla="*/ 1192 h 1227"/>
                <a:gd name="T20" fmla="*/ 309 w 911"/>
                <a:gd name="T21" fmla="*/ 1155 h 1227"/>
                <a:gd name="T22" fmla="*/ 647 w 911"/>
                <a:gd name="T23" fmla="*/ 1135 h 1227"/>
                <a:gd name="T24" fmla="*/ 771 w 911"/>
                <a:gd name="T25" fmla="*/ 921 h 1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1" h="1227">
                  <a:moveTo>
                    <a:pt x="771" y="921"/>
                  </a:moveTo>
                  <a:cubicBezTo>
                    <a:pt x="740" y="879"/>
                    <a:pt x="730" y="820"/>
                    <a:pt x="719" y="770"/>
                  </a:cubicBezTo>
                  <a:cubicBezTo>
                    <a:pt x="703" y="693"/>
                    <a:pt x="691" y="615"/>
                    <a:pt x="677" y="537"/>
                  </a:cubicBezTo>
                  <a:cubicBezTo>
                    <a:pt x="650" y="389"/>
                    <a:pt x="623" y="212"/>
                    <a:pt x="521" y="93"/>
                  </a:cubicBezTo>
                  <a:cubicBezTo>
                    <a:pt x="496" y="63"/>
                    <a:pt x="464" y="38"/>
                    <a:pt x="426" y="24"/>
                  </a:cubicBezTo>
                  <a:cubicBezTo>
                    <a:pt x="359" y="0"/>
                    <a:pt x="297" y="8"/>
                    <a:pt x="233" y="36"/>
                  </a:cubicBezTo>
                  <a:cubicBezTo>
                    <a:pt x="159" y="68"/>
                    <a:pt x="159" y="68"/>
                    <a:pt x="159" y="68"/>
                  </a:cubicBezTo>
                  <a:cubicBezTo>
                    <a:pt x="159" y="68"/>
                    <a:pt x="97" y="313"/>
                    <a:pt x="74" y="469"/>
                  </a:cubicBezTo>
                  <a:cubicBezTo>
                    <a:pt x="41" y="634"/>
                    <a:pt x="0" y="834"/>
                    <a:pt x="39" y="972"/>
                  </a:cubicBezTo>
                  <a:cubicBezTo>
                    <a:pt x="111" y="1227"/>
                    <a:pt x="187" y="1180"/>
                    <a:pt x="211" y="1192"/>
                  </a:cubicBezTo>
                  <a:cubicBezTo>
                    <a:pt x="221" y="1197"/>
                    <a:pt x="254" y="1176"/>
                    <a:pt x="309" y="1155"/>
                  </a:cubicBezTo>
                  <a:cubicBezTo>
                    <a:pt x="382" y="1127"/>
                    <a:pt x="496" y="1099"/>
                    <a:pt x="647" y="1135"/>
                  </a:cubicBezTo>
                  <a:cubicBezTo>
                    <a:pt x="911" y="1196"/>
                    <a:pt x="883" y="1077"/>
                    <a:pt x="771" y="92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4" name="Freeform 49">
              <a:extLst>
                <a:ext uri="{FF2B5EF4-FFF2-40B4-BE49-F238E27FC236}">
                  <a16:creationId xmlns:a16="http://schemas.microsoft.com/office/drawing/2014/main" id="{CEAAEF03-25C6-4D9A-B313-DE9317B73B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3096" y="3756025"/>
              <a:ext cx="220663" cy="328613"/>
            </a:xfrm>
            <a:custGeom>
              <a:avLst/>
              <a:gdLst>
                <a:gd name="T0" fmla="*/ 0 w 139"/>
                <a:gd name="T1" fmla="*/ 15 h 207"/>
                <a:gd name="T2" fmla="*/ 100 w 139"/>
                <a:gd name="T3" fmla="*/ 207 h 207"/>
                <a:gd name="T4" fmla="*/ 139 w 139"/>
                <a:gd name="T5" fmla="*/ 19 h 207"/>
                <a:gd name="T6" fmla="*/ 100 w 139"/>
                <a:gd name="T7" fmla="*/ 3 h 207"/>
                <a:gd name="T8" fmla="*/ 47 w 139"/>
                <a:gd name="T9" fmla="*/ 0 h 207"/>
                <a:gd name="T10" fmla="*/ 0 w 139"/>
                <a:gd name="T11" fmla="*/ 1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9" h="207">
                  <a:moveTo>
                    <a:pt x="0" y="15"/>
                  </a:moveTo>
                  <a:lnTo>
                    <a:pt x="100" y="207"/>
                  </a:lnTo>
                  <a:lnTo>
                    <a:pt x="139" y="19"/>
                  </a:lnTo>
                  <a:lnTo>
                    <a:pt x="100" y="3"/>
                  </a:lnTo>
                  <a:lnTo>
                    <a:pt x="47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5" name="Freeform 50">
              <a:extLst>
                <a:ext uri="{FF2B5EF4-FFF2-40B4-BE49-F238E27FC236}">
                  <a16:creationId xmlns:a16="http://schemas.microsoft.com/office/drawing/2014/main" id="{C37D6388-A45A-4523-98F0-3A8F351BF0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70396" y="3308350"/>
              <a:ext cx="365125" cy="512763"/>
            </a:xfrm>
            <a:custGeom>
              <a:avLst/>
              <a:gdLst>
                <a:gd name="T0" fmla="*/ 71 w 316"/>
                <a:gd name="T1" fmla="*/ 420 h 443"/>
                <a:gd name="T2" fmla="*/ 132 w 316"/>
                <a:gd name="T3" fmla="*/ 439 h 443"/>
                <a:gd name="T4" fmla="*/ 164 w 316"/>
                <a:gd name="T5" fmla="*/ 423 h 443"/>
                <a:gd name="T6" fmla="*/ 184 w 316"/>
                <a:gd name="T7" fmla="*/ 355 h 443"/>
                <a:gd name="T8" fmla="*/ 270 w 316"/>
                <a:gd name="T9" fmla="*/ 323 h 443"/>
                <a:gd name="T10" fmla="*/ 280 w 316"/>
                <a:gd name="T11" fmla="*/ 292 h 443"/>
                <a:gd name="T12" fmla="*/ 310 w 316"/>
                <a:gd name="T13" fmla="*/ 158 h 443"/>
                <a:gd name="T14" fmla="*/ 314 w 316"/>
                <a:gd name="T15" fmla="*/ 111 h 443"/>
                <a:gd name="T16" fmla="*/ 270 w 316"/>
                <a:gd name="T17" fmla="*/ 49 h 443"/>
                <a:gd name="T18" fmla="*/ 88 w 316"/>
                <a:gd name="T19" fmla="*/ 23 h 443"/>
                <a:gd name="T20" fmla="*/ 45 w 316"/>
                <a:gd name="T21" fmla="*/ 52 h 443"/>
                <a:gd name="T22" fmla="*/ 18 w 316"/>
                <a:gd name="T23" fmla="*/ 134 h 443"/>
                <a:gd name="T24" fmla="*/ 7 w 316"/>
                <a:gd name="T25" fmla="*/ 214 h 443"/>
                <a:gd name="T26" fmla="*/ 19 w 316"/>
                <a:gd name="T27" fmla="*/ 301 h 443"/>
                <a:gd name="T28" fmla="*/ 53 w 316"/>
                <a:gd name="T29" fmla="*/ 330 h 443"/>
                <a:gd name="T30" fmla="*/ 54 w 316"/>
                <a:gd name="T31" fmla="*/ 394 h 443"/>
                <a:gd name="T32" fmla="*/ 71 w 316"/>
                <a:gd name="T33" fmla="*/ 420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6" h="443">
                  <a:moveTo>
                    <a:pt x="71" y="420"/>
                  </a:moveTo>
                  <a:cubicBezTo>
                    <a:pt x="132" y="439"/>
                    <a:pt x="132" y="439"/>
                    <a:pt x="132" y="439"/>
                  </a:cubicBezTo>
                  <a:cubicBezTo>
                    <a:pt x="145" y="443"/>
                    <a:pt x="159" y="436"/>
                    <a:pt x="164" y="423"/>
                  </a:cubicBezTo>
                  <a:cubicBezTo>
                    <a:pt x="172" y="401"/>
                    <a:pt x="179" y="378"/>
                    <a:pt x="184" y="355"/>
                  </a:cubicBezTo>
                  <a:cubicBezTo>
                    <a:pt x="215" y="356"/>
                    <a:pt x="253" y="354"/>
                    <a:pt x="270" y="323"/>
                  </a:cubicBezTo>
                  <a:cubicBezTo>
                    <a:pt x="276" y="314"/>
                    <a:pt x="278" y="303"/>
                    <a:pt x="280" y="292"/>
                  </a:cubicBezTo>
                  <a:cubicBezTo>
                    <a:pt x="290" y="247"/>
                    <a:pt x="300" y="203"/>
                    <a:pt x="310" y="158"/>
                  </a:cubicBezTo>
                  <a:cubicBezTo>
                    <a:pt x="313" y="142"/>
                    <a:pt x="316" y="126"/>
                    <a:pt x="314" y="111"/>
                  </a:cubicBezTo>
                  <a:cubicBezTo>
                    <a:pt x="311" y="84"/>
                    <a:pt x="290" y="64"/>
                    <a:pt x="270" y="49"/>
                  </a:cubicBezTo>
                  <a:cubicBezTo>
                    <a:pt x="217" y="13"/>
                    <a:pt x="149" y="0"/>
                    <a:pt x="88" y="23"/>
                  </a:cubicBezTo>
                  <a:cubicBezTo>
                    <a:pt x="72" y="29"/>
                    <a:pt x="56" y="38"/>
                    <a:pt x="45" y="52"/>
                  </a:cubicBezTo>
                  <a:cubicBezTo>
                    <a:pt x="27" y="74"/>
                    <a:pt x="22" y="105"/>
                    <a:pt x="18" y="134"/>
                  </a:cubicBezTo>
                  <a:cubicBezTo>
                    <a:pt x="14" y="160"/>
                    <a:pt x="10" y="187"/>
                    <a:pt x="7" y="214"/>
                  </a:cubicBezTo>
                  <a:cubicBezTo>
                    <a:pt x="3" y="244"/>
                    <a:pt x="0" y="280"/>
                    <a:pt x="19" y="301"/>
                  </a:cubicBezTo>
                  <a:cubicBezTo>
                    <a:pt x="30" y="312"/>
                    <a:pt x="45" y="317"/>
                    <a:pt x="53" y="330"/>
                  </a:cubicBezTo>
                  <a:cubicBezTo>
                    <a:pt x="64" y="348"/>
                    <a:pt x="58" y="371"/>
                    <a:pt x="54" y="394"/>
                  </a:cubicBezTo>
                  <a:cubicBezTo>
                    <a:pt x="53" y="405"/>
                    <a:pt x="60" y="416"/>
                    <a:pt x="71" y="420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6" name="Freeform 51">
              <a:extLst>
                <a:ext uri="{FF2B5EF4-FFF2-40B4-BE49-F238E27FC236}">
                  <a16:creationId xmlns:a16="http://schemas.microsoft.com/office/drawing/2014/main" id="{BAA9E913-999B-4397-8DF2-1436B751D6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9908" y="3217863"/>
              <a:ext cx="373063" cy="449263"/>
            </a:xfrm>
            <a:custGeom>
              <a:avLst/>
              <a:gdLst>
                <a:gd name="T0" fmla="*/ 233 w 321"/>
                <a:gd name="T1" fmla="*/ 189 h 388"/>
                <a:gd name="T2" fmla="*/ 141 w 321"/>
                <a:gd name="T3" fmla="*/ 247 h 388"/>
                <a:gd name="T4" fmla="*/ 92 w 321"/>
                <a:gd name="T5" fmla="*/ 281 h 388"/>
                <a:gd name="T6" fmla="*/ 115 w 321"/>
                <a:gd name="T7" fmla="*/ 354 h 388"/>
                <a:gd name="T8" fmla="*/ 123 w 321"/>
                <a:gd name="T9" fmla="*/ 364 h 388"/>
                <a:gd name="T10" fmla="*/ 113 w 321"/>
                <a:gd name="T11" fmla="*/ 385 h 388"/>
                <a:gd name="T12" fmla="*/ 89 w 321"/>
                <a:gd name="T13" fmla="*/ 384 h 388"/>
                <a:gd name="T14" fmla="*/ 32 w 321"/>
                <a:gd name="T15" fmla="*/ 336 h 388"/>
                <a:gd name="T16" fmla="*/ 17 w 321"/>
                <a:gd name="T17" fmla="*/ 179 h 388"/>
                <a:gd name="T18" fmla="*/ 114 w 321"/>
                <a:gd name="T19" fmla="*/ 54 h 388"/>
                <a:gd name="T20" fmla="*/ 246 w 321"/>
                <a:gd name="T21" fmla="*/ 8 h 388"/>
                <a:gd name="T22" fmla="*/ 315 w 321"/>
                <a:gd name="T23" fmla="*/ 75 h 388"/>
                <a:gd name="T24" fmla="*/ 233 w 321"/>
                <a:gd name="T25" fmla="*/ 189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1" h="388">
                  <a:moveTo>
                    <a:pt x="233" y="189"/>
                  </a:moveTo>
                  <a:cubicBezTo>
                    <a:pt x="206" y="214"/>
                    <a:pt x="176" y="235"/>
                    <a:pt x="141" y="247"/>
                  </a:cubicBezTo>
                  <a:cubicBezTo>
                    <a:pt x="120" y="254"/>
                    <a:pt x="99" y="255"/>
                    <a:pt x="92" y="281"/>
                  </a:cubicBezTo>
                  <a:cubicBezTo>
                    <a:pt x="86" y="306"/>
                    <a:pt x="97" y="337"/>
                    <a:pt x="115" y="354"/>
                  </a:cubicBezTo>
                  <a:cubicBezTo>
                    <a:pt x="118" y="357"/>
                    <a:pt x="122" y="360"/>
                    <a:pt x="123" y="364"/>
                  </a:cubicBezTo>
                  <a:cubicBezTo>
                    <a:pt x="127" y="372"/>
                    <a:pt x="121" y="381"/>
                    <a:pt x="113" y="385"/>
                  </a:cubicBezTo>
                  <a:cubicBezTo>
                    <a:pt x="106" y="388"/>
                    <a:pt x="97" y="387"/>
                    <a:pt x="89" y="384"/>
                  </a:cubicBezTo>
                  <a:cubicBezTo>
                    <a:pt x="65" y="376"/>
                    <a:pt x="46" y="358"/>
                    <a:pt x="32" y="336"/>
                  </a:cubicBezTo>
                  <a:cubicBezTo>
                    <a:pt x="4" y="290"/>
                    <a:pt x="0" y="231"/>
                    <a:pt x="17" y="179"/>
                  </a:cubicBezTo>
                  <a:cubicBezTo>
                    <a:pt x="34" y="129"/>
                    <a:pt x="70" y="83"/>
                    <a:pt x="114" y="54"/>
                  </a:cubicBezTo>
                  <a:cubicBezTo>
                    <a:pt x="155" y="28"/>
                    <a:pt x="195" y="0"/>
                    <a:pt x="246" y="8"/>
                  </a:cubicBezTo>
                  <a:cubicBezTo>
                    <a:pt x="275" y="12"/>
                    <a:pt x="321" y="39"/>
                    <a:pt x="315" y="75"/>
                  </a:cubicBezTo>
                  <a:cubicBezTo>
                    <a:pt x="309" y="113"/>
                    <a:pt x="259" y="164"/>
                    <a:pt x="233" y="18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  <p:sp>
          <p:nvSpPr>
            <p:cNvPr id="9817" name="Freeform 52">
              <a:extLst>
                <a:ext uri="{FF2B5EF4-FFF2-40B4-BE49-F238E27FC236}">
                  <a16:creationId xmlns:a16="http://schemas.microsoft.com/office/drawing/2014/main" id="{4561AAC7-BEB1-4D5E-A61E-732D029748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1846" y="3259138"/>
              <a:ext cx="266700" cy="469900"/>
            </a:xfrm>
            <a:custGeom>
              <a:avLst/>
              <a:gdLst>
                <a:gd name="T0" fmla="*/ 95 w 231"/>
                <a:gd name="T1" fmla="*/ 160 h 405"/>
                <a:gd name="T2" fmla="*/ 136 w 231"/>
                <a:gd name="T3" fmla="*/ 223 h 405"/>
                <a:gd name="T4" fmla="*/ 133 w 231"/>
                <a:gd name="T5" fmla="*/ 255 h 405"/>
                <a:gd name="T6" fmla="*/ 119 w 231"/>
                <a:gd name="T7" fmla="*/ 312 h 405"/>
                <a:gd name="T8" fmla="*/ 87 w 231"/>
                <a:gd name="T9" fmla="*/ 366 h 405"/>
                <a:gd name="T10" fmla="*/ 68 w 231"/>
                <a:gd name="T11" fmla="*/ 402 h 405"/>
                <a:gd name="T12" fmla="*/ 97 w 231"/>
                <a:gd name="T13" fmla="*/ 396 h 405"/>
                <a:gd name="T14" fmla="*/ 227 w 231"/>
                <a:gd name="T15" fmla="*/ 215 h 405"/>
                <a:gd name="T16" fmla="*/ 191 w 231"/>
                <a:gd name="T17" fmla="*/ 82 h 405"/>
                <a:gd name="T18" fmla="*/ 65 w 231"/>
                <a:gd name="T19" fmla="*/ 16 h 405"/>
                <a:gd name="T20" fmla="*/ 95 w 231"/>
                <a:gd name="T21" fmla="*/ 160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1" h="405">
                  <a:moveTo>
                    <a:pt x="95" y="160"/>
                  </a:moveTo>
                  <a:cubicBezTo>
                    <a:pt x="112" y="179"/>
                    <a:pt x="132" y="198"/>
                    <a:pt x="136" y="223"/>
                  </a:cubicBezTo>
                  <a:cubicBezTo>
                    <a:pt x="137" y="234"/>
                    <a:pt x="136" y="245"/>
                    <a:pt x="133" y="255"/>
                  </a:cubicBezTo>
                  <a:cubicBezTo>
                    <a:pt x="129" y="274"/>
                    <a:pt x="124" y="293"/>
                    <a:pt x="119" y="312"/>
                  </a:cubicBezTo>
                  <a:cubicBezTo>
                    <a:pt x="112" y="331"/>
                    <a:pt x="104" y="353"/>
                    <a:pt x="87" y="366"/>
                  </a:cubicBezTo>
                  <a:cubicBezTo>
                    <a:pt x="80" y="371"/>
                    <a:pt x="35" y="390"/>
                    <a:pt x="68" y="402"/>
                  </a:cubicBezTo>
                  <a:cubicBezTo>
                    <a:pt x="77" y="405"/>
                    <a:pt x="88" y="401"/>
                    <a:pt x="97" y="396"/>
                  </a:cubicBezTo>
                  <a:cubicBezTo>
                    <a:pt x="167" y="360"/>
                    <a:pt x="220" y="291"/>
                    <a:pt x="227" y="215"/>
                  </a:cubicBezTo>
                  <a:cubicBezTo>
                    <a:pt x="231" y="168"/>
                    <a:pt x="218" y="120"/>
                    <a:pt x="191" y="82"/>
                  </a:cubicBezTo>
                  <a:cubicBezTo>
                    <a:pt x="166" y="46"/>
                    <a:pt x="113" y="0"/>
                    <a:pt x="65" y="16"/>
                  </a:cubicBezTo>
                  <a:cubicBezTo>
                    <a:pt x="0" y="38"/>
                    <a:pt x="70" y="132"/>
                    <a:pt x="95" y="160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8" name="Freeform 53">
              <a:extLst>
                <a:ext uri="{FF2B5EF4-FFF2-40B4-BE49-F238E27FC236}">
                  <a16:creationId xmlns:a16="http://schemas.microsoft.com/office/drawing/2014/main" id="{479071FF-2A6A-471A-85EB-E1578DF543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10183" y="4057650"/>
              <a:ext cx="0" cy="1588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7A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19" name="Freeform 54">
              <a:extLst>
                <a:ext uri="{FF2B5EF4-FFF2-40B4-BE49-F238E27FC236}">
                  <a16:creationId xmlns:a16="http://schemas.microsoft.com/office/drawing/2014/main" id="{94BD29D0-7FCD-4235-B76E-810CFA5082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92733" y="3716338"/>
              <a:ext cx="627063" cy="1368425"/>
            </a:xfrm>
            <a:custGeom>
              <a:avLst/>
              <a:gdLst>
                <a:gd name="T0" fmla="*/ 232 w 541"/>
                <a:gd name="T1" fmla="*/ 389 h 1183"/>
                <a:gd name="T2" fmla="*/ 211 w 541"/>
                <a:gd name="T3" fmla="*/ 503 h 1183"/>
                <a:gd name="T4" fmla="*/ 0 w 541"/>
                <a:gd name="T5" fmla="*/ 1183 h 1183"/>
                <a:gd name="T6" fmla="*/ 521 w 541"/>
                <a:gd name="T7" fmla="*/ 1150 h 1183"/>
                <a:gd name="T8" fmla="*/ 535 w 541"/>
                <a:gd name="T9" fmla="*/ 979 h 1183"/>
                <a:gd name="T10" fmla="*/ 537 w 541"/>
                <a:gd name="T11" fmla="*/ 810 h 1183"/>
                <a:gd name="T12" fmla="*/ 483 w 541"/>
                <a:gd name="T13" fmla="*/ 545 h 1183"/>
                <a:gd name="T14" fmla="*/ 352 w 541"/>
                <a:gd name="T15" fmla="*/ 67 h 1183"/>
                <a:gd name="T16" fmla="*/ 342 w 541"/>
                <a:gd name="T17" fmla="*/ 43 h 1183"/>
                <a:gd name="T18" fmla="*/ 317 w 541"/>
                <a:gd name="T19" fmla="*/ 28 h 1183"/>
                <a:gd name="T20" fmla="*/ 174 w 541"/>
                <a:gd name="T21" fmla="*/ 3 h 1183"/>
                <a:gd name="T22" fmla="*/ 201 w 541"/>
                <a:gd name="T23" fmla="*/ 183 h 1183"/>
                <a:gd name="T24" fmla="*/ 232 w 541"/>
                <a:gd name="T25" fmla="*/ 389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1" h="1183">
                  <a:moveTo>
                    <a:pt x="232" y="389"/>
                  </a:moveTo>
                  <a:cubicBezTo>
                    <a:pt x="229" y="427"/>
                    <a:pt x="220" y="465"/>
                    <a:pt x="211" y="503"/>
                  </a:cubicBezTo>
                  <a:cubicBezTo>
                    <a:pt x="155" y="732"/>
                    <a:pt x="57" y="954"/>
                    <a:pt x="0" y="1183"/>
                  </a:cubicBezTo>
                  <a:cubicBezTo>
                    <a:pt x="154" y="1183"/>
                    <a:pt x="133" y="1059"/>
                    <a:pt x="521" y="1150"/>
                  </a:cubicBezTo>
                  <a:cubicBezTo>
                    <a:pt x="526" y="1062"/>
                    <a:pt x="531" y="1066"/>
                    <a:pt x="535" y="979"/>
                  </a:cubicBezTo>
                  <a:cubicBezTo>
                    <a:pt x="538" y="922"/>
                    <a:pt x="541" y="866"/>
                    <a:pt x="537" y="810"/>
                  </a:cubicBezTo>
                  <a:cubicBezTo>
                    <a:pt x="531" y="719"/>
                    <a:pt x="507" y="632"/>
                    <a:pt x="483" y="545"/>
                  </a:cubicBezTo>
                  <a:cubicBezTo>
                    <a:pt x="439" y="386"/>
                    <a:pt x="396" y="226"/>
                    <a:pt x="352" y="67"/>
                  </a:cubicBezTo>
                  <a:cubicBezTo>
                    <a:pt x="350" y="58"/>
                    <a:pt x="347" y="49"/>
                    <a:pt x="342" y="43"/>
                  </a:cubicBezTo>
                  <a:cubicBezTo>
                    <a:pt x="335" y="35"/>
                    <a:pt x="326" y="31"/>
                    <a:pt x="317" y="28"/>
                  </a:cubicBezTo>
                  <a:cubicBezTo>
                    <a:pt x="272" y="14"/>
                    <a:pt x="221" y="0"/>
                    <a:pt x="174" y="3"/>
                  </a:cubicBezTo>
                  <a:cubicBezTo>
                    <a:pt x="157" y="49"/>
                    <a:pt x="190" y="137"/>
                    <a:pt x="201" y="183"/>
                  </a:cubicBezTo>
                  <a:cubicBezTo>
                    <a:pt x="216" y="250"/>
                    <a:pt x="236" y="318"/>
                    <a:pt x="232" y="38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0" name="Freeform 55">
              <a:extLst>
                <a:ext uri="{FF2B5EF4-FFF2-40B4-BE49-F238E27FC236}">
                  <a16:creationId xmlns:a16="http://schemas.microsoft.com/office/drawing/2014/main" id="{4D7E5773-27BF-467F-90D1-054B9A5042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13408" y="3254375"/>
              <a:ext cx="158750" cy="239713"/>
            </a:xfrm>
            <a:custGeom>
              <a:avLst/>
              <a:gdLst>
                <a:gd name="T0" fmla="*/ 69 w 137"/>
                <a:gd name="T1" fmla="*/ 75 h 206"/>
                <a:gd name="T2" fmla="*/ 96 w 137"/>
                <a:gd name="T3" fmla="*/ 166 h 206"/>
                <a:gd name="T4" fmla="*/ 105 w 137"/>
                <a:gd name="T5" fmla="*/ 189 h 206"/>
                <a:gd name="T6" fmla="*/ 112 w 137"/>
                <a:gd name="T7" fmla="*/ 199 h 206"/>
                <a:gd name="T8" fmla="*/ 136 w 137"/>
                <a:gd name="T9" fmla="*/ 157 h 206"/>
                <a:gd name="T10" fmla="*/ 134 w 137"/>
                <a:gd name="T11" fmla="*/ 93 h 206"/>
                <a:gd name="T12" fmla="*/ 115 w 137"/>
                <a:gd name="T13" fmla="*/ 41 h 206"/>
                <a:gd name="T14" fmla="*/ 88 w 137"/>
                <a:gd name="T15" fmla="*/ 22 h 206"/>
                <a:gd name="T16" fmla="*/ 44 w 137"/>
                <a:gd name="T17" fmla="*/ 4 h 206"/>
                <a:gd name="T18" fmla="*/ 25 w 137"/>
                <a:gd name="T19" fmla="*/ 28 h 206"/>
                <a:gd name="T20" fmla="*/ 69 w 137"/>
                <a:gd name="T21" fmla="*/ 75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206">
                  <a:moveTo>
                    <a:pt x="69" y="75"/>
                  </a:moveTo>
                  <a:cubicBezTo>
                    <a:pt x="85" y="102"/>
                    <a:pt x="94" y="134"/>
                    <a:pt x="96" y="166"/>
                  </a:cubicBezTo>
                  <a:cubicBezTo>
                    <a:pt x="97" y="174"/>
                    <a:pt x="98" y="184"/>
                    <a:pt x="105" y="189"/>
                  </a:cubicBezTo>
                  <a:cubicBezTo>
                    <a:pt x="112" y="194"/>
                    <a:pt x="106" y="206"/>
                    <a:pt x="112" y="199"/>
                  </a:cubicBezTo>
                  <a:cubicBezTo>
                    <a:pt x="117" y="191"/>
                    <a:pt x="135" y="166"/>
                    <a:pt x="136" y="157"/>
                  </a:cubicBezTo>
                  <a:cubicBezTo>
                    <a:pt x="137" y="135"/>
                    <a:pt x="137" y="114"/>
                    <a:pt x="134" y="93"/>
                  </a:cubicBezTo>
                  <a:cubicBezTo>
                    <a:pt x="132" y="74"/>
                    <a:pt x="127" y="55"/>
                    <a:pt x="115" y="41"/>
                  </a:cubicBezTo>
                  <a:cubicBezTo>
                    <a:pt x="107" y="33"/>
                    <a:pt x="97" y="27"/>
                    <a:pt x="88" y="22"/>
                  </a:cubicBezTo>
                  <a:cubicBezTo>
                    <a:pt x="74" y="14"/>
                    <a:pt x="60" y="6"/>
                    <a:pt x="44" y="4"/>
                  </a:cubicBezTo>
                  <a:cubicBezTo>
                    <a:pt x="17" y="0"/>
                    <a:pt x="0" y="10"/>
                    <a:pt x="25" y="28"/>
                  </a:cubicBezTo>
                  <a:cubicBezTo>
                    <a:pt x="42" y="41"/>
                    <a:pt x="57" y="56"/>
                    <a:pt x="69" y="75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1" name="Freeform 56">
              <a:extLst>
                <a:ext uri="{FF2B5EF4-FFF2-40B4-BE49-F238E27FC236}">
                  <a16:creationId xmlns:a16="http://schemas.microsoft.com/office/drawing/2014/main" id="{87BD1E61-BCDF-401F-A6F8-7A6D075EDC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1633" y="3257550"/>
              <a:ext cx="363538" cy="515938"/>
            </a:xfrm>
            <a:custGeom>
              <a:avLst/>
              <a:gdLst>
                <a:gd name="T0" fmla="*/ 110 w 313"/>
                <a:gd name="T1" fmla="*/ 441 h 446"/>
                <a:gd name="T2" fmla="*/ 177 w 313"/>
                <a:gd name="T3" fmla="*/ 445 h 446"/>
                <a:gd name="T4" fmla="*/ 227 w 313"/>
                <a:gd name="T5" fmla="*/ 401 h 446"/>
                <a:gd name="T6" fmla="*/ 229 w 313"/>
                <a:gd name="T7" fmla="*/ 350 h 446"/>
                <a:gd name="T8" fmla="*/ 309 w 313"/>
                <a:gd name="T9" fmla="*/ 297 h 446"/>
                <a:gd name="T10" fmla="*/ 312 w 313"/>
                <a:gd name="T11" fmla="*/ 264 h 446"/>
                <a:gd name="T12" fmla="*/ 309 w 313"/>
                <a:gd name="T13" fmla="*/ 122 h 446"/>
                <a:gd name="T14" fmla="*/ 302 w 313"/>
                <a:gd name="T15" fmla="*/ 74 h 446"/>
                <a:gd name="T16" fmla="*/ 242 w 313"/>
                <a:gd name="T17" fmla="*/ 24 h 446"/>
                <a:gd name="T18" fmla="*/ 50 w 313"/>
                <a:gd name="T19" fmla="*/ 41 h 446"/>
                <a:gd name="T20" fmla="*/ 13 w 313"/>
                <a:gd name="T21" fmla="*/ 81 h 446"/>
                <a:gd name="T22" fmla="*/ 5 w 313"/>
                <a:gd name="T23" fmla="*/ 169 h 446"/>
                <a:gd name="T24" fmla="*/ 14 w 313"/>
                <a:gd name="T25" fmla="*/ 251 h 446"/>
                <a:gd name="T26" fmla="*/ 48 w 313"/>
                <a:gd name="T27" fmla="*/ 335 h 446"/>
                <a:gd name="T28" fmla="*/ 90 w 313"/>
                <a:gd name="T29" fmla="*/ 356 h 446"/>
                <a:gd name="T30" fmla="*/ 110 w 313"/>
                <a:gd name="T31" fmla="*/ 441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3" h="446">
                  <a:moveTo>
                    <a:pt x="110" y="441"/>
                  </a:moveTo>
                  <a:cubicBezTo>
                    <a:pt x="177" y="445"/>
                    <a:pt x="177" y="445"/>
                    <a:pt x="177" y="445"/>
                  </a:cubicBezTo>
                  <a:cubicBezTo>
                    <a:pt x="203" y="446"/>
                    <a:pt x="226" y="427"/>
                    <a:pt x="227" y="401"/>
                  </a:cubicBezTo>
                  <a:cubicBezTo>
                    <a:pt x="229" y="384"/>
                    <a:pt x="229" y="367"/>
                    <a:pt x="229" y="350"/>
                  </a:cubicBezTo>
                  <a:cubicBezTo>
                    <a:pt x="262" y="343"/>
                    <a:pt x="299" y="332"/>
                    <a:pt x="309" y="297"/>
                  </a:cubicBezTo>
                  <a:cubicBezTo>
                    <a:pt x="313" y="287"/>
                    <a:pt x="312" y="275"/>
                    <a:pt x="312" y="264"/>
                  </a:cubicBezTo>
                  <a:cubicBezTo>
                    <a:pt x="311" y="216"/>
                    <a:pt x="310" y="169"/>
                    <a:pt x="309" y="122"/>
                  </a:cubicBezTo>
                  <a:cubicBezTo>
                    <a:pt x="309" y="106"/>
                    <a:pt x="308" y="89"/>
                    <a:pt x="302" y="74"/>
                  </a:cubicBezTo>
                  <a:cubicBezTo>
                    <a:pt x="292" y="48"/>
                    <a:pt x="266" y="33"/>
                    <a:pt x="242" y="24"/>
                  </a:cubicBezTo>
                  <a:cubicBezTo>
                    <a:pt x="179" y="0"/>
                    <a:pt x="106" y="4"/>
                    <a:pt x="50" y="41"/>
                  </a:cubicBezTo>
                  <a:cubicBezTo>
                    <a:pt x="35" y="51"/>
                    <a:pt x="21" y="64"/>
                    <a:pt x="13" y="81"/>
                  </a:cubicBezTo>
                  <a:cubicBezTo>
                    <a:pt x="0" y="107"/>
                    <a:pt x="2" y="139"/>
                    <a:pt x="5" y="169"/>
                  </a:cubicBezTo>
                  <a:cubicBezTo>
                    <a:pt x="8" y="197"/>
                    <a:pt x="11" y="224"/>
                    <a:pt x="14" y="251"/>
                  </a:cubicBezTo>
                  <a:cubicBezTo>
                    <a:pt x="17" y="283"/>
                    <a:pt x="23" y="319"/>
                    <a:pt x="48" y="335"/>
                  </a:cubicBezTo>
                  <a:cubicBezTo>
                    <a:pt x="61" y="344"/>
                    <a:pt x="78" y="345"/>
                    <a:pt x="90" y="356"/>
                  </a:cubicBezTo>
                  <a:cubicBezTo>
                    <a:pt x="110" y="376"/>
                    <a:pt x="102" y="412"/>
                    <a:pt x="110" y="44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2" name="Freeform 57">
              <a:extLst>
                <a:ext uri="{FF2B5EF4-FFF2-40B4-BE49-F238E27FC236}">
                  <a16:creationId xmlns:a16="http://schemas.microsoft.com/office/drawing/2014/main" id="{BFFF5974-E426-4B49-9290-EEC3F9FEB9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89571" y="3500438"/>
              <a:ext cx="368300" cy="212725"/>
            </a:xfrm>
            <a:custGeom>
              <a:avLst/>
              <a:gdLst>
                <a:gd name="T0" fmla="*/ 316 w 317"/>
                <a:gd name="T1" fmla="*/ 34 h 184"/>
                <a:gd name="T2" fmla="*/ 298 w 317"/>
                <a:gd name="T3" fmla="*/ 17 h 184"/>
                <a:gd name="T4" fmla="*/ 294 w 317"/>
                <a:gd name="T5" fmla="*/ 33 h 184"/>
                <a:gd name="T6" fmla="*/ 293 w 317"/>
                <a:gd name="T7" fmla="*/ 49 h 184"/>
                <a:gd name="T8" fmla="*/ 264 w 317"/>
                <a:gd name="T9" fmla="*/ 68 h 184"/>
                <a:gd name="T10" fmla="*/ 250 w 317"/>
                <a:gd name="T11" fmla="*/ 65 h 184"/>
                <a:gd name="T12" fmla="*/ 239 w 317"/>
                <a:gd name="T13" fmla="*/ 55 h 184"/>
                <a:gd name="T14" fmla="*/ 216 w 317"/>
                <a:gd name="T15" fmla="*/ 30 h 184"/>
                <a:gd name="T16" fmla="*/ 158 w 317"/>
                <a:gd name="T17" fmla="*/ 25 h 184"/>
                <a:gd name="T18" fmla="*/ 102 w 317"/>
                <a:gd name="T19" fmla="*/ 49 h 184"/>
                <a:gd name="T20" fmla="*/ 97 w 317"/>
                <a:gd name="T21" fmla="*/ 54 h 184"/>
                <a:gd name="T22" fmla="*/ 84 w 317"/>
                <a:gd name="T23" fmla="*/ 63 h 184"/>
                <a:gd name="T24" fmla="*/ 37 w 317"/>
                <a:gd name="T25" fmla="*/ 50 h 184"/>
                <a:gd name="T26" fmla="*/ 19 w 317"/>
                <a:gd name="T27" fmla="*/ 34 h 184"/>
                <a:gd name="T28" fmla="*/ 4 w 317"/>
                <a:gd name="T29" fmla="*/ 44 h 184"/>
                <a:gd name="T30" fmla="*/ 0 w 317"/>
                <a:gd name="T31" fmla="*/ 63 h 184"/>
                <a:gd name="T32" fmla="*/ 15 w 317"/>
                <a:gd name="T33" fmla="*/ 134 h 184"/>
                <a:gd name="T34" fmla="*/ 128 w 317"/>
                <a:gd name="T35" fmla="*/ 182 h 184"/>
                <a:gd name="T36" fmla="*/ 180 w 317"/>
                <a:gd name="T37" fmla="*/ 179 h 184"/>
                <a:gd name="T38" fmla="*/ 273 w 317"/>
                <a:gd name="T39" fmla="*/ 156 h 184"/>
                <a:gd name="T40" fmla="*/ 314 w 317"/>
                <a:gd name="T41" fmla="*/ 81 h 184"/>
                <a:gd name="T42" fmla="*/ 316 w 317"/>
                <a:gd name="T43" fmla="*/ 34 h 184"/>
                <a:gd name="T44" fmla="*/ 221 w 317"/>
                <a:gd name="T45" fmla="*/ 117 h 184"/>
                <a:gd name="T46" fmla="*/ 167 w 317"/>
                <a:gd name="T47" fmla="*/ 125 h 184"/>
                <a:gd name="T48" fmla="*/ 170 w 317"/>
                <a:gd name="T49" fmla="*/ 111 h 184"/>
                <a:gd name="T50" fmla="*/ 214 w 317"/>
                <a:gd name="T51" fmla="*/ 105 h 184"/>
                <a:gd name="T52" fmla="*/ 221 w 317"/>
                <a:gd name="T53" fmla="*/ 11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7" h="184">
                  <a:moveTo>
                    <a:pt x="316" y="34"/>
                  </a:moveTo>
                  <a:cubicBezTo>
                    <a:pt x="315" y="26"/>
                    <a:pt x="311" y="0"/>
                    <a:pt x="298" y="17"/>
                  </a:cubicBezTo>
                  <a:cubicBezTo>
                    <a:pt x="295" y="21"/>
                    <a:pt x="294" y="27"/>
                    <a:pt x="294" y="33"/>
                  </a:cubicBezTo>
                  <a:cubicBezTo>
                    <a:pt x="294" y="38"/>
                    <a:pt x="294" y="44"/>
                    <a:pt x="293" y="49"/>
                  </a:cubicBezTo>
                  <a:cubicBezTo>
                    <a:pt x="289" y="61"/>
                    <a:pt x="276" y="67"/>
                    <a:pt x="264" y="68"/>
                  </a:cubicBezTo>
                  <a:cubicBezTo>
                    <a:pt x="259" y="68"/>
                    <a:pt x="254" y="67"/>
                    <a:pt x="250" y="65"/>
                  </a:cubicBezTo>
                  <a:cubicBezTo>
                    <a:pt x="246" y="63"/>
                    <a:pt x="243" y="59"/>
                    <a:pt x="239" y="55"/>
                  </a:cubicBezTo>
                  <a:cubicBezTo>
                    <a:pt x="231" y="47"/>
                    <a:pt x="224" y="38"/>
                    <a:pt x="216" y="30"/>
                  </a:cubicBezTo>
                  <a:cubicBezTo>
                    <a:pt x="202" y="15"/>
                    <a:pt x="176" y="22"/>
                    <a:pt x="158" y="25"/>
                  </a:cubicBezTo>
                  <a:cubicBezTo>
                    <a:pt x="138" y="28"/>
                    <a:pt x="118" y="35"/>
                    <a:pt x="102" y="49"/>
                  </a:cubicBezTo>
                  <a:cubicBezTo>
                    <a:pt x="100" y="51"/>
                    <a:pt x="98" y="52"/>
                    <a:pt x="97" y="54"/>
                  </a:cubicBezTo>
                  <a:cubicBezTo>
                    <a:pt x="93" y="57"/>
                    <a:pt x="89" y="61"/>
                    <a:pt x="84" y="63"/>
                  </a:cubicBezTo>
                  <a:cubicBezTo>
                    <a:pt x="69" y="71"/>
                    <a:pt x="49" y="64"/>
                    <a:pt x="37" y="50"/>
                  </a:cubicBezTo>
                  <a:cubicBezTo>
                    <a:pt x="32" y="43"/>
                    <a:pt x="27" y="35"/>
                    <a:pt x="19" y="34"/>
                  </a:cubicBezTo>
                  <a:cubicBezTo>
                    <a:pt x="13" y="33"/>
                    <a:pt x="7" y="38"/>
                    <a:pt x="4" y="44"/>
                  </a:cubicBezTo>
                  <a:cubicBezTo>
                    <a:pt x="1" y="50"/>
                    <a:pt x="1" y="57"/>
                    <a:pt x="0" y="63"/>
                  </a:cubicBezTo>
                  <a:cubicBezTo>
                    <a:pt x="0" y="88"/>
                    <a:pt x="4" y="113"/>
                    <a:pt x="15" y="134"/>
                  </a:cubicBezTo>
                  <a:cubicBezTo>
                    <a:pt x="39" y="180"/>
                    <a:pt x="83" y="184"/>
                    <a:pt x="128" y="182"/>
                  </a:cubicBezTo>
                  <a:cubicBezTo>
                    <a:pt x="145" y="181"/>
                    <a:pt x="163" y="180"/>
                    <a:pt x="180" y="179"/>
                  </a:cubicBezTo>
                  <a:cubicBezTo>
                    <a:pt x="212" y="177"/>
                    <a:pt x="246" y="175"/>
                    <a:pt x="273" y="156"/>
                  </a:cubicBezTo>
                  <a:cubicBezTo>
                    <a:pt x="296" y="139"/>
                    <a:pt x="309" y="110"/>
                    <a:pt x="314" y="81"/>
                  </a:cubicBezTo>
                  <a:cubicBezTo>
                    <a:pt x="317" y="65"/>
                    <a:pt x="317" y="50"/>
                    <a:pt x="316" y="34"/>
                  </a:cubicBezTo>
                  <a:close/>
                  <a:moveTo>
                    <a:pt x="221" y="117"/>
                  </a:moveTo>
                  <a:cubicBezTo>
                    <a:pt x="205" y="128"/>
                    <a:pt x="186" y="130"/>
                    <a:pt x="167" y="125"/>
                  </a:cubicBezTo>
                  <a:cubicBezTo>
                    <a:pt x="159" y="122"/>
                    <a:pt x="162" y="109"/>
                    <a:pt x="170" y="111"/>
                  </a:cubicBezTo>
                  <a:cubicBezTo>
                    <a:pt x="186" y="115"/>
                    <a:pt x="201" y="115"/>
                    <a:pt x="214" y="105"/>
                  </a:cubicBezTo>
                  <a:cubicBezTo>
                    <a:pt x="221" y="100"/>
                    <a:pt x="228" y="112"/>
                    <a:pt x="221" y="11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3" name="Freeform 58">
              <a:extLst>
                <a:ext uri="{FF2B5EF4-FFF2-40B4-BE49-F238E27FC236}">
                  <a16:creationId xmlns:a16="http://schemas.microsoft.com/office/drawing/2014/main" id="{FAD626DB-D77B-4564-B617-632434F4AA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3533" y="3168650"/>
              <a:ext cx="434975" cy="355600"/>
            </a:xfrm>
            <a:custGeom>
              <a:avLst/>
              <a:gdLst>
                <a:gd name="T0" fmla="*/ 356 w 376"/>
                <a:gd name="T1" fmla="*/ 65 h 307"/>
                <a:gd name="T2" fmla="*/ 362 w 376"/>
                <a:gd name="T3" fmla="*/ 30 h 307"/>
                <a:gd name="T4" fmla="*/ 328 w 376"/>
                <a:gd name="T5" fmla="*/ 34 h 307"/>
                <a:gd name="T6" fmla="*/ 327 w 376"/>
                <a:gd name="T7" fmla="*/ 14 h 307"/>
                <a:gd name="T8" fmla="*/ 245 w 376"/>
                <a:gd name="T9" fmla="*/ 6 h 307"/>
                <a:gd name="T10" fmla="*/ 82 w 376"/>
                <a:gd name="T11" fmla="*/ 33 h 307"/>
                <a:gd name="T12" fmla="*/ 5 w 376"/>
                <a:gd name="T13" fmla="*/ 153 h 307"/>
                <a:gd name="T14" fmla="*/ 48 w 376"/>
                <a:gd name="T15" fmla="*/ 307 h 307"/>
                <a:gd name="T16" fmla="*/ 42 w 376"/>
                <a:gd name="T17" fmla="*/ 250 h 307"/>
                <a:gd name="T18" fmla="*/ 53 w 376"/>
                <a:gd name="T19" fmla="*/ 214 h 307"/>
                <a:gd name="T20" fmla="*/ 103 w 376"/>
                <a:gd name="T21" fmla="*/ 158 h 307"/>
                <a:gd name="T22" fmla="*/ 214 w 376"/>
                <a:gd name="T23" fmla="*/ 117 h 307"/>
                <a:gd name="T24" fmla="*/ 330 w 376"/>
                <a:gd name="T25" fmla="*/ 114 h 307"/>
                <a:gd name="T26" fmla="*/ 360 w 376"/>
                <a:gd name="T27" fmla="*/ 104 h 307"/>
                <a:gd name="T28" fmla="*/ 374 w 376"/>
                <a:gd name="T29" fmla="*/ 65 h 307"/>
                <a:gd name="T30" fmla="*/ 356 w 376"/>
                <a:gd name="T31" fmla="*/ 65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6" h="307">
                  <a:moveTo>
                    <a:pt x="356" y="65"/>
                  </a:moveTo>
                  <a:cubicBezTo>
                    <a:pt x="359" y="54"/>
                    <a:pt x="361" y="42"/>
                    <a:pt x="362" y="30"/>
                  </a:cubicBezTo>
                  <a:cubicBezTo>
                    <a:pt x="351" y="34"/>
                    <a:pt x="339" y="36"/>
                    <a:pt x="328" y="34"/>
                  </a:cubicBezTo>
                  <a:cubicBezTo>
                    <a:pt x="328" y="28"/>
                    <a:pt x="328" y="21"/>
                    <a:pt x="327" y="14"/>
                  </a:cubicBezTo>
                  <a:cubicBezTo>
                    <a:pt x="327" y="8"/>
                    <a:pt x="251" y="7"/>
                    <a:pt x="245" y="6"/>
                  </a:cubicBezTo>
                  <a:cubicBezTo>
                    <a:pt x="187" y="3"/>
                    <a:pt x="134" y="0"/>
                    <a:pt x="82" y="33"/>
                  </a:cubicBezTo>
                  <a:cubicBezTo>
                    <a:pt x="38" y="61"/>
                    <a:pt x="11" y="101"/>
                    <a:pt x="5" y="153"/>
                  </a:cubicBezTo>
                  <a:cubicBezTo>
                    <a:pt x="0" y="203"/>
                    <a:pt x="18" y="267"/>
                    <a:pt x="48" y="307"/>
                  </a:cubicBezTo>
                  <a:cubicBezTo>
                    <a:pt x="47" y="294"/>
                    <a:pt x="39" y="263"/>
                    <a:pt x="42" y="250"/>
                  </a:cubicBezTo>
                  <a:cubicBezTo>
                    <a:pt x="43" y="238"/>
                    <a:pt x="47" y="225"/>
                    <a:pt x="53" y="214"/>
                  </a:cubicBezTo>
                  <a:cubicBezTo>
                    <a:pt x="64" y="192"/>
                    <a:pt x="82" y="172"/>
                    <a:pt x="103" y="158"/>
                  </a:cubicBezTo>
                  <a:cubicBezTo>
                    <a:pt x="136" y="136"/>
                    <a:pt x="175" y="124"/>
                    <a:pt x="214" y="117"/>
                  </a:cubicBezTo>
                  <a:cubicBezTo>
                    <a:pt x="250" y="111"/>
                    <a:pt x="294" y="105"/>
                    <a:pt x="330" y="114"/>
                  </a:cubicBezTo>
                  <a:cubicBezTo>
                    <a:pt x="348" y="118"/>
                    <a:pt x="351" y="122"/>
                    <a:pt x="360" y="104"/>
                  </a:cubicBezTo>
                  <a:cubicBezTo>
                    <a:pt x="362" y="101"/>
                    <a:pt x="376" y="65"/>
                    <a:pt x="374" y="65"/>
                  </a:cubicBezTo>
                  <a:cubicBezTo>
                    <a:pt x="368" y="65"/>
                    <a:pt x="362" y="65"/>
                    <a:pt x="356" y="65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4" name="Freeform 59">
              <a:extLst>
                <a:ext uri="{FF2B5EF4-FFF2-40B4-BE49-F238E27FC236}">
                  <a16:creationId xmlns:a16="http://schemas.microsoft.com/office/drawing/2014/main" id="{3CFFF1B8-2959-427A-AC14-AD88B5831B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19771" y="5889625"/>
              <a:ext cx="139700" cy="246063"/>
            </a:xfrm>
            <a:custGeom>
              <a:avLst/>
              <a:gdLst>
                <a:gd name="T0" fmla="*/ 65 w 88"/>
                <a:gd name="T1" fmla="*/ 33 h 155"/>
                <a:gd name="T2" fmla="*/ 88 w 88"/>
                <a:gd name="T3" fmla="*/ 120 h 155"/>
                <a:gd name="T4" fmla="*/ 63 w 88"/>
                <a:gd name="T5" fmla="*/ 155 h 155"/>
                <a:gd name="T6" fmla="*/ 24 w 88"/>
                <a:gd name="T7" fmla="*/ 132 h 155"/>
                <a:gd name="T8" fmla="*/ 0 w 88"/>
                <a:gd name="T9" fmla="*/ 56 h 155"/>
                <a:gd name="T10" fmla="*/ 18 w 88"/>
                <a:gd name="T11" fmla="*/ 0 h 155"/>
                <a:gd name="T12" fmla="*/ 65 w 88"/>
                <a:gd name="T13" fmla="*/ 3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155">
                  <a:moveTo>
                    <a:pt x="65" y="33"/>
                  </a:moveTo>
                  <a:lnTo>
                    <a:pt x="88" y="120"/>
                  </a:lnTo>
                  <a:lnTo>
                    <a:pt x="63" y="155"/>
                  </a:lnTo>
                  <a:lnTo>
                    <a:pt x="24" y="132"/>
                  </a:lnTo>
                  <a:lnTo>
                    <a:pt x="0" y="56"/>
                  </a:lnTo>
                  <a:lnTo>
                    <a:pt x="18" y="0"/>
                  </a:lnTo>
                  <a:lnTo>
                    <a:pt x="65" y="33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5" name="Freeform 60">
              <a:extLst>
                <a:ext uri="{FF2B5EF4-FFF2-40B4-BE49-F238E27FC236}">
                  <a16:creationId xmlns:a16="http://schemas.microsoft.com/office/drawing/2014/main" id="{0A874EA1-B3DA-48F2-BF20-61BA6C2ED4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37196" y="5862638"/>
              <a:ext cx="138113" cy="247650"/>
            </a:xfrm>
            <a:custGeom>
              <a:avLst/>
              <a:gdLst>
                <a:gd name="T0" fmla="*/ 65 w 87"/>
                <a:gd name="T1" fmla="*/ 33 h 156"/>
                <a:gd name="T2" fmla="*/ 87 w 87"/>
                <a:gd name="T3" fmla="*/ 121 h 156"/>
                <a:gd name="T4" fmla="*/ 62 w 87"/>
                <a:gd name="T5" fmla="*/ 156 h 156"/>
                <a:gd name="T6" fmla="*/ 23 w 87"/>
                <a:gd name="T7" fmla="*/ 132 h 156"/>
                <a:gd name="T8" fmla="*/ 0 w 87"/>
                <a:gd name="T9" fmla="*/ 57 h 156"/>
                <a:gd name="T10" fmla="*/ 17 w 87"/>
                <a:gd name="T11" fmla="*/ 0 h 156"/>
                <a:gd name="T12" fmla="*/ 65 w 87"/>
                <a:gd name="T13" fmla="*/ 33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56">
                  <a:moveTo>
                    <a:pt x="65" y="33"/>
                  </a:moveTo>
                  <a:lnTo>
                    <a:pt x="87" y="121"/>
                  </a:lnTo>
                  <a:lnTo>
                    <a:pt x="62" y="156"/>
                  </a:lnTo>
                  <a:lnTo>
                    <a:pt x="23" y="132"/>
                  </a:lnTo>
                  <a:lnTo>
                    <a:pt x="0" y="57"/>
                  </a:lnTo>
                  <a:lnTo>
                    <a:pt x="17" y="0"/>
                  </a:lnTo>
                  <a:lnTo>
                    <a:pt x="65" y="33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6" name="Freeform 61">
              <a:extLst>
                <a:ext uri="{FF2B5EF4-FFF2-40B4-BE49-F238E27FC236}">
                  <a16:creationId xmlns:a16="http://schemas.microsoft.com/office/drawing/2014/main" id="{194C1500-8A1C-4783-A10E-45927EC26B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721" y="4859338"/>
              <a:ext cx="466725" cy="1112838"/>
            </a:xfrm>
            <a:custGeom>
              <a:avLst/>
              <a:gdLst>
                <a:gd name="T0" fmla="*/ 19 w 402"/>
                <a:gd name="T1" fmla="*/ 137 h 961"/>
                <a:gd name="T2" fmla="*/ 72 w 402"/>
                <a:gd name="T3" fmla="*/ 48 h 961"/>
                <a:gd name="T4" fmla="*/ 267 w 402"/>
                <a:gd name="T5" fmla="*/ 20 h 961"/>
                <a:gd name="T6" fmla="*/ 374 w 402"/>
                <a:gd name="T7" fmla="*/ 109 h 961"/>
                <a:gd name="T8" fmla="*/ 402 w 402"/>
                <a:gd name="T9" fmla="*/ 218 h 961"/>
                <a:gd name="T10" fmla="*/ 376 w 402"/>
                <a:gd name="T11" fmla="*/ 321 h 961"/>
                <a:gd name="T12" fmla="*/ 220 w 402"/>
                <a:gd name="T13" fmla="*/ 961 h 961"/>
                <a:gd name="T14" fmla="*/ 132 w 402"/>
                <a:gd name="T15" fmla="*/ 948 h 961"/>
                <a:gd name="T16" fmla="*/ 126 w 402"/>
                <a:gd name="T17" fmla="*/ 294 h 961"/>
                <a:gd name="T18" fmla="*/ 19 w 402"/>
                <a:gd name="T19" fmla="*/ 137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2" h="961">
                  <a:moveTo>
                    <a:pt x="19" y="137"/>
                  </a:moveTo>
                  <a:cubicBezTo>
                    <a:pt x="28" y="107"/>
                    <a:pt x="43" y="61"/>
                    <a:pt x="72" y="48"/>
                  </a:cubicBezTo>
                  <a:cubicBezTo>
                    <a:pt x="135" y="22"/>
                    <a:pt x="203" y="0"/>
                    <a:pt x="267" y="20"/>
                  </a:cubicBezTo>
                  <a:cubicBezTo>
                    <a:pt x="311" y="33"/>
                    <a:pt x="350" y="65"/>
                    <a:pt x="374" y="109"/>
                  </a:cubicBezTo>
                  <a:cubicBezTo>
                    <a:pt x="392" y="141"/>
                    <a:pt x="402" y="180"/>
                    <a:pt x="402" y="218"/>
                  </a:cubicBezTo>
                  <a:cubicBezTo>
                    <a:pt x="402" y="255"/>
                    <a:pt x="384" y="286"/>
                    <a:pt x="376" y="321"/>
                  </a:cubicBezTo>
                  <a:cubicBezTo>
                    <a:pt x="324" y="534"/>
                    <a:pt x="272" y="748"/>
                    <a:pt x="220" y="961"/>
                  </a:cubicBezTo>
                  <a:cubicBezTo>
                    <a:pt x="132" y="948"/>
                    <a:pt x="132" y="948"/>
                    <a:pt x="132" y="948"/>
                  </a:cubicBezTo>
                  <a:cubicBezTo>
                    <a:pt x="126" y="294"/>
                    <a:pt x="126" y="294"/>
                    <a:pt x="126" y="294"/>
                  </a:cubicBezTo>
                  <a:cubicBezTo>
                    <a:pt x="90" y="257"/>
                    <a:pt x="0" y="198"/>
                    <a:pt x="19" y="13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7" name="Freeform 62">
              <a:extLst>
                <a:ext uri="{FF2B5EF4-FFF2-40B4-BE49-F238E27FC236}">
                  <a16:creationId xmlns:a16="http://schemas.microsoft.com/office/drawing/2014/main" id="{7C47C0CA-703D-4A1C-99E7-2037B6EC1B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78446" y="4860925"/>
              <a:ext cx="422275" cy="1098550"/>
            </a:xfrm>
            <a:custGeom>
              <a:avLst/>
              <a:gdLst>
                <a:gd name="T0" fmla="*/ 6 w 365"/>
                <a:gd name="T1" fmla="*/ 235 h 949"/>
                <a:gd name="T2" fmla="*/ 0 w 365"/>
                <a:gd name="T3" fmla="*/ 166 h 949"/>
                <a:gd name="T4" fmla="*/ 7 w 365"/>
                <a:gd name="T5" fmla="*/ 113 h 949"/>
                <a:gd name="T6" fmla="*/ 39 w 365"/>
                <a:gd name="T7" fmla="*/ 67 h 949"/>
                <a:gd name="T8" fmla="*/ 211 w 365"/>
                <a:gd name="T9" fmla="*/ 15 h 949"/>
                <a:gd name="T10" fmla="*/ 288 w 365"/>
                <a:gd name="T11" fmla="*/ 53 h 949"/>
                <a:gd name="T12" fmla="*/ 361 w 365"/>
                <a:gd name="T13" fmla="*/ 124 h 949"/>
                <a:gd name="T14" fmla="*/ 365 w 365"/>
                <a:gd name="T15" fmla="*/ 133 h 949"/>
                <a:gd name="T16" fmla="*/ 360 w 365"/>
                <a:gd name="T17" fmla="*/ 139 h 949"/>
                <a:gd name="T18" fmla="*/ 283 w 365"/>
                <a:gd name="T19" fmla="*/ 260 h 949"/>
                <a:gd name="T20" fmla="*/ 261 w 365"/>
                <a:gd name="T21" fmla="*/ 433 h 949"/>
                <a:gd name="T22" fmla="*/ 254 w 365"/>
                <a:gd name="T23" fmla="*/ 644 h 949"/>
                <a:gd name="T24" fmla="*/ 243 w 365"/>
                <a:gd name="T25" fmla="*/ 936 h 949"/>
                <a:gd name="T26" fmla="*/ 143 w 365"/>
                <a:gd name="T27" fmla="*/ 949 h 949"/>
                <a:gd name="T28" fmla="*/ 91 w 365"/>
                <a:gd name="T29" fmla="*/ 680 h 949"/>
                <a:gd name="T30" fmla="*/ 17 w 365"/>
                <a:gd name="T31" fmla="*/ 302 h 949"/>
                <a:gd name="T32" fmla="*/ 6 w 365"/>
                <a:gd name="T33" fmla="*/ 235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5" h="949">
                  <a:moveTo>
                    <a:pt x="6" y="235"/>
                  </a:moveTo>
                  <a:cubicBezTo>
                    <a:pt x="3" y="212"/>
                    <a:pt x="1" y="189"/>
                    <a:pt x="0" y="166"/>
                  </a:cubicBezTo>
                  <a:cubicBezTo>
                    <a:pt x="0" y="148"/>
                    <a:pt x="1" y="130"/>
                    <a:pt x="7" y="113"/>
                  </a:cubicBezTo>
                  <a:cubicBezTo>
                    <a:pt x="13" y="94"/>
                    <a:pt x="26" y="80"/>
                    <a:pt x="39" y="67"/>
                  </a:cubicBezTo>
                  <a:cubicBezTo>
                    <a:pt x="87" y="22"/>
                    <a:pt x="149" y="0"/>
                    <a:pt x="211" y="15"/>
                  </a:cubicBezTo>
                  <a:cubicBezTo>
                    <a:pt x="238" y="22"/>
                    <a:pt x="264" y="36"/>
                    <a:pt x="288" y="53"/>
                  </a:cubicBezTo>
                  <a:cubicBezTo>
                    <a:pt x="315" y="72"/>
                    <a:pt x="341" y="95"/>
                    <a:pt x="361" y="124"/>
                  </a:cubicBezTo>
                  <a:cubicBezTo>
                    <a:pt x="363" y="126"/>
                    <a:pt x="365" y="130"/>
                    <a:pt x="365" y="133"/>
                  </a:cubicBezTo>
                  <a:cubicBezTo>
                    <a:pt x="364" y="136"/>
                    <a:pt x="362" y="137"/>
                    <a:pt x="360" y="139"/>
                  </a:cubicBezTo>
                  <a:cubicBezTo>
                    <a:pt x="326" y="171"/>
                    <a:pt x="300" y="214"/>
                    <a:pt x="283" y="260"/>
                  </a:cubicBezTo>
                  <a:cubicBezTo>
                    <a:pt x="263" y="317"/>
                    <a:pt x="264" y="373"/>
                    <a:pt x="261" y="433"/>
                  </a:cubicBezTo>
                  <a:cubicBezTo>
                    <a:pt x="259" y="503"/>
                    <a:pt x="256" y="573"/>
                    <a:pt x="254" y="644"/>
                  </a:cubicBezTo>
                  <a:cubicBezTo>
                    <a:pt x="250" y="741"/>
                    <a:pt x="246" y="839"/>
                    <a:pt x="243" y="936"/>
                  </a:cubicBezTo>
                  <a:cubicBezTo>
                    <a:pt x="143" y="949"/>
                    <a:pt x="143" y="949"/>
                    <a:pt x="143" y="949"/>
                  </a:cubicBezTo>
                  <a:cubicBezTo>
                    <a:pt x="126" y="859"/>
                    <a:pt x="108" y="770"/>
                    <a:pt x="91" y="680"/>
                  </a:cubicBezTo>
                  <a:cubicBezTo>
                    <a:pt x="66" y="554"/>
                    <a:pt x="42" y="428"/>
                    <a:pt x="17" y="302"/>
                  </a:cubicBezTo>
                  <a:cubicBezTo>
                    <a:pt x="13" y="280"/>
                    <a:pt x="9" y="258"/>
                    <a:pt x="6" y="235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8" name="Freeform 63">
              <a:extLst>
                <a:ext uri="{FF2B5EF4-FFF2-40B4-BE49-F238E27FC236}">
                  <a16:creationId xmlns:a16="http://schemas.microsoft.com/office/drawing/2014/main" id="{279EF080-C6FF-4A71-A371-F5D8360A0B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1158" y="3589338"/>
              <a:ext cx="1495425" cy="1450975"/>
            </a:xfrm>
            <a:custGeom>
              <a:avLst/>
              <a:gdLst>
                <a:gd name="T0" fmla="*/ 777 w 1291"/>
                <a:gd name="T1" fmla="*/ 88 h 1254"/>
                <a:gd name="T2" fmla="*/ 585 w 1291"/>
                <a:gd name="T3" fmla="*/ 331 h 1254"/>
                <a:gd name="T4" fmla="*/ 249 w 1291"/>
                <a:gd name="T5" fmla="*/ 315 h 1254"/>
                <a:gd name="T6" fmla="*/ 241 w 1291"/>
                <a:gd name="T7" fmla="*/ 951 h 1254"/>
                <a:gd name="T8" fmla="*/ 603 w 1291"/>
                <a:gd name="T9" fmla="*/ 1145 h 1254"/>
                <a:gd name="T10" fmla="*/ 978 w 1291"/>
                <a:gd name="T11" fmla="*/ 1253 h 1254"/>
                <a:gd name="T12" fmla="*/ 1159 w 1291"/>
                <a:gd name="T13" fmla="*/ 907 h 1254"/>
                <a:gd name="T14" fmla="*/ 1270 w 1291"/>
                <a:gd name="T15" fmla="*/ 511 h 1254"/>
                <a:gd name="T16" fmla="*/ 777 w 1291"/>
                <a:gd name="T17" fmla="*/ 88 h 1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1" h="1254">
                  <a:moveTo>
                    <a:pt x="777" y="88"/>
                  </a:moveTo>
                  <a:cubicBezTo>
                    <a:pt x="676" y="122"/>
                    <a:pt x="576" y="230"/>
                    <a:pt x="585" y="331"/>
                  </a:cubicBezTo>
                  <a:cubicBezTo>
                    <a:pt x="517" y="255"/>
                    <a:pt x="343" y="265"/>
                    <a:pt x="249" y="315"/>
                  </a:cubicBezTo>
                  <a:cubicBezTo>
                    <a:pt x="0" y="448"/>
                    <a:pt x="43" y="792"/>
                    <a:pt x="241" y="951"/>
                  </a:cubicBezTo>
                  <a:cubicBezTo>
                    <a:pt x="347" y="1037"/>
                    <a:pt x="474" y="1097"/>
                    <a:pt x="603" y="1145"/>
                  </a:cubicBezTo>
                  <a:cubicBezTo>
                    <a:pt x="712" y="1185"/>
                    <a:pt x="978" y="1254"/>
                    <a:pt x="978" y="1253"/>
                  </a:cubicBezTo>
                  <a:cubicBezTo>
                    <a:pt x="979" y="1254"/>
                    <a:pt x="1113" y="1013"/>
                    <a:pt x="1159" y="907"/>
                  </a:cubicBezTo>
                  <a:cubicBezTo>
                    <a:pt x="1215" y="781"/>
                    <a:pt x="1258" y="648"/>
                    <a:pt x="1270" y="511"/>
                  </a:cubicBezTo>
                  <a:cubicBezTo>
                    <a:pt x="1291" y="258"/>
                    <a:pt x="1045" y="0"/>
                    <a:pt x="777" y="88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29" name="Freeform 64">
              <a:extLst>
                <a:ext uri="{FF2B5EF4-FFF2-40B4-BE49-F238E27FC236}">
                  <a16:creationId xmlns:a16="http://schemas.microsoft.com/office/drawing/2014/main" id="{0F27E83B-E41B-4EAF-93EB-99CD17919C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76833" y="4994275"/>
              <a:ext cx="96838" cy="25400"/>
            </a:xfrm>
            <a:custGeom>
              <a:avLst/>
              <a:gdLst>
                <a:gd name="T0" fmla="*/ 0 w 83"/>
                <a:gd name="T1" fmla="*/ 0 h 23"/>
                <a:gd name="T2" fmla="*/ 1 w 83"/>
                <a:gd name="T3" fmla="*/ 0 h 23"/>
                <a:gd name="T4" fmla="*/ 83 w 83"/>
                <a:gd name="T5" fmla="*/ 23 h 23"/>
                <a:gd name="T6" fmla="*/ 83 w 83"/>
                <a:gd name="T7" fmla="*/ 22 h 23"/>
                <a:gd name="T8" fmla="*/ 0 w 83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23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31" y="9"/>
                    <a:pt x="59" y="16"/>
                    <a:pt x="83" y="23"/>
                  </a:cubicBezTo>
                  <a:cubicBezTo>
                    <a:pt x="83" y="23"/>
                    <a:pt x="83" y="22"/>
                    <a:pt x="83" y="22"/>
                  </a:cubicBezTo>
                  <a:cubicBezTo>
                    <a:pt x="59" y="16"/>
                    <a:pt x="30" y="8"/>
                    <a:pt x="0" y="0"/>
                  </a:cubicBezTo>
                </a:path>
              </a:pathLst>
            </a:custGeom>
            <a:solidFill>
              <a:srgbClr val="0D55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0" name="Freeform 65">
              <a:extLst>
                <a:ext uri="{FF2B5EF4-FFF2-40B4-BE49-F238E27FC236}">
                  <a16:creationId xmlns:a16="http://schemas.microsoft.com/office/drawing/2014/main" id="{FBE7FFFF-3B37-4D14-BCE0-6145C0640E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3671" y="5019675"/>
              <a:ext cx="79375" cy="20638"/>
            </a:xfrm>
            <a:custGeom>
              <a:avLst/>
              <a:gdLst>
                <a:gd name="T0" fmla="*/ 0 w 68"/>
                <a:gd name="T1" fmla="*/ 0 h 18"/>
                <a:gd name="T2" fmla="*/ 0 w 68"/>
                <a:gd name="T3" fmla="*/ 1 h 18"/>
                <a:gd name="T4" fmla="*/ 68 w 68"/>
                <a:gd name="T5" fmla="*/ 18 h 18"/>
                <a:gd name="T6" fmla="*/ 68 w 68"/>
                <a:gd name="T7" fmla="*/ 18 h 18"/>
                <a:gd name="T8" fmla="*/ 68 w 68"/>
                <a:gd name="T9" fmla="*/ 18 h 18"/>
                <a:gd name="T10" fmla="*/ 68 w 68"/>
                <a:gd name="T11" fmla="*/ 18 h 18"/>
                <a:gd name="T12" fmla="*/ 0 w 68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18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40" y="11"/>
                    <a:pt x="67" y="18"/>
                    <a:pt x="68" y="18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1" y="17"/>
                    <a:pt x="35" y="10"/>
                    <a:pt x="0" y="0"/>
                  </a:cubicBezTo>
                </a:path>
              </a:pathLst>
            </a:custGeom>
            <a:solidFill>
              <a:srgbClr val="33A3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1" name="Freeform 66">
              <a:extLst>
                <a:ext uri="{FF2B5EF4-FFF2-40B4-BE49-F238E27FC236}">
                  <a16:creationId xmlns:a16="http://schemas.microsoft.com/office/drawing/2014/main" id="{F9E9F805-096F-40DB-AD66-C452CA4519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84758" y="4967288"/>
              <a:ext cx="93663" cy="26988"/>
            </a:xfrm>
            <a:custGeom>
              <a:avLst/>
              <a:gdLst>
                <a:gd name="T0" fmla="*/ 1 w 81"/>
                <a:gd name="T1" fmla="*/ 0 h 23"/>
                <a:gd name="T2" fmla="*/ 0 w 81"/>
                <a:gd name="T3" fmla="*/ 0 h 23"/>
                <a:gd name="T4" fmla="*/ 81 w 81"/>
                <a:gd name="T5" fmla="*/ 23 h 23"/>
                <a:gd name="T6" fmla="*/ 80 w 81"/>
                <a:gd name="T7" fmla="*/ 23 h 23"/>
                <a:gd name="T8" fmla="*/ 1 w 81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23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7" y="8"/>
                    <a:pt x="54" y="16"/>
                    <a:pt x="81" y="23"/>
                  </a:cubicBezTo>
                  <a:cubicBezTo>
                    <a:pt x="81" y="23"/>
                    <a:pt x="81" y="23"/>
                    <a:pt x="80" y="23"/>
                  </a:cubicBezTo>
                  <a:cubicBezTo>
                    <a:pt x="55" y="16"/>
                    <a:pt x="27" y="8"/>
                    <a:pt x="1" y="0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2" name="Freeform 67">
              <a:extLst>
                <a:ext uri="{FF2B5EF4-FFF2-40B4-BE49-F238E27FC236}">
                  <a16:creationId xmlns:a16="http://schemas.microsoft.com/office/drawing/2014/main" id="{3118DCAA-377E-4A0E-89C4-119FCB7B69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86346" y="4029075"/>
              <a:ext cx="608013" cy="1011238"/>
            </a:xfrm>
            <a:custGeom>
              <a:avLst/>
              <a:gdLst>
                <a:gd name="T0" fmla="*/ 509 w 525"/>
                <a:gd name="T1" fmla="*/ 0 h 873"/>
                <a:gd name="T2" fmla="*/ 476 w 525"/>
                <a:gd name="T3" fmla="*/ 177 h 873"/>
                <a:gd name="T4" fmla="*/ 353 w 525"/>
                <a:gd name="T5" fmla="*/ 498 h 873"/>
                <a:gd name="T6" fmla="*/ 141 w 525"/>
                <a:gd name="T7" fmla="*/ 753 h 873"/>
                <a:gd name="T8" fmla="*/ 0 w 525"/>
                <a:gd name="T9" fmla="*/ 810 h 873"/>
                <a:gd name="T10" fmla="*/ 79 w 525"/>
                <a:gd name="T11" fmla="*/ 833 h 873"/>
                <a:gd name="T12" fmla="*/ 162 w 525"/>
                <a:gd name="T13" fmla="*/ 855 h 873"/>
                <a:gd name="T14" fmla="*/ 230 w 525"/>
                <a:gd name="T15" fmla="*/ 873 h 873"/>
                <a:gd name="T16" fmla="*/ 411 w 525"/>
                <a:gd name="T17" fmla="*/ 527 h 873"/>
                <a:gd name="T18" fmla="*/ 521 w 525"/>
                <a:gd name="T19" fmla="*/ 131 h 873"/>
                <a:gd name="T20" fmla="*/ 509 w 525"/>
                <a:gd name="T21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5" h="873">
                  <a:moveTo>
                    <a:pt x="509" y="0"/>
                  </a:moveTo>
                  <a:cubicBezTo>
                    <a:pt x="503" y="60"/>
                    <a:pt x="491" y="119"/>
                    <a:pt x="476" y="177"/>
                  </a:cubicBezTo>
                  <a:cubicBezTo>
                    <a:pt x="447" y="287"/>
                    <a:pt x="406" y="397"/>
                    <a:pt x="353" y="498"/>
                  </a:cubicBezTo>
                  <a:cubicBezTo>
                    <a:pt x="302" y="596"/>
                    <a:pt x="234" y="691"/>
                    <a:pt x="141" y="753"/>
                  </a:cubicBezTo>
                  <a:cubicBezTo>
                    <a:pt x="97" y="783"/>
                    <a:pt x="49" y="802"/>
                    <a:pt x="0" y="810"/>
                  </a:cubicBezTo>
                  <a:cubicBezTo>
                    <a:pt x="26" y="818"/>
                    <a:pt x="54" y="826"/>
                    <a:pt x="79" y="833"/>
                  </a:cubicBezTo>
                  <a:cubicBezTo>
                    <a:pt x="109" y="841"/>
                    <a:pt x="138" y="849"/>
                    <a:pt x="162" y="855"/>
                  </a:cubicBezTo>
                  <a:cubicBezTo>
                    <a:pt x="197" y="865"/>
                    <a:pt x="223" y="872"/>
                    <a:pt x="230" y="873"/>
                  </a:cubicBezTo>
                  <a:cubicBezTo>
                    <a:pt x="234" y="866"/>
                    <a:pt x="365" y="632"/>
                    <a:pt x="411" y="527"/>
                  </a:cubicBezTo>
                  <a:cubicBezTo>
                    <a:pt x="466" y="401"/>
                    <a:pt x="509" y="267"/>
                    <a:pt x="521" y="131"/>
                  </a:cubicBezTo>
                  <a:cubicBezTo>
                    <a:pt x="525" y="87"/>
                    <a:pt x="520" y="43"/>
                    <a:pt x="509" y="0"/>
                  </a:cubicBezTo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3" name="Freeform 68">
              <a:extLst>
                <a:ext uri="{FF2B5EF4-FFF2-40B4-BE49-F238E27FC236}">
                  <a16:creationId xmlns:a16="http://schemas.microsoft.com/office/drawing/2014/main" id="{68851D20-C786-4A5E-9F78-F4D6A7BEEC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6433" y="3938588"/>
              <a:ext cx="1114425" cy="790575"/>
            </a:xfrm>
            <a:custGeom>
              <a:avLst/>
              <a:gdLst>
                <a:gd name="T0" fmla="*/ 933 w 962"/>
                <a:gd name="T1" fmla="*/ 172 h 682"/>
                <a:gd name="T2" fmla="*/ 732 w 962"/>
                <a:gd name="T3" fmla="*/ 264 h 682"/>
                <a:gd name="T4" fmla="*/ 538 w 962"/>
                <a:gd name="T5" fmla="*/ 12 h 682"/>
                <a:gd name="T6" fmla="*/ 511 w 962"/>
                <a:gd name="T7" fmla="*/ 23 h 682"/>
                <a:gd name="T8" fmla="*/ 564 w 962"/>
                <a:gd name="T9" fmla="*/ 584 h 682"/>
                <a:gd name="T10" fmla="*/ 567 w 962"/>
                <a:gd name="T11" fmla="*/ 616 h 682"/>
                <a:gd name="T12" fmla="*/ 322 w 962"/>
                <a:gd name="T13" fmla="*/ 337 h 682"/>
                <a:gd name="T14" fmla="*/ 282 w 962"/>
                <a:gd name="T15" fmla="*/ 293 h 682"/>
                <a:gd name="T16" fmla="*/ 256 w 962"/>
                <a:gd name="T17" fmla="*/ 300 h 682"/>
                <a:gd name="T18" fmla="*/ 245 w 962"/>
                <a:gd name="T19" fmla="*/ 491 h 682"/>
                <a:gd name="T20" fmla="*/ 18 w 962"/>
                <a:gd name="T21" fmla="*/ 588 h 682"/>
                <a:gd name="T22" fmla="*/ 30 w 962"/>
                <a:gd name="T23" fmla="*/ 616 h 682"/>
                <a:gd name="T24" fmla="*/ 266 w 962"/>
                <a:gd name="T25" fmla="*/ 515 h 682"/>
                <a:gd name="T26" fmla="*/ 275 w 962"/>
                <a:gd name="T27" fmla="*/ 503 h 682"/>
                <a:gd name="T28" fmla="*/ 284 w 962"/>
                <a:gd name="T29" fmla="*/ 339 h 682"/>
                <a:gd name="T30" fmla="*/ 536 w 962"/>
                <a:gd name="T31" fmla="*/ 626 h 682"/>
                <a:gd name="T32" fmla="*/ 575 w 962"/>
                <a:gd name="T33" fmla="*/ 671 h 682"/>
                <a:gd name="T34" fmla="*/ 602 w 962"/>
                <a:gd name="T35" fmla="*/ 659 h 682"/>
                <a:gd name="T36" fmla="*/ 548 w 962"/>
                <a:gd name="T37" fmla="*/ 99 h 682"/>
                <a:gd name="T38" fmla="*/ 546 w 962"/>
                <a:gd name="T39" fmla="*/ 72 h 682"/>
                <a:gd name="T40" fmla="*/ 716 w 962"/>
                <a:gd name="T41" fmla="*/ 292 h 682"/>
                <a:gd name="T42" fmla="*/ 734 w 962"/>
                <a:gd name="T43" fmla="*/ 296 h 682"/>
                <a:gd name="T44" fmla="*/ 945 w 962"/>
                <a:gd name="T45" fmla="*/ 199 h 682"/>
                <a:gd name="T46" fmla="*/ 933 w 962"/>
                <a:gd name="T47" fmla="*/ 172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2" h="682">
                  <a:moveTo>
                    <a:pt x="933" y="172"/>
                  </a:moveTo>
                  <a:cubicBezTo>
                    <a:pt x="866" y="202"/>
                    <a:pt x="799" y="233"/>
                    <a:pt x="732" y="264"/>
                  </a:cubicBezTo>
                  <a:cubicBezTo>
                    <a:pt x="667" y="180"/>
                    <a:pt x="602" y="96"/>
                    <a:pt x="538" y="12"/>
                  </a:cubicBezTo>
                  <a:cubicBezTo>
                    <a:pt x="528" y="0"/>
                    <a:pt x="510" y="9"/>
                    <a:pt x="511" y="23"/>
                  </a:cubicBezTo>
                  <a:cubicBezTo>
                    <a:pt x="529" y="210"/>
                    <a:pt x="547" y="397"/>
                    <a:pt x="564" y="584"/>
                  </a:cubicBezTo>
                  <a:cubicBezTo>
                    <a:pt x="565" y="595"/>
                    <a:pt x="566" y="606"/>
                    <a:pt x="567" y="616"/>
                  </a:cubicBezTo>
                  <a:cubicBezTo>
                    <a:pt x="486" y="523"/>
                    <a:pt x="404" y="430"/>
                    <a:pt x="322" y="337"/>
                  </a:cubicBezTo>
                  <a:cubicBezTo>
                    <a:pt x="309" y="322"/>
                    <a:pt x="295" y="308"/>
                    <a:pt x="282" y="293"/>
                  </a:cubicBezTo>
                  <a:cubicBezTo>
                    <a:pt x="274" y="284"/>
                    <a:pt x="256" y="286"/>
                    <a:pt x="256" y="300"/>
                  </a:cubicBezTo>
                  <a:cubicBezTo>
                    <a:pt x="252" y="364"/>
                    <a:pt x="249" y="427"/>
                    <a:pt x="245" y="491"/>
                  </a:cubicBezTo>
                  <a:cubicBezTo>
                    <a:pt x="169" y="524"/>
                    <a:pt x="94" y="556"/>
                    <a:pt x="18" y="588"/>
                  </a:cubicBezTo>
                  <a:cubicBezTo>
                    <a:pt x="0" y="596"/>
                    <a:pt x="12" y="624"/>
                    <a:pt x="30" y="616"/>
                  </a:cubicBezTo>
                  <a:cubicBezTo>
                    <a:pt x="108" y="582"/>
                    <a:pt x="187" y="549"/>
                    <a:pt x="266" y="515"/>
                  </a:cubicBezTo>
                  <a:cubicBezTo>
                    <a:pt x="270" y="513"/>
                    <a:pt x="274" y="508"/>
                    <a:pt x="275" y="503"/>
                  </a:cubicBezTo>
                  <a:cubicBezTo>
                    <a:pt x="278" y="449"/>
                    <a:pt x="281" y="394"/>
                    <a:pt x="284" y="339"/>
                  </a:cubicBezTo>
                  <a:cubicBezTo>
                    <a:pt x="368" y="435"/>
                    <a:pt x="452" y="530"/>
                    <a:pt x="536" y="626"/>
                  </a:cubicBezTo>
                  <a:cubicBezTo>
                    <a:pt x="549" y="641"/>
                    <a:pt x="562" y="656"/>
                    <a:pt x="575" y="671"/>
                  </a:cubicBezTo>
                  <a:cubicBezTo>
                    <a:pt x="585" y="682"/>
                    <a:pt x="603" y="674"/>
                    <a:pt x="602" y="659"/>
                  </a:cubicBezTo>
                  <a:cubicBezTo>
                    <a:pt x="584" y="472"/>
                    <a:pt x="566" y="285"/>
                    <a:pt x="548" y="99"/>
                  </a:cubicBezTo>
                  <a:cubicBezTo>
                    <a:pt x="547" y="90"/>
                    <a:pt x="547" y="81"/>
                    <a:pt x="546" y="72"/>
                  </a:cubicBezTo>
                  <a:cubicBezTo>
                    <a:pt x="602" y="145"/>
                    <a:pt x="659" y="219"/>
                    <a:pt x="716" y="292"/>
                  </a:cubicBezTo>
                  <a:cubicBezTo>
                    <a:pt x="720" y="297"/>
                    <a:pt x="728" y="299"/>
                    <a:pt x="734" y="296"/>
                  </a:cubicBezTo>
                  <a:cubicBezTo>
                    <a:pt x="804" y="264"/>
                    <a:pt x="874" y="232"/>
                    <a:pt x="945" y="199"/>
                  </a:cubicBezTo>
                  <a:cubicBezTo>
                    <a:pt x="962" y="191"/>
                    <a:pt x="951" y="164"/>
                    <a:pt x="933" y="17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4" name="Freeform 69">
              <a:extLst>
                <a:ext uri="{FF2B5EF4-FFF2-40B4-BE49-F238E27FC236}">
                  <a16:creationId xmlns:a16="http://schemas.microsoft.com/office/drawing/2014/main" id="{AC26CC8A-D726-458D-9603-9D7FED1AEA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5108" y="3816350"/>
              <a:ext cx="468313" cy="690563"/>
            </a:xfrm>
            <a:custGeom>
              <a:avLst/>
              <a:gdLst>
                <a:gd name="T0" fmla="*/ 211 w 295"/>
                <a:gd name="T1" fmla="*/ 0 h 435"/>
                <a:gd name="T2" fmla="*/ 135 w 295"/>
                <a:gd name="T3" fmla="*/ 32 h 435"/>
                <a:gd name="T4" fmla="*/ 0 w 295"/>
                <a:gd name="T5" fmla="*/ 333 h 435"/>
                <a:gd name="T6" fmla="*/ 47 w 295"/>
                <a:gd name="T7" fmla="*/ 400 h 435"/>
                <a:gd name="T8" fmla="*/ 289 w 295"/>
                <a:gd name="T9" fmla="*/ 435 h 435"/>
                <a:gd name="T10" fmla="*/ 295 w 295"/>
                <a:gd name="T11" fmla="*/ 379 h 435"/>
                <a:gd name="T12" fmla="*/ 108 w 295"/>
                <a:gd name="T13" fmla="*/ 321 h 435"/>
                <a:gd name="T14" fmla="*/ 167 w 295"/>
                <a:gd name="T15" fmla="*/ 193 h 435"/>
                <a:gd name="T16" fmla="*/ 211 w 295"/>
                <a:gd name="T17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5" h="435">
                  <a:moveTo>
                    <a:pt x="211" y="0"/>
                  </a:moveTo>
                  <a:lnTo>
                    <a:pt x="135" y="32"/>
                  </a:lnTo>
                  <a:lnTo>
                    <a:pt x="0" y="333"/>
                  </a:lnTo>
                  <a:lnTo>
                    <a:pt x="47" y="400"/>
                  </a:lnTo>
                  <a:lnTo>
                    <a:pt x="289" y="435"/>
                  </a:lnTo>
                  <a:lnTo>
                    <a:pt x="295" y="379"/>
                  </a:lnTo>
                  <a:lnTo>
                    <a:pt x="108" y="321"/>
                  </a:lnTo>
                  <a:lnTo>
                    <a:pt x="167" y="193"/>
                  </a:lnTo>
                  <a:lnTo>
                    <a:pt x="21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5" name="Freeform 70">
              <a:extLst>
                <a:ext uri="{FF2B5EF4-FFF2-40B4-BE49-F238E27FC236}">
                  <a16:creationId xmlns:a16="http://schemas.microsoft.com/office/drawing/2014/main" id="{4655C9CA-C65B-4CB2-9788-245B319676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5483" y="4425950"/>
              <a:ext cx="142875" cy="88900"/>
            </a:xfrm>
            <a:custGeom>
              <a:avLst/>
              <a:gdLst>
                <a:gd name="T0" fmla="*/ 5 w 90"/>
                <a:gd name="T1" fmla="*/ 0 h 56"/>
                <a:gd name="T2" fmla="*/ 52 w 90"/>
                <a:gd name="T3" fmla="*/ 1 h 56"/>
                <a:gd name="T4" fmla="*/ 90 w 90"/>
                <a:gd name="T5" fmla="*/ 30 h 56"/>
                <a:gd name="T6" fmla="*/ 84 w 90"/>
                <a:gd name="T7" fmla="*/ 56 h 56"/>
                <a:gd name="T8" fmla="*/ 0 w 90"/>
                <a:gd name="T9" fmla="*/ 44 h 56"/>
                <a:gd name="T10" fmla="*/ 5 w 90"/>
                <a:gd name="T11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" h="56">
                  <a:moveTo>
                    <a:pt x="5" y="0"/>
                  </a:moveTo>
                  <a:lnTo>
                    <a:pt x="52" y="1"/>
                  </a:lnTo>
                  <a:lnTo>
                    <a:pt x="90" y="30"/>
                  </a:lnTo>
                  <a:lnTo>
                    <a:pt x="84" y="56"/>
                  </a:lnTo>
                  <a:lnTo>
                    <a:pt x="0" y="44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6" name="Freeform 71">
              <a:extLst>
                <a:ext uri="{FF2B5EF4-FFF2-40B4-BE49-F238E27FC236}">
                  <a16:creationId xmlns:a16="http://schemas.microsoft.com/office/drawing/2014/main" id="{BD2C9ABB-A7FD-4D1C-AB83-B041A7D900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4296" y="3890963"/>
              <a:ext cx="196850" cy="127000"/>
            </a:xfrm>
            <a:custGeom>
              <a:avLst/>
              <a:gdLst>
                <a:gd name="T0" fmla="*/ 0 w 124"/>
                <a:gd name="T1" fmla="*/ 57 h 80"/>
                <a:gd name="T2" fmla="*/ 16 w 124"/>
                <a:gd name="T3" fmla="*/ 20 h 80"/>
                <a:gd name="T4" fmla="*/ 54 w 124"/>
                <a:gd name="T5" fmla="*/ 0 h 80"/>
                <a:gd name="T6" fmla="*/ 60 w 124"/>
                <a:gd name="T7" fmla="*/ 11 h 80"/>
                <a:gd name="T8" fmla="*/ 110 w 124"/>
                <a:gd name="T9" fmla="*/ 0 h 80"/>
                <a:gd name="T10" fmla="*/ 124 w 124"/>
                <a:gd name="T11" fmla="*/ 29 h 80"/>
                <a:gd name="T12" fmla="*/ 63 w 124"/>
                <a:gd name="T13" fmla="*/ 70 h 80"/>
                <a:gd name="T14" fmla="*/ 26 w 124"/>
                <a:gd name="T15" fmla="*/ 80 h 80"/>
                <a:gd name="T16" fmla="*/ 0 w 124"/>
                <a:gd name="T17" fmla="*/ 5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4" h="80">
                  <a:moveTo>
                    <a:pt x="0" y="57"/>
                  </a:moveTo>
                  <a:lnTo>
                    <a:pt x="16" y="20"/>
                  </a:lnTo>
                  <a:lnTo>
                    <a:pt x="54" y="0"/>
                  </a:lnTo>
                  <a:lnTo>
                    <a:pt x="60" y="11"/>
                  </a:lnTo>
                  <a:lnTo>
                    <a:pt x="110" y="0"/>
                  </a:lnTo>
                  <a:lnTo>
                    <a:pt x="124" y="29"/>
                  </a:lnTo>
                  <a:lnTo>
                    <a:pt x="63" y="70"/>
                  </a:lnTo>
                  <a:lnTo>
                    <a:pt x="26" y="80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7" name="Freeform 72">
              <a:extLst>
                <a:ext uri="{FF2B5EF4-FFF2-40B4-BE49-F238E27FC236}">
                  <a16:creationId xmlns:a16="http://schemas.microsoft.com/office/drawing/2014/main" id="{DABA3F2E-82BD-449A-9424-08AA910D49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2908" y="4057650"/>
              <a:ext cx="0" cy="1588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7A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8" name="Freeform 73">
              <a:extLst>
                <a:ext uri="{FF2B5EF4-FFF2-40B4-BE49-F238E27FC236}">
                  <a16:creationId xmlns:a16="http://schemas.microsoft.com/office/drawing/2014/main" id="{EE1EEF3F-0ABF-447A-8F0E-968D87BD82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21533" y="3719513"/>
              <a:ext cx="1085850" cy="1354138"/>
            </a:xfrm>
            <a:custGeom>
              <a:avLst/>
              <a:gdLst>
                <a:gd name="T0" fmla="*/ 726 w 937"/>
                <a:gd name="T1" fmla="*/ 294 h 1170"/>
                <a:gd name="T2" fmla="*/ 726 w 937"/>
                <a:gd name="T3" fmla="*/ 293 h 1170"/>
                <a:gd name="T4" fmla="*/ 609 w 937"/>
                <a:gd name="T5" fmla="*/ 73 h 1170"/>
                <a:gd name="T6" fmla="*/ 540 w 937"/>
                <a:gd name="T7" fmla="*/ 6 h 1170"/>
                <a:gd name="T8" fmla="*/ 475 w 937"/>
                <a:gd name="T9" fmla="*/ 6 h 1170"/>
                <a:gd name="T10" fmla="*/ 297 w 937"/>
                <a:gd name="T11" fmla="*/ 32 h 1170"/>
                <a:gd name="T12" fmla="*/ 275 w 937"/>
                <a:gd name="T13" fmla="*/ 35 h 1170"/>
                <a:gd name="T14" fmla="*/ 142 w 937"/>
                <a:gd name="T15" fmla="*/ 378 h 1170"/>
                <a:gd name="T16" fmla="*/ 0 w 937"/>
                <a:gd name="T17" fmla="*/ 909 h 1170"/>
                <a:gd name="T18" fmla="*/ 8 w 937"/>
                <a:gd name="T19" fmla="*/ 1034 h 1170"/>
                <a:gd name="T20" fmla="*/ 29 w 937"/>
                <a:gd name="T21" fmla="*/ 1103 h 1170"/>
                <a:gd name="T22" fmla="*/ 159 w 937"/>
                <a:gd name="T23" fmla="*/ 1147 h 1170"/>
                <a:gd name="T24" fmla="*/ 444 w 937"/>
                <a:gd name="T25" fmla="*/ 1114 h 1170"/>
                <a:gd name="T26" fmla="*/ 728 w 937"/>
                <a:gd name="T27" fmla="*/ 1166 h 1170"/>
                <a:gd name="T28" fmla="*/ 726 w 937"/>
                <a:gd name="T29" fmla="*/ 294 h 1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37" h="1170">
                  <a:moveTo>
                    <a:pt x="726" y="294"/>
                  </a:moveTo>
                  <a:cubicBezTo>
                    <a:pt x="726" y="293"/>
                    <a:pt x="726" y="293"/>
                    <a:pt x="726" y="293"/>
                  </a:cubicBezTo>
                  <a:cubicBezTo>
                    <a:pt x="694" y="217"/>
                    <a:pt x="655" y="143"/>
                    <a:pt x="609" y="73"/>
                  </a:cubicBezTo>
                  <a:cubicBezTo>
                    <a:pt x="591" y="45"/>
                    <a:pt x="571" y="16"/>
                    <a:pt x="540" y="6"/>
                  </a:cubicBezTo>
                  <a:cubicBezTo>
                    <a:pt x="519" y="0"/>
                    <a:pt x="496" y="3"/>
                    <a:pt x="475" y="6"/>
                  </a:cubicBezTo>
                  <a:cubicBezTo>
                    <a:pt x="415" y="15"/>
                    <a:pt x="356" y="23"/>
                    <a:pt x="297" y="32"/>
                  </a:cubicBezTo>
                  <a:cubicBezTo>
                    <a:pt x="289" y="33"/>
                    <a:pt x="282" y="34"/>
                    <a:pt x="275" y="35"/>
                  </a:cubicBezTo>
                  <a:cubicBezTo>
                    <a:pt x="146" y="55"/>
                    <a:pt x="162" y="247"/>
                    <a:pt x="142" y="378"/>
                  </a:cubicBezTo>
                  <a:cubicBezTo>
                    <a:pt x="124" y="490"/>
                    <a:pt x="21" y="726"/>
                    <a:pt x="0" y="909"/>
                  </a:cubicBezTo>
                  <a:cubicBezTo>
                    <a:pt x="2" y="951"/>
                    <a:pt x="4" y="992"/>
                    <a:pt x="8" y="1034"/>
                  </a:cubicBezTo>
                  <a:cubicBezTo>
                    <a:pt x="14" y="1062"/>
                    <a:pt x="21" y="1085"/>
                    <a:pt x="29" y="1103"/>
                  </a:cubicBezTo>
                  <a:cubicBezTo>
                    <a:pt x="77" y="1170"/>
                    <a:pt x="159" y="1147"/>
                    <a:pt x="159" y="1147"/>
                  </a:cubicBezTo>
                  <a:cubicBezTo>
                    <a:pt x="159" y="1147"/>
                    <a:pt x="299" y="1093"/>
                    <a:pt x="444" y="1114"/>
                  </a:cubicBezTo>
                  <a:cubicBezTo>
                    <a:pt x="549" y="1117"/>
                    <a:pt x="648" y="1157"/>
                    <a:pt x="728" y="1166"/>
                  </a:cubicBezTo>
                  <a:cubicBezTo>
                    <a:pt x="937" y="926"/>
                    <a:pt x="727" y="297"/>
                    <a:pt x="726" y="294"/>
                  </a:cubicBezTo>
                </a:path>
              </a:pathLst>
            </a:custGeom>
            <a:solidFill>
              <a:srgbClr val="D9D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39" name="Freeform 74">
              <a:extLst>
                <a:ext uri="{FF2B5EF4-FFF2-40B4-BE49-F238E27FC236}">
                  <a16:creationId xmlns:a16="http://schemas.microsoft.com/office/drawing/2014/main" id="{14C28603-2432-4619-9908-42BEEF4EB7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54883" y="3716338"/>
              <a:ext cx="625475" cy="1368425"/>
            </a:xfrm>
            <a:custGeom>
              <a:avLst/>
              <a:gdLst>
                <a:gd name="T0" fmla="*/ 309 w 541"/>
                <a:gd name="T1" fmla="*/ 389 h 1183"/>
                <a:gd name="T2" fmla="*/ 330 w 541"/>
                <a:gd name="T3" fmla="*/ 503 h 1183"/>
                <a:gd name="T4" fmla="*/ 541 w 541"/>
                <a:gd name="T5" fmla="*/ 1183 h 1183"/>
                <a:gd name="T6" fmla="*/ 20 w 541"/>
                <a:gd name="T7" fmla="*/ 1150 h 1183"/>
                <a:gd name="T8" fmla="*/ 6 w 541"/>
                <a:gd name="T9" fmla="*/ 979 h 1183"/>
                <a:gd name="T10" fmla="*/ 4 w 541"/>
                <a:gd name="T11" fmla="*/ 810 h 1183"/>
                <a:gd name="T12" fmla="*/ 58 w 541"/>
                <a:gd name="T13" fmla="*/ 545 h 1183"/>
                <a:gd name="T14" fmla="*/ 189 w 541"/>
                <a:gd name="T15" fmla="*/ 67 h 1183"/>
                <a:gd name="T16" fmla="*/ 199 w 541"/>
                <a:gd name="T17" fmla="*/ 43 h 1183"/>
                <a:gd name="T18" fmla="*/ 224 w 541"/>
                <a:gd name="T19" fmla="*/ 28 h 1183"/>
                <a:gd name="T20" fmla="*/ 367 w 541"/>
                <a:gd name="T21" fmla="*/ 3 h 1183"/>
                <a:gd name="T22" fmla="*/ 340 w 541"/>
                <a:gd name="T23" fmla="*/ 183 h 1183"/>
                <a:gd name="T24" fmla="*/ 309 w 541"/>
                <a:gd name="T25" fmla="*/ 389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1" h="1183">
                  <a:moveTo>
                    <a:pt x="309" y="389"/>
                  </a:moveTo>
                  <a:cubicBezTo>
                    <a:pt x="312" y="427"/>
                    <a:pt x="321" y="465"/>
                    <a:pt x="330" y="503"/>
                  </a:cubicBezTo>
                  <a:cubicBezTo>
                    <a:pt x="386" y="732"/>
                    <a:pt x="484" y="954"/>
                    <a:pt x="541" y="1183"/>
                  </a:cubicBezTo>
                  <a:cubicBezTo>
                    <a:pt x="387" y="1183"/>
                    <a:pt x="408" y="1059"/>
                    <a:pt x="20" y="1150"/>
                  </a:cubicBezTo>
                  <a:cubicBezTo>
                    <a:pt x="15" y="1062"/>
                    <a:pt x="10" y="1066"/>
                    <a:pt x="6" y="979"/>
                  </a:cubicBezTo>
                  <a:cubicBezTo>
                    <a:pt x="3" y="922"/>
                    <a:pt x="0" y="866"/>
                    <a:pt x="4" y="810"/>
                  </a:cubicBezTo>
                  <a:cubicBezTo>
                    <a:pt x="10" y="719"/>
                    <a:pt x="34" y="632"/>
                    <a:pt x="58" y="545"/>
                  </a:cubicBezTo>
                  <a:cubicBezTo>
                    <a:pt x="102" y="386"/>
                    <a:pt x="145" y="226"/>
                    <a:pt x="189" y="67"/>
                  </a:cubicBezTo>
                  <a:cubicBezTo>
                    <a:pt x="191" y="58"/>
                    <a:pt x="194" y="49"/>
                    <a:pt x="199" y="43"/>
                  </a:cubicBezTo>
                  <a:cubicBezTo>
                    <a:pt x="206" y="35"/>
                    <a:pt x="215" y="31"/>
                    <a:pt x="224" y="28"/>
                  </a:cubicBezTo>
                  <a:cubicBezTo>
                    <a:pt x="269" y="14"/>
                    <a:pt x="320" y="0"/>
                    <a:pt x="367" y="3"/>
                  </a:cubicBezTo>
                  <a:cubicBezTo>
                    <a:pt x="384" y="49"/>
                    <a:pt x="351" y="137"/>
                    <a:pt x="340" y="183"/>
                  </a:cubicBezTo>
                  <a:cubicBezTo>
                    <a:pt x="325" y="250"/>
                    <a:pt x="305" y="318"/>
                    <a:pt x="309" y="38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0" name="Freeform 75">
              <a:extLst>
                <a:ext uri="{FF2B5EF4-FFF2-40B4-BE49-F238E27FC236}">
                  <a16:creationId xmlns:a16="http://schemas.microsoft.com/office/drawing/2014/main" id="{24E8C6C5-02B8-4F84-A7E1-78BAF85C44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02521" y="3268663"/>
              <a:ext cx="158750" cy="238125"/>
            </a:xfrm>
            <a:custGeom>
              <a:avLst/>
              <a:gdLst>
                <a:gd name="T0" fmla="*/ 68 w 137"/>
                <a:gd name="T1" fmla="*/ 75 h 206"/>
                <a:gd name="T2" fmla="*/ 41 w 137"/>
                <a:gd name="T3" fmla="*/ 166 h 206"/>
                <a:gd name="T4" fmla="*/ 32 w 137"/>
                <a:gd name="T5" fmla="*/ 189 h 206"/>
                <a:gd name="T6" fmla="*/ 25 w 137"/>
                <a:gd name="T7" fmla="*/ 199 h 206"/>
                <a:gd name="T8" fmla="*/ 1 w 137"/>
                <a:gd name="T9" fmla="*/ 157 h 206"/>
                <a:gd name="T10" fmla="*/ 3 w 137"/>
                <a:gd name="T11" fmla="*/ 93 h 206"/>
                <a:gd name="T12" fmla="*/ 22 w 137"/>
                <a:gd name="T13" fmla="*/ 41 h 206"/>
                <a:gd name="T14" fmla="*/ 49 w 137"/>
                <a:gd name="T15" fmla="*/ 22 h 206"/>
                <a:gd name="T16" fmla="*/ 93 w 137"/>
                <a:gd name="T17" fmla="*/ 4 h 206"/>
                <a:gd name="T18" fmla="*/ 112 w 137"/>
                <a:gd name="T19" fmla="*/ 28 h 206"/>
                <a:gd name="T20" fmla="*/ 68 w 137"/>
                <a:gd name="T21" fmla="*/ 75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206">
                  <a:moveTo>
                    <a:pt x="68" y="75"/>
                  </a:moveTo>
                  <a:cubicBezTo>
                    <a:pt x="52" y="102"/>
                    <a:pt x="43" y="134"/>
                    <a:pt x="41" y="166"/>
                  </a:cubicBezTo>
                  <a:cubicBezTo>
                    <a:pt x="40" y="174"/>
                    <a:pt x="39" y="184"/>
                    <a:pt x="32" y="189"/>
                  </a:cubicBezTo>
                  <a:cubicBezTo>
                    <a:pt x="25" y="194"/>
                    <a:pt x="31" y="206"/>
                    <a:pt x="25" y="199"/>
                  </a:cubicBezTo>
                  <a:cubicBezTo>
                    <a:pt x="20" y="191"/>
                    <a:pt x="2" y="166"/>
                    <a:pt x="1" y="157"/>
                  </a:cubicBezTo>
                  <a:cubicBezTo>
                    <a:pt x="0" y="135"/>
                    <a:pt x="0" y="114"/>
                    <a:pt x="3" y="93"/>
                  </a:cubicBezTo>
                  <a:cubicBezTo>
                    <a:pt x="5" y="74"/>
                    <a:pt x="10" y="55"/>
                    <a:pt x="22" y="41"/>
                  </a:cubicBezTo>
                  <a:cubicBezTo>
                    <a:pt x="30" y="33"/>
                    <a:pt x="40" y="27"/>
                    <a:pt x="49" y="22"/>
                  </a:cubicBezTo>
                  <a:cubicBezTo>
                    <a:pt x="63" y="14"/>
                    <a:pt x="77" y="6"/>
                    <a:pt x="93" y="4"/>
                  </a:cubicBezTo>
                  <a:cubicBezTo>
                    <a:pt x="120" y="0"/>
                    <a:pt x="137" y="10"/>
                    <a:pt x="112" y="28"/>
                  </a:cubicBezTo>
                  <a:cubicBezTo>
                    <a:pt x="95" y="41"/>
                    <a:pt x="80" y="56"/>
                    <a:pt x="68" y="75"/>
                  </a:cubicBezTo>
                  <a:close/>
                </a:path>
              </a:pathLst>
            </a:custGeom>
            <a:solidFill>
              <a:srgbClr val="1A3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1" name="Freeform 76">
              <a:extLst>
                <a:ext uri="{FF2B5EF4-FFF2-40B4-BE49-F238E27FC236}">
                  <a16:creationId xmlns:a16="http://schemas.microsoft.com/office/drawing/2014/main" id="{0E47FB97-4C6D-4646-BF2D-103C1683D8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29508" y="3271838"/>
              <a:ext cx="361950" cy="515938"/>
            </a:xfrm>
            <a:custGeom>
              <a:avLst/>
              <a:gdLst>
                <a:gd name="T0" fmla="*/ 203 w 313"/>
                <a:gd name="T1" fmla="*/ 441 h 446"/>
                <a:gd name="T2" fmla="*/ 136 w 313"/>
                <a:gd name="T3" fmla="*/ 445 h 446"/>
                <a:gd name="T4" fmla="*/ 86 w 313"/>
                <a:gd name="T5" fmla="*/ 401 h 446"/>
                <a:gd name="T6" fmla="*/ 84 w 313"/>
                <a:gd name="T7" fmla="*/ 350 h 446"/>
                <a:gd name="T8" fmla="*/ 4 w 313"/>
                <a:gd name="T9" fmla="*/ 297 h 446"/>
                <a:gd name="T10" fmla="*/ 1 w 313"/>
                <a:gd name="T11" fmla="*/ 264 h 446"/>
                <a:gd name="T12" fmla="*/ 4 w 313"/>
                <a:gd name="T13" fmla="*/ 122 h 446"/>
                <a:gd name="T14" fmla="*/ 11 w 313"/>
                <a:gd name="T15" fmla="*/ 74 h 446"/>
                <a:gd name="T16" fmla="*/ 71 w 313"/>
                <a:gd name="T17" fmla="*/ 24 h 446"/>
                <a:gd name="T18" fmla="*/ 263 w 313"/>
                <a:gd name="T19" fmla="*/ 41 h 446"/>
                <a:gd name="T20" fmla="*/ 300 w 313"/>
                <a:gd name="T21" fmla="*/ 81 h 446"/>
                <a:gd name="T22" fmla="*/ 308 w 313"/>
                <a:gd name="T23" fmla="*/ 169 h 446"/>
                <a:gd name="T24" fmla="*/ 299 w 313"/>
                <a:gd name="T25" fmla="*/ 251 h 446"/>
                <a:gd name="T26" fmla="*/ 265 w 313"/>
                <a:gd name="T27" fmla="*/ 335 h 446"/>
                <a:gd name="T28" fmla="*/ 223 w 313"/>
                <a:gd name="T29" fmla="*/ 356 h 446"/>
                <a:gd name="T30" fmla="*/ 203 w 313"/>
                <a:gd name="T31" fmla="*/ 441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3" h="446">
                  <a:moveTo>
                    <a:pt x="203" y="441"/>
                  </a:moveTo>
                  <a:cubicBezTo>
                    <a:pt x="136" y="445"/>
                    <a:pt x="136" y="445"/>
                    <a:pt x="136" y="445"/>
                  </a:cubicBezTo>
                  <a:cubicBezTo>
                    <a:pt x="110" y="446"/>
                    <a:pt x="87" y="427"/>
                    <a:pt x="86" y="401"/>
                  </a:cubicBezTo>
                  <a:cubicBezTo>
                    <a:pt x="84" y="384"/>
                    <a:pt x="84" y="367"/>
                    <a:pt x="84" y="350"/>
                  </a:cubicBezTo>
                  <a:cubicBezTo>
                    <a:pt x="51" y="343"/>
                    <a:pt x="14" y="332"/>
                    <a:pt x="4" y="297"/>
                  </a:cubicBezTo>
                  <a:cubicBezTo>
                    <a:pt x="0" y="287"/>
                    <a:pt x="1" y="275"/>
                    <a:pt x="1" y="264"/>
                  </a:cubicBezTo>
                  <a:cubicBezTo>
                    <a:pt x="2" y="216"/>
                    <a:pt x="3" y="169"/>
                    <a:pt x="4" y="122"/>
                  </a:cubicBezTo>
                  <a:cubicBezTo>
                    <a:pt x="4" y="106"/>
                    <a:pt x="5" y="89"/>
                    <a:pt x="11" y="74"/>
                  </a:cubicBezTo>
                  <a:cubicBezTo>
                    <a:pt x="21" y="48"/>
                    <a:pt x="47" y="33"/>
                    <a:pt x="71" y="24"/>
                  </a:cubicBezTo>
                  <a:cubicBezTo>
                    <a:pt x="134" y="0"/>
                    <a:pt x="207" y="4"/>
                    <a:pt x="263" y="41"/>
                  </a:cubicBezTo>
                  <a:cubicBezTo>
                    <a:pt x="278" y="51"/>
                    <a:pt x="292" y="64"/>
                    <a:pt x="300" y="81"/>
                  </a:cubicBezTo>
                  <a:cubicBezTo>
                    <a:pt x="313" y="107"/>
                    <a:pt x="311" y="139"/>
                    <a:pt x="308" y="169"/>
                  </a:cubicBezTo>
                  <a:cubicBezTo>
                    <a:pt x="305" y="197"/>
                    <a:pt x="302" y="224"/>
                    <a:pt x="299" y="251"/>
                  </a:cubicBezTo>
                  <a:cubicBezTo>
                    <a:pt x="296" y="283"/>
                    <a:pt x="290" y="319"/>
                    <a:pt x="265" y="335"/>
                  </a:cubicBezTo>
                  <a:cubicBezTo>
                    <a:pt x="252" y="344"/>
                    <a:pt x="235" y="345"/>
                    <a:pt x="223" y="356"/>
                  </a:cubicBezTo>
                  <a:cubicBezTo>
                    <a:pt x="203" y="376"/>
                    <a:pt x="211" y="412"/>
                    <a:pt x="203" y="44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2" name="Freeform 77">
              <a:extLst>
                <a:ext uri="{FF2B5EF4-FFF2-40B4-BE49-F238E27FC236}">
                  <a16:creationId xmlns:a16="http://schemas.microsoft.com/office/drawing/2014/main" id="{93614712-62FB-4429-AB73-D4FC278A09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96171" y="3182938"/>
              <a:ext cx="434975" cy="355600"/>
            </a:xfrm>
            <a:custGeom>
              <a:avLst/>
              <a:gdLst>
                <a:gd name="T0" fmla="*/ 20 w 376"/>
                <a:gd name="T1" fmla="*/ 65 h 307"/>
                <a:gd name="T2" fmla="*/ 14 w 376"/>
                <a:gd name="T3" fmla="*/ 30 h 307"/>
                <a:gd name="T4" fmla="*/ 48 w 376"/>
                <a:gd name="T5" fmla="*/ 34 h 307"/>
                <a:gd name="T6" fmla="*/ 49 w 376"/>
                <a:gd name="T7" fmla="*/ 14 h 307"/>
                <a:gd name="T8" fmla="*/ 131 w 376"/>
                <a:gd name="T9" fmla="*/ 6 h 307"/>
                <a:gd name="T10" fmla="*/ 294 w 376"/>
                <a:gd name="T11" fmla="*/ 33 h 307"/>
                <a:gd name="T12" fmla="*/ 371 w 376"/>
                <a:gd name="T13" fmla="*/ 153 h 307"/>
                <a:gd name="T14" fmla="*/ 328 w 376"/>
                <a:gd name="T15" fmla="*/ 307 h 307"/>
                <a:gd name="T16" fmla="*/ 334 w 376"/>
                <a:gd name="T17" fmla="*/ 250 h 307"/>
                <a:gd name="T18" fmla="*/ 323 w 376"/>
                <a:gd name="T19" fmla="*/ 214 h 307"/>
                <a:gd name="T20" fmla="*/ 273 w 376"/>
                <a:gd name="T21" fmla="*/ 158 h 307"/>
                <a:gd name="T22" fmla="*/ 162 w 376"/>
                <a:gd name="T23" fmla="*/ 117 h 307"/>
                <a:gd name="T24" fmla="*/ 46 w 376"/>
                <a:gd name="T25" fmla="*/ 114 h 307"/>
                <a:gd name="T26" fmla="*/ 16 w 376"/>
                <a:gd name="T27" fmla="*/ 104 h 307"/>
                <a:gd name="T28" fmla="*/ 2 w 376"/>
                <a:gd name="T29" fmla="*/ 65 h 307"/>
                <a:gd name="T30" fmla="*/ 20 w 376"/>
                <a:gd name="T31" fmla="*/ 65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6" h="307">
                  <a:moveTo>
                    <a:pt x="20" y="65"/>
                  </a:moveTo>
                  <a:cubicBezTo>
                    <a:pt x="17" y="54"/>
                    <a:pt x="15" y="42"/>
                    <a:pt x="14" y="30"/>
                  </a:cubicBezTo>
                  <a:cubicBezTo>
                    <a:pt x="25" y="34"/>
                    <a:pt x="37" y="36"/>
                    <a:pt x="48" y="34"/>
                  </a:cubicBezTo>
                  <a:cubicBezTo>
                    <a:pt x="48" y="28"/>
                    <a:pt x="48" y="21"/>
                    <a:pt x="49" y="14"/>
                  </a:cubicBezTo>
                  <a:cubicBezTo>
                    <a:pt x="49" y="8"/>
                    <a:pt x="125" y="7"/>
                    <a:pt x="131" y="6"/>
                  </a:cubicBezTo>
                  <a:cubicBezTo>
                    <a:pt x="189" y="3"/>
                    <a:pt x="242" y="0"/>
                    <a:pt x="294" y="33"/>
                  </a:cubicBezTo>
                  <a:cubicBezTo>
                    <a:pt x="338" y="61"/>
                    <a:pt x="365" y="101"/>
                    <a:pt x="371" y="153"/>
                  </a:cubicBezTo>
                  <a:cubicBezTo>
                    <a:pt x="376" y="203"/>
                    <a:pt x="358" y="267"/>
                    <a:pt x="328" y="307"/>
                  </a:cubicBezTo>
                  <a:cubicBezTo>
                    <a:pt x="329" y="294"/>
                    <a:pt x="337" y="263"/>
                    <a:pt x="334" y="250"/>
                  </a:cubicBezTo>
                  <a:cubicBezTo>
                    <a:pt x="333" y="238"/>
                    <a:pt x="329" y="225"/>
                    <a:pt x="323" y="214"/>
                  </a:cubicBezTo>
                  <a:cubicBezTo>
                    <a:pt x="312" y="192"/>
                    <a:pt x="294" y="172"/>
                    <a:pt x="273" y="158"/>
                  </a:cubicBezTo>
                  <a:cubicBezTo>
                    <a:pt x="240" y="136"/>
                    <a:pt x="201" y="124"/>
                    <a:pt x="162" y="117"/>
                  </a:cubicBezTo>
                  <a:cubicBezTo>
                    <a:pt x="126" y="111"/>
                    <a:pt x="82" y="105"/>
                    <a:pt x="46" y="114"/>
                  </a:cubicBezTo>
                  <a:cubicBezTo>
                    <a:pt x="28" y="118"/>
                    <a:pt x="25" y="122"/>
                    <a:pt x="16" y="104"/>
                  </a:cubicBezTo>
                  <a:cubicBezTo>
                    <a:pt x="14" y="101"/>
                    <a:pt x="0" y="65"/>
                    <a:pt x="2" y="65"/>
                  </a:cubicBezTo>
                  <a:cubicBezTo>
                    <a:pt x="8" y="65"/>
                    <a:pt x="14" y="65"/>
                    <a:pt x="20" y="65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3" name="Freeform 78">
              <a:extLst>
                <a:ext uri="{FF2B5EF4-FFF2-40B4-BE49-F238E27FC236}">
                  <a16:creationId xmlns:a16="http://schemas.microsoft.com/office/drawing/2014/main" id="{68C94231-031C-4B2F-8A5E-DD7E641281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15208" y="5889625"/>
              <a:ext cx="138113" cy="246063"/>
            </a:xfrm>
            <a:custGeom>
              <a:avLst/>
              <a:gdLst>
                <a:gd name="T0" fmla="*/ 22 w 87"/>
                <a:gd name="T1" fmla="*/ 33 h 155"/>
                <a:gd name="T2" fmla="*/ 0 w 87"/>
                <a:gd name="T3" fmla="*/ 120 h 155"/>
                <a:gd name="T4" fmla="*/ 24 w 87"/>
                <a:gd name="T5" fmla="*/ 155 h 155"/>
                <a:gd name="T6" fmla="*/ 64 w 87"/>
                <a:gd name="T7" fmla="*/ 132 h 155"/>
                <a:gd name="T8" fmla="*/ 87 w 87"/>
                <a:gd name="T9" fmla="*/ 56 h 155"/>
                <a:gd name="T10" fmla="*/ 70 w 87"/>
                <a:gd name="T11" fmla="*/ 0 h 155"/>
                <a:gd name="T12" fmla="*/ 22 w 87"/>
                <a:gd name="T13" fmla="*/ 3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55">
                  <a:moveTo>
                    <a:pt x="22" y="33"/>
                  </a:moveTo>
                  <a:lnTo>
                    <a:pt x="0" y="120"/>
                  </a:lnTo>
                  <a:lnTo>
                    <a:pt x="24" y="155"/>
                  </a:lnTo>
                  <a:lnTo>
                    <a:pt x="64" y="132"/>
                  </a:lnTo>
                  <a:lnTo>
                    <a:pt x="87" y="56"/>
                  </a:lnTo>
                  <a:lnTo>
                    <a:pt x="70" y="0"/>
                  </a:lnTo>
                  <a:lnTo>
                    <a:pt x="22" y="33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4" name="Freeform 79">
              <a:extLst>
                <a:ext uri="{FF2B5EF4-FFF2-40B4-BE49-F238E27FC236}">
                  <a16:creationId xmlns:a16="http://schemas.microsoft.com/office/drawing/2014/main" id="{707D304E-3000-4372-ACB4-8595D3C6C8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783" y="5862638"/>
              <a:ext cx="139700" cy="247650"/>
            </a:xfrm>
            <a:custGeom>
              <a:avLst/>
              <a:gdLst>
                <a:gd name="T0" fmla="*/ 23 w 88"/>
                <a:gd name="T1" fmla="*/ 33 h 156"/>
                <a:gd name="T2" fmla="*/ 0 w 88"/>
                <a:gd name="T3" fmla="*/ 121 h 156"/>
                <a:gd name="T4" fmla="*/ 25 w 88"/>
                <a:gd name="T5" fmla="*/ 156 h 156"/>
                <a:gd name="T6" fmla="*/ 65 w 88"/>
                <a:gd name="T7" fmla="*/ 132 h 156"/>
                <a:gd name="T8" fmla="*/ 88 w 88"/>
                <a:gd name="T9" fmla="*/ 57 h 156"/>
                <a:gd name="T10" fmla="*/ 70 w 88"/>
                <a:gd name="T11" fmla="*/ 0 h 156"/>
                <a:gd name="T12" fmla="*/ 23 w 88"/>
                <a:gd name="T13" fmla="*/ 33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156">
                  <a:moveTo>
                    <a:pt x="23" y="33"/>
                  </a:moveTo>
                  <a:lnTo>
                    <a:pt x="0" y="121"/>
                  </a:lnTo>
                  <a:lnTo>
                    <a:pt x="25" y="156"/>
                  </a:lnTo>
                  <a:lnTo>
                    <a:pt x="65" y="132"/>
                  </a:lnTo>
                  <a:lnTo>
                    <a:pt x="88" y="57"/>
                  </a:lnTo>
                  <a:lnTo>
                    <a:pt x="70" y="0"/>
                  </a:lnTo>
                  <a:lnTo>
                    <a:pt x="23" y="33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5" name="Freeform 80">
              <a:extLst>
                <a:ext uri="{FF2B5EF4-FFF2-40B4-BE49-F238E27FC236}">
                  <a16:creationId xmlns:a16="http://schemas.microsoft.com/office/drawing/2014/main" id="{F5B39D23-3A1C-40BE-8D75-4FAFEDEA40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34233" y="4859338"/>
              <a:ext cx="465138" cy="1112838"/>
            </a:xfrm>
            <a:custGeom>
              <a:avLst/>
              <a:gdLst>
                <a:gd name="T0" fmla="*/ 383 w 402"/>
                <a:gd name="T1" fmla="*/ 137 h 961"/>
                <a:gd name="T2" fmla="*/ 330 w 402"/>
                <a:gd name="T3" fmla="*/ 48 h 961"/>
                <a:gd name="T4" fmla="*/ 135 w 402"/>
                <a:gd name="T5" fmla="*/ 20 h 961"/>
                <a:gd name="T6" fmla="*/ 28 w 402"/>
                <a:gd name="T7" fmla="*/ 109 h 961"/>
                <a:gd name="T8" fmla="*/ 0 w 402"/>
                <a:gd name="T9" fmla="*/ 218 h 961"/>
                <a:gd name="T10" fmla="*/ 26 w 402"/>
                <a:gd name="T11" fmla="*/ 321 h 961"/>
                <a:gd name="T12" fmla="*/ 182 w 402"/>
                <a:gd name="T13" fmla="*/ 961 h 961"/>
                <a:gd name="T14" fmla="*/ 270 w 402"/>
                <a:gd name="T15" fmla="*/ 948 h 961"/>
                <a:gd name="T16" fmla="*/ 276 w 402"/>
                <a:gd name="T17" fmla="*/ 294 h 961"/>
                <a:gd name="T18" fmla="*/ 383 w 402"/>
                <a:gd name="T19" fmla="*/ 137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2" h="961">
                  <a:moveTo>
                    <a:pt x="383" y="137"/>
                  </a:moveTo>
                  <a:cubicBezTo>
                    <a:pt x="374" y="107"/>
                    <a:pt x="359" y="61"/>
                    <a:pt x="330" y="48"/>
                  </a:cubicBezTo>
                  <a:cubicBezTo>
                    <a:pt x="267" y="22"/>
                    <a:pt x="199" y="0"/>
                    <a:pt x="135" y="20"/>
                  </a:cubicBezTo>
                  <a:cubicBezTo>
                    <a:pt x="91" y="33"/>
                    <a:pt x="52" y="65"/>
                    <a:pt x="28" y="109"/>
                  </a:cubicBezTo>
                  <a:cubicBezTo>
                    <a:pt x="10" y="141"/>
                    <a:pt x="0" y="180"/>
                    <a:pt x="0" y="218"/>
                  </a:cubicBezTo>
                  <a:cubicBezTo>
                    <a:pt x="0" y="255"/>
                    <a:pt x="18" y="286"/>
                    <a:pt x="26" y="321"/>
                  </a:cubicBezTo>
                  <a:cubicBezTo>
                    <a:pt x="78" y="534"/>
                    <a:pt x="130" y="748"/>
                    <a:pt x="182" y="961"/>
                  </a:cubicBezTo>
                  <a:cubicBezTo>
                    <a:pt x="270" y="948"/>
                    <a:pt x="270" y="948"/>
                    <a:pt x="270" y="948"/>
                  </a:cubicBezTo>
                  <a:cubicBezTo>
                    <a:pt x="276" y="294"/>
                    <a:pt x="276" y="294"/>
                    <a:pt x="276" y="294"/>
                  </a:cubicBezTo>
                  <a:cubicBezTo>
                    <a:pt x="312" y="257"/>
                    <a:pt x="402" y="198"/>
                    <a:pt x="383" y="13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6" name="Freeform 81">
              <a:extLst>
                <a:ext uri="{FF2B5EF4-FFF2-40B4-BE49-F238E27FC236}">
                  <a16:creationId xmlns:a16="http://schemas.microsoft.com/office/drawing/2014/main" id="{27B8DA00-BF54-4E1C-8116-7F885679FC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3958" y="4860925"/>
              <a:ext cx="422275" cy="1098550"/>
            </a:xfrm>
            <a:custGeom>
              <a:avLst/>
              <a:gdLst>
                <a:gd name="T0" fmla="*/ 359 w 365"/>
                <a:gd name="T1" fmla="*/ 235 h 949"/>
                <a:gd name="T2" fmla="*/ 365 w 365"/>
                <a:gd name="T3" fmla="*/ 166 h 949"/>
                <a:gd name="T4" fmla="*/ 358 w 365"/>
                <a:gd name="T5" fmla="*/ 113 h 949"/>
                <a:gd name="T6" fmla="*/ 326 w 365"/>
                <a:gd name="T7" fmla="*/ 67 h 949"/>
                <a:gd name="T8" fmla="*/ 154 w 365"/>
                <a:gd name="T9" fmla="*/ 15 h 949"/>
                <a:gd name="T10" fmla="*/ 77 w 365"/>
                <a:gd name="T11" fmla="*/ 53 h 949"/>
                <a:gd name="T12" fmla="*/ 4 w 365"/>
                <a:gd name="T13" fmla="*/ 124 h 949"/>
                <a:gd name="T14" fmla="*/ 0 w 365"/>
                <a:gd name="T15" fmla="*/ 133 h 949"/>
                <a:gd name="T16" fmla="*/ 5 w 365"/>
                <a:gd name="T17" fmla="*/ 139 h 949"/>
                <a:gd name="T18" fmla="*/ 82 w 365"/>
                <a:gd name="T19" fmla="*/ 260 h 949"/>
                <a:gd name="T20" fmla="*/ 104 w 365"/>
                <a:gd name="T21" fmla="*/ 433 h 949"/>
                <a:gd name="T22" fmla="*/ 111 w 365"/>
                <a:gd name="T23" fmla="*/ 644 h 949"/>
                <a:gd name="T24" fmla="*/ 122 w 365"/>
                <a:gd name="T25" fmla="*/ 936 h 949"/>
                <a:gd name="T26" fmla="*/ 222 w 365"/>
                <a:gd name="T27" fmla="*/ 949 h 949"/>
                <a:gd name="T28" fmla="*/ 274 w 365"/>
                <a:gd name="T29" fmla="*/ 680 h 949"/>
                <a:gd name="T30" fmla="*/ 348 w 365"/>
                <a:gd name="T31" fmla="*/ 302 h 949"/>
                <a:gd name="T32" fmla="*/ 359 w 365"/>
                <a:gd name="T33" fmla="*/ 235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5" h="949">
                  <a:moveTo>
                    <a:pt x="359" y="235"/>
                  </a:moveTo>
                  <a:cubicBezTo>
                    <a:pt x="362" y="212"/>
                    <a:pt x="364" y="189"/>
                    <a:pt x="365" y="166"/>
                  </a:cubicBezTo>
                  <a:cubicBezTo>
                    <a:pt x="365" y="148"/>
                    <a:pt x="364" y="130"/>
                    <a:pt x="358" y="113"/>
                  </a:cubicBezTo>
                  <a:cubicBezTo>
                    <a:pt x="352" y="94"/>
                    <a:pt x="339" y="80"/>
                    <a:pt x="326" y="67"/>
                  </a:cubicBezTo>
                  <a:cubicBezTo>
                    <a:pt x="278" y="22"/>
                    <a:pt x="216" y="0"/>
                    <a:pt x="154" y="15"/>
                  </a:cubicBezTo>
                  <a:cubicBezTo>
                    <a:pt x="127" y="22"/>
                    <a:pt x="101" y="36"/>
                    <a:pt x="77" y="53"/>
                  </a:cubicBezTo>
                  <a:cubicBezTo>
                    <a:pt x="50" y="72"/>
                    <a:pt x="24" y="95"/>
                    <a:pt x="4" y="124"/>
                  </a:cubicBezTo>
                  <a:cubicBezTo>
                    <a:pt x="2" y="126"/>
                    <a:pt x="0" y="130"/>
                    <a:pt x="0" y="133"/>
                  </a:cubicBezTo>
                  <a:cubicBezTo>
                    <a:pt x="1" y="136"/>
                    <a:pt x="3" y="137"/>
                    <a:pt x="5" y="139"/>
                  </a:cubicBezTo>
                  <a:cubicBezTo>
                    <a:pt x="39" y="171"/>
                    <a:pt x="65" y="214"/>
                    <a:pt x="82" y="260"/>
                  </a:cubicBezTo>
                  <a:cubicBezTo>
                    <a:pt x="102" y="317"/>
                    <a:pt x="101" y="373"/>
                    <a:pt x="104" y="433"/>
                  </a:cubicBezTo>
                  <a:cubicBezTo>
                    <a:pt x="106" y="503"/>
                    <a:pt x="109" y="573"/>
                    <a:pt x="111" y="644"/>
                  </a:cubicBezTo>
                  <a:cubicBezTo>
                    <a:pt x="115" y="741"/>
                    <a:pt x="119" y="839"/>
                    <a:pt x="122" y="936"/>
                  </a:cubicBezTo>
                  <a:cubicBezTo>
                    <a:pt x="222" y="949"/>
                    <a:pt x="222" y="949"/>
                    <a:pt x="222" y="949"/>
                  </a:cubicBezTo>
                  <a:cubicBezTo>
                    <a:pt x="239" y="859"/>
                    <a:pt x="257" y="770"/>
                    <a:pt x="274" y="680"/>
                  </a:cubicBezTo>
                  <a:cubicBezTo>
                    <a:pt x="299" y="554"/>
                    <a:pt x="323" y="428"/>
                    <a:pt x="348" y="302"/>
                  </a:cubicBezTo>
                  <a:cubicBezTo>
                    <a:pt x="352" y="280"/>
                    <a:pt x="356" y="258"/>
                    <a:pt x="359" y="235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7" name="Freeform 82">
              <a:extLst>
                <a:ext uri="{FF2B5EF4-FFF2-40B4-BE49-F238E27FC236}">
                  <a16:creationId xmlns:a16="http://schemas.microsoft.com/office/drawing/2014/main" id="{CD11807C-37DD-47C8-B89B-5F1E93BBC6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2883" y="3733800"/>
              <a:ext cx="392113" cy="585788"/>
            </a:xfrm>
            <a:custGeom>
              <a:avLst/>
              <a:gdLst>
                <a:gd name="T0" fmla="*/ 0 w 247"/>
                <a:gd name="T1" fmla="*/ 0 h 369"/>
                <a:gd name="T2" fmla="*/ 93 w 247"/>
                <a:gd name="T3" fmla="*/ 49 h 369"/>
                <a:gd name="T4" fmla="*/ 247 w 247"/>
                <a:gd name="T5" fmla="*/ 309 h 369"/>
                <a:gd name="T6" fmla="*/ 147 w 247"/>
                <a:gd name="T7" fmla="*/ 369 h 369"/>
                <a:gd name="T8" fmla="*/ 84 w 247"/>
                <a:gd name="T9" fmla="*/ 239 h 369"/>
                <a:gd name="T10" fmla="*/ 0 w 247"/>
                <a:gd name="T11" fmla="*/ 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7" h="369">
                  <a:moveTo>
                    <a:pt x="0" y="0"/>
                  </a:moveTo>
                  <a:lnTo>
                    <a:pt x="93" y="49"/>
                  </a:lnTo>
                  <a:lnTo>
                    <a:pt x="247" y="309"/>
                  </a:lnTo>
                  <a:lnTo>
                    <a:pt x="147" y="369"/>
                  </a:lnTo>
                  <a:lnTo>
                    <a:pt x="84" y="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8" name="Freeform 83">
              <a:extLst>
                <a:ext uri="{FF2B5EF4-FFF2-40B4-BE49-F238E27FC236}">
                  <a16:creationId xmlns:a16="http://schemas.microsoft.com/office/drawing/2014/main" id="{5B28E403-4EF4-4407-8EBD-1087E7362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65971" y="3765550"/>
              <a:ext cx="352425" cy="514350"/>
            </a:xfrm>
            <a:custGeom>
              <a:avLst/>
              <a:gdLst>
                <a:gd name="T0" fmla="*/ 222 w 222"/>
                <a:gd name="T1" fmla="*/ 0 h 324"/>
                <a:gd name="T2" fmla="*/ 143 w 222"/>
                <a:gd name="T3" fmla="*/ 29 h 324"/>
                <a:gd name="T4" fmla="*/ 0 w 222"/>
                <a:gd name="T5" fmla="*/ 260 h 324"/>
                <a:gd name="T6" fmla="*/ 164 w 222"/>
                <a:gd name="T7" fmla="*/ 324 h 324"/>
                <a:gd name="T8" fmla="*/ 222 w 222"/>
                <a:gd name="T9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324">
                  <a:moveTo>
                    <a:pt x="222" y="0"/>
                  </a:moveTo>
                  <a:lnTo>
                    <a:pt x="143" y="29"/>
                  </a:lnTo>
                  <a:lnTo>
                    <a:pt x="0" y="260"/>
                  </a:lnTo>
                  <a:lnTo>
                    <a:pt x="164" y="324"/>
                  </a:lnTo>
                  <a:lnTo>
                    <a:pt x="222" y="0"/>
                  </a:lnTo>
                  <a:close/>
                </a:path>
              </a:pathLst>
            </a:custGeom>
            <a:solidFill>
              <a:srgbClr val="D9D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49" name="Freeform 84">
              <a:extLst>
                <a:ext uri="{FF2B5EF4-FFF2-40B4-BE49-F238E27FC236}">
                  <a16:creationId xmlns:a16="http://schemas.microsoft.com/office/drawing/2014/main" id="{70634C6E-FDB8-4AC2-BBCD-34AE783597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96121" y="4198938"/>
              <a:ext cx="246063" cy="315913"/>
            </a:xfrm>
            <a:custGeom>
              <a:avLst/>
              <a:gdLst>
                <a:gd name="T0" fmla="*/ 18 w 155"/>
                <a:gd name="T1" fmla="*/ 199 h 199"/>
                <a:gd name="T2" fmla="*/ 79 w 155"/>
                <a:gd name="T3" fmla="*/ 182 h 199"/>
                <a:gd name="T4" fmla="*/ 155 w 155"/>
                <a:gd name="T5" fmla="*/ 34 h 199"/>
                <a:gd name="T6" fmla="*/ 76 w 155"/>
                <a:gd name="T7" fmla="*/ 0 h 199"/>
                <a:gd name="T8" fmla="*/ 0 w 155"/>
                <a:gd name="T9" fmla="*/ 146 h 199"/>
                <a:gd name="T10" fmla="*/ 18 w 155"/>
                <a:gd name="T11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5" h="199">
                  <a:moveTo>
                    <a:pt x="18" y="199"/>
                  </a:moveTo>
                  <a:lnTo>
                    <a:pt x="79" y="182"/>
                  </a:lnTo>
                  <a:lnTo>
                    <a:pt x="155" y="34"/>
                  </a:lnTo>
                  <a:lnTo>
                    <a:pt x="76" y="0"/>
                  </a:lnTo>
                  <a:lnTo>
                    <a:pt x="0" y="146"/>
                  </a:lnTo>
                  <a:lnTo>
                    <a:pt x="18" y="199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0" name="Freeform 85">
              <a:extLst>
                <a:ext uri="{FF2B5EF4-FFF2-40B4-BE49-F238E27FC236}">
                  <a16:creationId xmlns:a16="http://schemas.microsoft.com/office/drawing/2014/main" id="{422B7880-AF04-46D0-82C9-653506C3B6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21646" y="4217377"/>
              <a:ext cx="287338" cy="365125"/>
            </a:xfrm>
            <a:custGeom>
              <a:avLst/>
              <a:gdLst>
                <a:gd name="T0" fmla="*/ 84 w 181"/>
                <a:gd name="T1" fmla="*/ 0 h 230"/>
                <a:gd name="T2" fmla="*/ 181 w 181"/>
                <a:gd name="T3" fmla="*/ 167 h 230"/>
                <a:gd name="T4" fmla="*/ 151 w 181"/>
                <a:gd name="T5" fmla="*/ 230 h 230"/>
                <a:gd name="T6" fmla="*/ 91 w 181"/>
                <a:gd name="T7" fmla="*/ 210 h 230"/>
                <a:gd name="T8" fmla="*/ 0 w 181"/>
                <a:gd name="T9" fmla="*/ 46 h 230"/>
                <a:gd name="T10" fmla="*/ 84 w 181"/>
                <a:gd name="T11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1" h="230">
                  <a:moveTo>
                    <a:pt x="84" y="0"/>
                  </a:moveTo>
                  <a:lnTo>
                    <a:pt x="181" y="167"/>
                  </a:lnTo>
                  <a:lnTo>
                    <a:pt x="151" y="230"/>
                  </a:lnTo>
                  <a:lnTo>
                    <a:pt x="91" y="210"/>
                  </a:lnTo>
                  <a:lnTo>
                    <a:pt x="0" y="46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1" name="Freeform 86">
              <a:extLst>
                <a:ext uri="{FF2B5EF4-FFF2-40B4-BE49-F238E27FC236}">
                  <a16:creationId xmlns:a16="http://schemas.microsoft.com/office/drawing/2014/main" id="{F954991E-14AA-4583-A109-F24D6FED39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8346" y="4011613"/>
              <a:ext cx="374650" cy="376238"/>
            </a:xfrm>
            <a:custGeom>
              <a:avLst/>
              <a:gdLst>
                <a:gd name="T0" fmla="*/ 312 w 324"/>
                <a:gd name="T1" fmla="*/ 184 h 325"/>
                <a:gd name="T2" fmla="*/ 141 w 324"/>
                <a:gd name="T3" fmla="*/ 313 h 325"/>
                <a:gd name="T4" fmla="*/ 12 w 324"/>
                <a:gd name="T5" fmla="*/ 141 h 325"/>
                <a:gd name="T6" fmla="*/ 184 w 324"/>
                <a:gd name="T7" fmla="*/ 12 h 325"/>
                <a:gd name="T8" fmla="*/ 312 w 324"/>
                <a:gd name="T9" fmla="*/ 184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325">
                  <a:moveTo>
                    <a:pt x="312" y="184"/>
                  </a:moveTo>
                  <a:cubicBezTo>
                    <a:pt x="300" y="267"/>
                    <a:pt x="224" y="325"/>
                    <a:pt x="141" y="313"/>
                  </a:cubicBezTo>
                  <a:cubicBezTo>
                    <a:pt x="58" y="301"/>
                    <a:pt x="0" y="224"/>
                    <a:pt x="12" y="141"/>
                  </a:cubicBezTo>
                  <a:cubicBezTo>
                    <a:pt x="24" y="58"/>
                    <a:pt x="101" y="0"/>
                    <a:pt x="184" y="12"/>
                  </a:cubicBezTo>
                  <a:cubicBezTo>
                    <a:pt x="267" y="24"/>
                    <a:pt x="324" y="101"/>
                    <a:pt x="312" y="184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2" name="Freeform 87">
              <a:extLst>
                <a:ext uri="{FF2B5EF4-FFF2-40B4-BE49-F238E27FC236}">
                  <a16:creationId xmlns:a16="http://schemas.microsoft.com/office/drawing/2014/main" id="{511CF32F-E37C-4E1B-8818-381171100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7083" y="4070350"/>
              <a:ext cx="258763" cy="257175"/>
            </a:xfrm>
            <a:custGeom>
              <a:avLst/>
              <a:gdLst>
                <a:gd name="T0" fmla="*/ 214 w 223"/>
                <a:gd name="T1" fmla="*/ 126 h 223"/>
                <a:gd name="T2" fmla="*/ 96 w 223"/>
                <a:gd name="T3" fmla="*/ 215 h 223"/>
                <a:gd name="T4" fmla="*/ 8 w 223"/>
                <a:gd name="T5" fmla="*/ 96 h 223"/>
                <a:gd name="T6" fmla="*/ 126 w 223"/>
                <a:gd name="T7" fmla="*/ 8 h 223"/>
                <a:gd name="T8" fmla="*/ 214 w 223"/>
                <a:gd name="T9" fmla="*/ 12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223">
                  <a:moveTo>
                    <a:pt x="214" y="126"/>
                  </a:moveTo>
                  <a:cubicBezTo>
                    <a:pt x="206" y="183"/>
                    <a:pt x="153" y="223"/>
                    <a:pt x="96" y="215"/>
                  </a:cubicBezTo>
                  <a:cubicBezTo>
                    <a:pt x="39" y="206"/>
                    <a:pt x="0" y="153"/>
                    <a:pt x="8" y="96"/>
                  </a:cubicBezTo>
                  <a:cubicBezTo>
                    <a:pt x="16" y="39"/>
                    <a:pt x="69" y="0"/>
                    <a:pt x="126" y="8"/>
                  </a:cubicBezTo>
                  <a:cubicBezTo>
                    <a:pt x="183" y="16"/>
                    <a:pt x="223" y="69"/>
                    <a:pt x="214" y="126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3" name="Freeform 88">
              <a:extLst>
                <a:ext uri="{FF2B5EF4-FFF2-40B4-BE49-F238E27FC236}">
                  <a16:creationId xmlns:a16="http://schemas.microsoft.com/office/drawing/2014/main" id="{97A73E46-903C-4B52-B0ED-A3021ECF54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50258" y="4267200"/>
              <a:ext cx="138113" cy="642938"/>
            </a:xfrm>
            <a:custGeom>
              <a:avLst/>
              <a:gdLst>
                <a:gd name="T0" fmla="*/ 29 w 87"/>
                <a:gd name="T1" fmla="*/ 405 h 405"/>
                <a:gd name="T2" fmla="*/ 0 w 87"/>
                <a:gd name="T3" fmla="*/ 401 h 405"/>
                <a:gd name="T4" fmla="*/ 58 w 87"/>
                <a:gd name="T5" fmla="*/ 0 h 405"/>
                <a:gd name="T6" fmla="*/ 87 w 87"/>
                <a:gd name="T7" fmla="*/ 5 h 405"/>
                <a:gd name="T8" fmla="*/ 29 w 87"/>
                <a:gd name="T9" fmla="*/ 40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405">
                  <a:moveTo>
                    <a:pt x="29" y="405"/>
                  </a:moveTo>
                  <a:lnTo>
                    <a:pt x="0" y="401"/>
                  </a:lnTo>
                  <a:lnTo>
                    <a:pt x="58" y="0"/>
                  </a:lnTo>
                  <a:lnTo>
                    <a:pt x="87" y="5"/>
                  </a:lnTo>
                  <a:lnTo>
                    <a:pt x="29" y="40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4" name="Freeform 89">
              <a:extLst>
                <a:ext uri="{FF2B5EF4-FFF2-40B4-BE49-F238E27FC236}">
                  <a16:creationId xmlns:a16="http://schemas.microsoft.com/office/drawing/2014/main" id="{0216BDE4-A532-478B-B377-1D1DE603B8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50258" y="4267200"/>
              <a:ext cx="138113" cy="642938"/>
            </a:xfrm>
            <a:custGeom>
              <a:avLst/>
              <a:gdLst>
                <a:gd name="T0" fmla="*/ 29 w 87"/>
                <a:gd name="T1" fmla="*/ 405 h 405"/>
                <a:gd name="T2" fmla="*/ 0 w 87"/>
                <a:gd name="T3" fmla="*/ 401 h 405"/>
                <a:gd name="T4" fmla="*/ 58 w 87"/>
                <a:gd name="T5" fmla="*/ 0 h 405"/>
                <a:gd name="T6" fmla="*/ 87 w 87"/>
                <a:gd name="T7" fmla="*/ 5 h 405"/>
                <a:gd name="T8" fmla="*/ 29 w 87"/>
                <a:gd name="T9" fmla="*/ 40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405">
                  <a:moveTo>
                    <a:pt x="29" y="405"/>
                  </a:moveTo>
                  <a:lnTo>
                    <a:pt x="0" y="401"/>
                  </a:lnTo>
                  <a:lnTo>
                    <a:pt x="58" y="0"/>
                  </a:lnTo>
                  <a:lnTo>
                    <a:pt x="87" y="5"/>
                  </a:lnTo>
                  <a:lnTo>
                    <a:pt x="29" y="405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5" name="Freeform 90">
              <a:extLst>
                <a:ext uri="{FF2B5EF4-FFF2-40B4-BE49-F238E27FC236}">
                  <a16:creationId xmlns:a16="http://schemas.microsoft.com/office/drawing/2014/main" id="{3B172287-2EF8-4E52-B434-57628B38CE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29633" y="4159250"/>
              <a:ext cx="88900" cy="87313"/>
            </a:xfrm>
            <a:custGeom>
              <a:avLst/>
              <a:gdLst>
                <a:gd name="T0" fmla="*/ 73 w 76"/>
                <a:gd name="T1" fmla="*/ 43 h 76"/>
                <a:gd name="T2" fmla="*/ 33 w 76"/>
                <a:gd name="T3" fmla="*/ 73 h 76"/>
                <a:gd name="T4" fmla="*/ 3 w 76"/>
                <a:gd name="T5" fmla="*/ 33 h 76"/>
                <a:gd name="T6" fmla="*/ 43 w 76"/>
                <a:gd name="T7" fmla="*/ 3 h 76"/>
                <a:gd name="T8" fmla="*/ 73 w 76"/>
                <a:gd name="T9" fmla="*/ 4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76">
                  <a:moveTo>
                    <a:pt x="73" y="43"/>
                  </a:moveTo>
                  <a:cubicBezTo>
                    <a:pt x="70" y="63"/>
                    <a:pt x="52" y="76"/>
                    <a:pt x="33" y="73"/>
                  </a:cubicBezTo>
                  <a:cubicBezTo>
                    <a:pt x="13" y="70"/>
                    <a:pt x="0" y="52"/>
                    <a:pt x="3" y="33"/>
                  </a:cubicBezTo>
                  <a:cubicBezTo>
                    <a:pt x="5" y="13"/>
                    <a:pt x="23" y="0"/>
                    <a:pt x="43" y="3"/>
                  </a:cubicBezTo>
                  <a:cubicBezTo>
                    <a:pt x="63" y="5"/>
                    <a:pt x="76" y="24"/>
                    <a:pt x="73" y="43"/>
                  </a:cubicBezTo>
                </a:path>
              </a:pathLst>
            </a:custGeom>
            <a:solidFill>
              <a:srgbClr val="1A3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6" name="Freeform 91">
              <a:extLst>
                <a:ext uri="{FF2B5EF4-FFF2-40B4-BE49-F238E27FC236}">
                  <a16:creationId xmlns:a16="http://schemas.microsoft.com/office/drawing/2014/main" id="{70BE0D01-376A-4E17-8EA1-E0ECB5EDDC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05833" y="4370388"/>
              <a:ext cx="9525" cy="1588"/>
            </a:xfrm>
            <a:custGeom>
              <a:avLst/>
              <a:gdLst>
                <a:gd name="T0" fmla="*/ 8 w 8"/>
                <a:gd name="T1" fmla="*/ 0 h 2"/>
                <a:gd name="T2" fmla="*/ 0 w 8"/>
                <a:gd name="T3" fmla="*/ 2 h 2"/>
                <a:gd name="T4" fmla="*/ 0 w 8"/>
                <a:gd name="T5" fmla="*/ 2 h 2"/>
                <a:gd name="T6" fmla="*/ 8 w 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">
                  <a:moveTo>
                    <a:pt x="8" y="0"/>
                  </a:moveTo>
                  <a:cubicBezTo>
                    <a:pt x="5" y="1"/>
                    <a:pt x="3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" y="1"/>
                    <a:pt x="6" y="1"/>
                    <a:pt x="8" y="0"/>
                  </a:cubicBezTo>
                </a:path>
              </a:pathLst>
            </a:custGeom>
            <a:solidFill>
              <a:srgbClr val="0D55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7" name="Freeform 92">
              <a:extLst>
                <a:ext uri="{FF2B5EF4-FFF2-40B4-BE49-F238E27FC236}">
                  <a16:creationId xmlns:a16="http://schemas.microsoft.com/office/drawing/2014/main" id="{BAD160D1-8243-452B-9158-C1C0F73477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02658" y="4371975"/>
              <a:ext cx="3175" cy="0"/>
            </a:xfrm>
            <a:custGeom>
              <a:avLst/>
              <a:gdLst>
                <a:gd name="T0" fmla="*/ 3 w 3"/>
                <a:gd name="T1" fmla="*/ 0 w 3"/>
                <a:gd name="T2" fmla="*/ 3 w 3"/>
                <a:gd name="T3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3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8" name="Freeform 93">
              <a:extLst>
                <a:ext uri="{FF2B5EF4-FFF2-40B4-BE49-F238E27FC236}">
                  <a16:creationId xmlns:a16="http://schemas.microsoft.com/office/drawing/2014/main" id="{FEFBC82A-C57F-4113-B263-67F322F1CC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4083" y="4314825"/>
              <a:ext cx="41275" cy="58738"/>
            </a:xfrm>
            <a:custGeom>
              <a:avLst/>
              <a:gdLst>
                <a:gd name="T0" fmla="*/ 31 w 36"/>
                <a:gd name="T1" fmla="*/ 0 h 52"/>
                <a:gd name="T2" fmla="*/ 7 w 36"/>
                <a:gd name="T3" fmla="*/ 5 h 52"/>
                <a:gd name="T4" fmla="*/ 0 w 36"/>
                <a:gd name="T5" fmla="*/ 52 h 52"/>
                <a:gd name="T6" fmla="*/ 25 w 36"/>
                <a:gd name="T7" fmla="*/ 50 h 52"/>
                <a:gd name="T8" fmla="*/ 28 w 36"/>
                <a:gd name="T9" fmla="*/ 50 h 52"/>
                <a:gd name="T10" fmla="*/ 36 w 36"/>
                <a:gd name="T11" fmla="*/ 48 h 52"/>
                <a:gd name="T12" fmla="*/ 36 w 36"/>
                <a:gd name="T13" fmla="*/ 48 h 52"/>
                <a:gd name="T14" fmla="*/ 31 w 36"/>
                <a:gd name="T1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52">
                  <a:moveTo>
                    <a:pt x="31" y="0"/>
                  </a:moveTo>
                  <a:cubicBezTo>
                    <a:pt x="23" y="3"/>
                    <a:pt x="15" y="4"/>
                    <a:pt x="7" y="5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13" y="52"/>
                    <a:pt x="25" y="50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31" y="49"/>
                    <a:pt x="33" y="49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1" y="0"/>
                    <a:pt x="31" y="0"/>
                    <a:pt x="31" y="0"/>
                  </a:cubicBezTo>
                </a:path>
              </a:pathLst>
            </a:custGeom>
            <a:solidFill>
              <a:srgbClr val="172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59" name="Freeform 94">
              <a:extLst>
                <a:ext uri="{FF2B5EF4-FFF2-40B4-BE49-F238E27FC236}">
                  <a16:creationId xmlns:a16="http://schemas.microsoft.com/office/drawing/2014/main" id="{DE41E5DC-2CB4-4A30-86FC-57E399067A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82021" y="4233863"/>
              <a:ext cx="28575" cy="85725"/>
            </a:xfrm>
            <a:custGeom>
              <a:avLst/>
              <a:gdLst>
                <a:gd name="T0" fmla="*/ 16 w 24"/>
                <a:gd name="T1" fmla="*/ 0 h 74"/>
                <a:gd name="T2" fmla="*/ 10 w 24"/>
                <a:gd name="T3" fmla="*/ 4 h 74"/>
                <a:gd name="T4" fmla="*/ 5 w 24"/>
                <a:gd name="T5" fmla="*/ 35 h 74"/>
                <a:gd name="T6" fmla="*/ 5 w 24"/>
                <a:gd name="T7" fmla="*/ 35 h 74"/>
                <a:gd name="T8" fmla="*/ 0 w 24"/>
                <a:gd name="T9" fmla="*/ 74 h 74"/>
                <a:gd name="T10" fmla="*/ 24 w 24"/>
                <a:gd name="T11" fmla="*/ 69 h 74"/>
                <a:gd name="T12" fmla="*/ 16 w 24"/>
                <a:gd name="T13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74">
                  <a:moveTo>
                    <a:pt x="16" y="0"/>
                  </a:moveTo>
                  <a:cubicBezTo>
                    <a:pt x="14" y="2"/>
                    <a:pt x="12" y="3"/>
                    <a:pt x="10" y="4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8" y="73"/>
                    <a:pt x="16" y="72"/>
                    <a:pt x="24" y="69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C7C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0" name="Freeform 95">
              <a:extLst>
                <a:ext uri="{FF2B5EF4-FFF2-40B4-BE49-F238E27FC236}">
                  <a16:creationId xmlns:a16="http://schemas.microsoft.com/office/drawing/2014/main" id="{F696B99F-483E-441E-8CC9-1373AE08E9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4083" y="4275138"/>
              <a:ext cx="14288" cy="98425"/>
            </a:xfrm>
            <a:custGeom>
              <a:avLst/>
              <a:gdLst>
                <a:gd name="T0" fmla="*/ 12 w 12"/>
                <a:gd name="T1" fmla="*/ 0 h 86"/>
                <a:gd name="T2" fmla="*/ 0 w 12"/>
                <a:gd name="T3" fmla="*/ 86 h 86"/>
                <a:gd name="T4" fmla="*/ 0 w 12"/>
                <a:gd name="T5" fmla="*/ 86 h 86"/>
                <a:gd name="T6" fmla="*/ 7 w 12"/>
                <a:gd name="T7" fmla="*/ 39 h 86"/>
                <a:gd name="T8" fmla="*/ 12 w 12"/>
                <a:gd name="T9" fmla="*/ 0 h 86"/>
                <a:gd name="T10" fmla="*/ 12 w 12"/>
                <a:gd name="T11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86">
                  <a:moveTo>
                    <a:pt x="12" y="0"/>
                  </a:moveTo>
                  <a:cubicBezTo>
                    <a:pt x="0" y="86"/>
                    <a:pt x="0" y="86"/>
                    <a:pt x="0" y="86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1" name="Freeform 96">
              <a:extLst>
                <a:ext uri="{FF2B5EF4-FFF2-40B4-BE49-F238E27FC236}">
                  <a16:creationId xmlns:a16="http://schemas.microsoft.com/office/drawing/2014/main" id="{1C83E9AC-FCCE-40FE-8919-2F3CADB366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3133" y="4233863"/>
              <a:ext cx="7938" cy="4763"/>
            </a:xfrm>
            <a:custGeom>
              <a:avLst/>
              <a:gdLst>
                <a:gd name="T0" fmla="*/ 6 w 6"/>
                <a:gd name="T1" fmla="*/ 0 h 4"/>
                <a:gd name="T2" fmla="*/ 0 w 6"/>
                <a:gd name="T3" fmla="*/ 4 h 4"/>
                <a:gd name="T4" fmla="*/ 0 w 6"/>
                <a:gd name="T5" fmla="*/ 4 h 4"/>
                <a:gd name="T6" fmla="*/ 6 w 6"/>
                <a:gd name="T7" fmla="*/ 0 h 4"/>
                <a:gd name="T8" fmla="*/ 6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3"/>
                    <a:pt x="4" y="2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172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2" name="Freeform 97">
              <a:extLst>
                <a:ext uri="{FF2B5EF4-FFF2-40B4-BE49-F238E27FC236}">
                  <a16:creationId xmlns:a16="http://schemas.microsoft.com/office/drawing/2014/main" id="{CEF31BDA-96FD-4DAB-ABD9-76C10BE903A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13633" y="4679950"/>
              <a:ext cx="1027113" cy="736600"/>
            </a:xfrm>
            <a:custGeom>
              <a:avLst/>
              <a:gdLst>
                <a:gd name="T0" fmla="*/ 3 w 886"/>
                <a:gd name="T1" fmla="*/ 163 h 636"/>
                <a:gd name="T2" fmla="*/ 562 w 886"/>
                <a:gd name="T3" fmla="*/ 582 h 636"/>
                <a:gd name="T4" fmla="*/ 865 w 886"/>
                <a:gd name="T5" fmla="*/ 160 h 636"/>
                <a:gd name="T6" fmla="*/ 882 w 886"/>
                <a:gd name="T7" fmla="*/ 75 h 636"/>
                <a:gd name="T8" fmla="*/ 800 w 886"/>
                <a:gd name="T9" fmla="*/ 120 h 636"/>
                <a:gd name="T10" fmla="*/ 781 w 886"/>
                <a:gd name="T11" fmla="*/ 195 h 636"/>
                <a:gd name="T12" fmla="*/ 780 w 886"/>
                <a:gd name="T13" fmla="*/ 197 h 636"/>
                <a:gd name="T14" fmla="*/ 765 w 886"/>
                <a:gd name="T15" fmla="*/ 243 h 636"/>
                <a:gd name="T16" fmla="*/ 684 w 886"/>
                <a:gd name="T17" fmla="*/ 403 h 636"/>
                <a:gd name="T18" fmla="*/ 666 w 886"/>
                <a:gd name="T19" fmla="*/ 426 h 636"/>
                <a:gd name="T20" fmla="*/ 620 w 886"/>
                <a:gd name="T21" fmla="*/ 474 h 636"/>
                <a:gd name="T22" fmla="*/ 607 w 886"/>
                <a:gd name="T23" fmla="*/ 485 h 636"/>
                <a:gd name="T24" fmla="*/ 569 w 886"/>
                <a:gd name="T25" fmla="*/ 511 h 636"/>
                <a:gd name="T26" fmla="*/ 540 w 886"/>
                <a:gd name="T27" fmla="*/ 526 h 636"/>
                <a:gd name="T28" fmla="*/ 487 w 886"/>
                <a:gd name="T29" fmla="*/ 543 h 636"/>
                <a:gd name="T30" fmla="*/ 482 w 886"/>
                <a:gd name="T31" fmla="*/ 544 h 636"/>
                <a:gd name="T32" fmla="*/ 470 w 886"/>
                <a:gd name="T33" fmla="*/ 546 h 636"/>
                <a:gd name="T34" fmla="*/ 418 w 886"/>
                <a:gd name="T35" fmla="*/ 550 h 636"/>
                <a:gd name="T36" fmla="*/ 418 w 886"/>
                <a:gd name="T37" fmla="*/ 550 h 636"/>
                <a:gd name="T38" fmla="*/ 413 w 886"/>
                <a:gd name="T39" fmla="*/ 550 h 636"/>
                <a:gd name="T40" fmla="*/ 395 w 886"/>
                <a:gd name="T41" fmla="*/ 549 h 636"/>
                <a:gd name="T42" fmla="*/ 336 w 886"/>
                <a:gd name="T43" fmla="*/ 540 h 636"/>
                <a:gd name="T44" fmla="*/ 318 w 886"/>
                <a:gd name="T45" fmla="*/ 536 h 636"/>
                <a:gd name="T46" fmla="*/ 268 w 886"/>
                <a:gd name="T47" fmla="*/ 518 h 636"/>
                <a:gd name="T48" fmla="*/ 267 w 886"/>
                <a:gd name="T49" fmla="*/ 517 h 636"/>
                <a:gd name="T50" fmla="*/ 249 w 886"/>
                <a:gd name="T51" fmla="*/ 508 h 636"/>
                <a:gd name="T52" fmla="*/ 221 w 886"/>
                <a:gd name="T53" fmla="*/ 491 h 636"/>
                <a:gd name="T54" fmla="*/ 181 w 886"/>
                <a:gd name="T55" fmla="*/ 456 h 636"/>
                <a:gd name="T56" fmla="*/ 163 w 886"/>
                <a:gd name="T57" fmla="*/ 435 h 636"/>
                <a:gd name="T58" fmla="*/ 114 w 886"/>
                <a:gd name="T59" fmla="*/ 351 h 636"/>
                <a:gd name="T60" fmla="*/ 112 w 886"/>
                <a:gd name="T61" fmla="*/ 347 h 636"/>
                <a:gd name="T62" fmla="*/ 102 w 886"/>
                <a:gd name="T63" fmla="*/ 317 h 636"/>
                <a:gd name="T64" fmla="*/ 78 w 886"/>
                <a:gd name="T65" fmla="*/ 195 h 636"/>
                <a:gd name="T66" fmla="*/ 75 w 886"/>
                <a:gd name="T67" fmla="*/ 166 h 636"/>
                <a:gd name="T68" fmla="*/ 74 w 886"/>
                <a:gd name="T69" fmla="*/ 124 h 636"/>
                <a:gd name="T70" fmla="*/ 82 w 886"/>
                <a:gd name="T71" fmla="*/ 12 h 636"/>
                <a:gd name="T72" fmla="*/ 9 w 886"/>
                <a:gd name="T73" fmla="*/ 0 h 636"/>
                <a:gd name="T74" fmla="*/ 335 w 886"/>
                <a:gd name="T75" fmla="*/ 540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86" h="636">
                  <a:moveTo>
                    <a:pt x="9" y="0"/>
                  </a:moveTo>
                  <a:cubicBezTo>
                    <a:pt x="1" y="54"/>
                    <a:pt x="0" y="109"/>
                    <a:pt x="3" y="163"/>
                  </a:cubicBezTo>
                  <a:cubicBezTo>
                    <a:pt x="9" y="276"/>
                    <a:pt x="35" y="401"/>
                    <a:pt x="131" y="495"/>
                  </a:cubicBezTo>
                  <a:cubicBezTo>
                    <a:pt x="233" y="595"/>
                    <a:pt x="421" y="636"/>
                    <a:pt x="562" y="582"/>
                  </a:cubicBezTo>
                  <a:cubicBezTo>
                    <a:pt x="696" y="530"/>
                    <a:pt x="770" y="416"/>
                    <a:pt x="816" y="310"/>
                  </a:cubicBezTo>
                  <a:cubicBezTo>
                    <a:pt x="837" y="261"/>
                    <a:pt x="853" y="211"/>
                    <a:pt x="865" y="160"/>
                  </a:cubicBezTo>
                  <a:cubicBezTo>
                    <a:pt x="872" y="133"/>
                    <a:pt x="878" y="106"/>
                    <a:pt x="881" y="79"/>
                  </a:cubicBezTo>
                  <a:cubicBezTo>
                    <a:pt x="881" y="78"/>
                    <a:pt x="881" y="76"/>
                    <a:pt x="882" y="75"/>
                  </a:cubicBezTo>
                  <a:cubicBezTo>
                    <a:pt x="886" y="39"/>
                    <a:pt x="813" y="31"/>
                    <a:pt x="809" y="66"/>
                  </a:cubicBezTo>
                  <a:cubicBezTo>
                    <a:pt x="807" y="85"/>
                    <a:pt x="804" y="103"/>
                    <a:pt x="800" y="120"/>
                  </a:cubicBezTo>
                  <a:cubicBezTo>
                    <a:pt x="796" y="140"/>
                    <a:pt x="791" y="159"/>
                    <a:pt x="786" y="178"/>
                  </a:cubicBezTo>
                  <a:cubicBezTo>
                    <a:pt x="784" y="184"/>
                    <a:pt x="783" y="190"/>
                    <a:pt x="781" y="195"/>
                  </a:cubicBezTo>
                  <a:cubicBezTo>
                    <a:pt x="781" y="196"/>
                    <a:pt x="781" y="196"/>
                    <a:pt x="781" y="197"/>
                  </a:cubicBezTo>
                  <a:cubicBezTo>
                    <a:pt x="780" y="197"/>
                    <a:pt x="780" y="197"/>
                    <a:pt x="780" y="197"/>
                  </a:cubicBezTo>
                  <a:cubicBezTo>
                    <a:pt x="779" y="201"/>
                    <a:pt x="778" y="204"/>
                    <a:pt x="777" y="207"/>
                  </a:cubicBezTo>
                  <a:cubicBezTo>
                    <a:pt x="774" y="219"/>
                    <a:pt x="769" y="231"/>
                    <a:pt x="765" y="243"/>
                  </a:cubicBezTo>
                  <a:cubicBezTo>
                    <a:pt x="746" y="296"/>
                    <a:pt x="722" y="347"/>
                    <a:pt x="689" y="395"/>
                  </a:cubicBezTo>
                  <a:cubicBezTo>
                    <a:pt x="687" y="398"/>
                    <a:pt x="685" y="401"/>
                    <a:pt x="684" y="403"/>
                  </a:cubicBezTo>
                  <a:cubicBezTo>
                    <a:pt x="686" y="400"/>
                    <a:pt x="681" y="406"/>
                    <a:pt x="680" y="408"/>
                  </a:cubicBezTo>
                  <a:cubicBezTo>
                    <a:pt x="676" y="414"/>
                    <a:pt x="671" y="420"/>
                    <a:pt x="666" y="426"/>
                  </a:cubicBezTo>
                  <a:cubicBezTo>
                    <a:pt x="656" y="438"/>
                    <a:pt x="646" y="449"/>
                    <a:pt x="636" y="459"/>
                  </a:cubicBezTo>
                  <a:cubicBezTo>
                    <a:pt x="631" y="464"/>
                    <a:pt x="626" y="469"/>
                    <a:pt x="620" y="474"/>
                  </a:cubicBezTo>
                  <a:cubicBezTo>
                    <a:pt x="618" y="476"/>
                    <a:pt x="615" y="478"/>
                    <a:pt x="613" y="481"/>
                  </a:cubicBezTo>
                  <a:cubicBezTo>
                    <a:pt x="611" y="482"/>
                    <a:pt x="609" y="483"/>
                    <a:pt x="607" y="485"/>
                  </a:cubicBezTo>
                  <a:cubicBezTo>
                    <a:pt x="607" y="485"/>
                    <a:pt x="606" y="486"/>
                    <a:pt x="605" y="487"/>
                  </a:cubicBezTo>
                  <a:cubicBezTo>
                    <a:pt x="593" y="495"/>
                    <a:pt x="582" y="503"/>
                    <a:pt x="569" y="511"/>
                  </a:cubicBezTo>
                  <a:cubicBezTo>
                    <a:pt x="563" y="514"/>
                    <a:pt x="556" y="518"/>
                    <a:pt x="550" y="521"/>
                  </a:cubicBezTo>
                  <a:cubicBezTo>
                    <a:pt x="547" y="523"/>
                    <a:pt x="544" y="524"/>
                    <a:pt x="540" y="526"/>
                  </a:cubicBezTo>
                  <a:cubicBezTo>
                    <a:pt x="549" y="522"/>
                    <a:pt x="535" y="528"/>
                    <a:pt x="533" y="529"/>
                  </a:cubicBezTo>
                  <a:cubicBezTo>
                    <a:pt x="518" y="534"/>
                    <a:pt x="503" y="539"/>
                    <a:pt x="487" y="543"/>
                  </a:cubicBezTo>
                  <a:cubicBezTo>
                    <a:pt x="486" y="543"/>
                    <a:pt x="484" y="543"/>
                    <a:pt x="482" y="544"/>
                  </a:cubicBezTo>
                  <a:cubicBezTo>
                    <a:pt x="482" y="544"/>
                    <a:pt x="482" y="544"/>
                    <a:pt x="482" y="544"/>
                  </a:cubicBezTo>
                  <a:cubicBezTo>
                    <a:pt x="482" y="544"/>
                    <a:pt x="482" y="544"/>
                    <a:pt x="482" y="544"/>
                  </a:cubicBezTo>
                  <a:cubicBezTo>
                    <a:pt x="478" y="545"/>
                    <a:pt x="474" y="545"/>
                    <a:pt x="470" y="546"/>
                  </a:cubicBezTo>
                  <a:cubicBezTo>
                    <a:pt x="461" y="547"/>
                    <a:pt x="452" y="548"/>
                    <a:pt x="443" y="549"/>
                  </a:cubicBezTo>
                  <a:cubicBezTo>
                    <a:pt x="435" y="549"/>
                    <a:pt x="426" y="550"/>
                    <a:pt x="418" y="550"/>
                  </a:cubicBezTo>
                  <a:cubicBezTo>
                    <a:pt x="417" y="550"/>
                    <a:pt x="416" y="550"/>
                    <a:pt x="415" y="550"/>
                  </a:cubicBezTo>
                  <a:cubicBezTo>
                    <a:pt x="416" y="550"/>
                    <a:pt x="417" y="550"/>
                    <a:pt x="418" y="550"/>
                  </a:cubicBezTo>
                  <a:cubicBezTo>
                    <a:pt x="416" y="550"/>
                    <a:pt x="415" y="550"/>
                    <a:pt x="414" y="550"/>
                  </a:cubicBezTo>
                  <a:cubicBezTo>
                    <a:pt x="413" y="550"/>
                    <a:pt x="413" y="550"/>
                    <a:pt x="413" y="550"/>
                  </a:cubicBezTo>
                  <a:cubicBezTo>
                    <a:pt x="413" y="550"/>
                    <a:pt x="412" y="550"/>
                    <a:pt x="412" y="550"/>
                  </a:cubicBezTo>
                  <a:cubicBezTo>
                    <a:pt x="406" y="549"/>
                    <a:pt x="401" y="549"/>
                    <a:pt x="395" y="549"/>
                  </a:cubicBezTo>
                  <a:cubicBezTo>
                    <a:pt x="375" y="547"/>
                    <a:pt x="356" y="544"/>
                    <a:pt x="336" y="540"/>
                  </a:cubicBezTo>
                  <a:cubicBezTo>
                    <a:pt x="336" y="540"/>
                    <a:pt x="336" y="540"/>
                    <a:pt x="336" y="540"/>
                  </a:cubicBezTo>
                  <a:cubicBezTo>
                    <a:pt x="334" y="540"/>
                    <a:pt x="332" y="539"/>
                    <a:pt x="330" y="539"/>
                  </a:cubicBezTo>
                  <a:cubicBezTo>
                    <a:pt x="326" y="538"/>
                    <a:pt x="322" y="537"/>
                    <a:pt x="318" y="536"/>
                  </a:cubicBezTo>
                  <a:cubicBezTo>
                    <a:pt x="308" y="533"/>
                    <a:pt x="299" y="530"/>
                    <a:pt x="290" y="526"/>
                  </a:cubicBezTo>
                  <a:cubicBezTo>
                    <a:pt x="282" y="524"/>
                    <a:pt x="275" y="521"/>
                    <a:pt x="268" y="518"/>
                  </a:cubicBezTo>
                  <a:cubicBezTo>
                    <a:pt x="268" y="518"/>
                    <a:pt x="268" y="518"/>
                    <a:pt x="268" y="518"/>
                  </a:cubicBezTo>
                  <a:cubicBezTo>
                    <a:pt x="267" y="517"/>
                    <a:pt x="267" y="517"/>
                    <a:pt x="267" y="517"/>
                  </a:cubicBezTo>
                  <a:cubicBezTo>
                    <a:pt x="266" y="517"/>
                    <a:pt x="264" y="516"/>
                    <a:pt x="263" y="515"/>
                  </a:cubicBezTo>
                  <a:cubicBezTo>
                    <a:pt x="258" y="513"/>
                    <a:pt x="254" y="511"/>
                    <a:pt x="249" y="508"/>
                  </a:cubicBezTo>
                  <a:cubicBezTo>
                    <a:pt x="243" y="505"/>
                    <a:pt x="237" y="501"/>
                    <a:pt x="231" y="497"/>
                  </a:cubicBezTo>
                  <a:cubicBezTo>
                    <a:pt x="227" y="495"/>
                    <a:pt x="224" y="493"/>
                    <a:pt x="221" y="491"/>
                  </a:cubicBezTo>
                  <a:cubicBezTo>
                    <a:pt x="219" y="489"/>
                    <a:pt x="210" y="483"/>
                    <a:pt x="213" y="484"/>
                  </a:cubicBezTo>
                  <a:cubicBezTo>
                    <a:pt x="201" y="475"/>
                    <a:pt x="191" y="466"/>
                    <a:pt x="181" y="456"/>
                  </a:cubicBezTo>
                  <a:cubicBezTo>
                    <a:pt x="176" y="451"/>
                    <a:pt x="172" y="446"/>
                    <a:pt x="167" y="441"/>
                  </a:cubicBezTo>
                  <a:cubicBezTo>
                    <a:pt x="166" y="440"/>
                    <a:pt x="160" y="432"/>
                    <a:pt x="163" y="435"/>
                  </a:cubicBezTo>
                  <a:cubicBezTo>
                    <a:pt x="160" y="432"/>
                    <a:pt x="158" y="429"/>
                    <a:pt x="156" y="426"/>
                  </a:cubicBezTo>
                  <a:cubicBezTo>
                    <a:pt x="139" y="402"/>
                    <a:pt x="125" y="377"/>
                    <a:pt x="114" y="351"/>
                  </a:cubicBezTo>
                  <a:cubicBezTo>
                    <a:pt x="114" y="350"/>
                    <a:pt x="113" y="350"/>
                    <a:pt x="113" y="349"/>
                  </a:cubicBezTo>
                  <a:cubicBezTo>
                    <a:pt x="113" y="349"/>
                    <a:pt x="113" y="348"/>
                    <a:pt x="112" y="347"/>
                  </a:cubicBezTo>
                  <a:cubicBezTo>
                    <a:pt x="111" y="344"/>
                    <a:pt x="110" y="341"/>
                    <a:pt x="109" y="338"/>
                  </a:cubicBezTo>
                  <a:cubicBezTo>
                    <a:pt x="106" y="331"/>
                    <a:pt x="104" y="324"/>
                    <a:pt x="102" y="317"/>
                  </a:cubicBezTo>
                  <a:cubicBezTo>
                    <a:pt x="97" y="303"/>
                    <a:pt x="94" y="290"/>
                    <a:pt x="91" y="276"/>
                  </a:cubicBezTo>
                  <a:cubicBezTo>
                    <a:pt x="84" y="249"/>
                    <a:pt x="80" y="222"/>
                    <a:pt x="78" y="195"/>
                  </a:cubicBezTo>
                  <a:cubicBezTo>
                    <a:pt x="77" y="188"/>
                    <a:pt x="76" y="182"/>
                    <a:pt x="76" y="176"/>
                  </a:cubicBezTo>
                  <a:cubicBezTo>
                    <a:pt x="76" y="173"/>
                    <a:pt x="76" y="169"/>
                    <a:pt x="75" y="166"/>
                  </a:cubicBezTo>
                  <a:cubicBezTo>
                    <a:pt x="76" y="175"/>
                    <a:pt x="75" y="163"/>
                    <a:pt x="75" y="161"/>
                  </a:cubicBezTo>
                  <a:cubicBezTo>
                    <a:pt x="75" y="149"/>
                    <a:pt x="74" y="137"/>
                    <a:pt x="74" y="124"/>
                  </a:cubicBezTo>
                  <a:cubicBezTo>
                    <a:pt x="74" y="103"/>
                    <a:pt x="75" y="81"/>
                    <a:pt x="77" y="60"/>
                  </a:cubicBezTo>
                  <a:cubicBezTo>
                    <a:pt x="78" y="44"/>
                    <a:pt x="80" y="28"/>
                    <a:pt x="82" y="12"/>
                  </a:cubicBezTo>
                  <a:cubicBezTo>
                    <a:pt x="71" y="13"/>
                    <a:pt x="59" y="12"/>
                    <a:pt x="49" y="10"/>
                  </a:cubicBezTo>
                  <a:cubicBezTo>
                    <a:pt x="36" y="8"/>
                    <a:pt x="22" y="5"/>
                    <a:pt x="9" y="0"/>
                  </a:cubicBezTo>
                  <a:moveTo>
                    <a:pt x="335" y="540"/>
                  </a:moveTo>
                  <a:cubicBezTo>
                    <a:pt x="334" y="540"/>
                    <a:pt x="330" y="539"/>
                    <a:pt x="335" y="540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3" name="Freeform 98">
              <a:extLst>
                <a:ext uri="{FF2B5EF4-FFF2-40B4-BE49-F238E27FC236}">
                  <a16:creationId xmlns:a16="http://schemas.microsoft.com/office/drawing/2014/main" id="{00345779-9E47-445C-808C-BF60AB460A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8371" y="3690938"/>
              <a:ext cx="241300" cy="409575"/>
            </a:xfrm>
            <a:custGeom>
              <a:avLst/>
              <a:gdLst>
                <a:gd name="T0" fmla="*/ 188 w 208"/>
                <a:gd name="T1" fmla="*/ 19 h 354"/>
                <a:gd name="T2" fmla="*/ 67 w 208"/>
                <a:gd name="T3" fmla="*/ 1 h 354"/>
                <a:gd name="T4" fmla="*/ 49 w 208"/>
                <a:gd name="T5" fmla="*/ 15 h 354"/>
                <a:gd name="T6" fmla="*/ 9 w 208"/>
                <a:gd name="T7" fmla="*/ 290 h 354"/>
                <a:gd name="T8" fmla="*/ 3 w 208"/>
                <a:gd name="T9" fmla="*/ 329 h 354"/>
                <a:gd name="T10" fmla="*/ 35 w 208"/>
                <a:gd name="T11" fmla="*/ 334 h 354"/>
                <a:gd name="T12" fmla="*/ 75 w 208"/>
                <a:gd name="T13" fmla="*/ 58 h 354"/>
                <a:gd name="T14" fmla="*/ 78 w 208"/>
                <a:gd name="T15" fmla="*/ 35 h 354"/>
                <a:gd name="T16" fmla="*/ 183 w 208"/>
                <a:gd name="T17" fmla="*/ 51 h 354"/>
                <a:gd name="T18" fmla="*/ 188 w 208"/>
                <a:gd name="T19" fmla="*/ 19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8" h="354">
                  <a:moveTo>
                    <a:pt x="188" y="19"/>
                  </a:moveTo>
                  <a:cubicBezTo>
                    <a:pt x="147" y="13"/>
                    <a:pt x="107" y="7"/>
                    <a:pt x="67" y="1"/>
                  </a:cubicBezTo>
                  <a:cubicBezTo>
                    <a:pt x="58" y="0"/>
                    <a:pt x="50" y="6"/>
                    <a:pt x="49" y="15"/>
                  </a:cubicBezTo>
                  <a:cubicBezTo>
                    <a:pt x="35" y="107"/>
                    <a:pt x="22" y="198"/>
                    <a:pt x="9" y="290"/>
                  </a:cubicBezTo>
                  <a:cubicBezTo>
                    <a:pt x="7" y="303"/>
                    <a:pt x="5" y="316"/>
                    <a:pt x="3" y="329"/>
                  </a:cubicBezTo>
                  <a:cubicBezTo>
                    <a:pt x="0" y="350"/>
                    <a:pt x="32" y="354"/>
                    <a:pt x="35" y="334"/>
                  </a:cubicBezTo>
                  <a:cubicBezTo>
                    <a:pt x="48" y="242"/>
                    <a:pt x="62" y="150"/>
                    <a:pt x="75" y="58"/>
                  </a:cubicBezTo>
                  <a:cubicBezTo>
                    <a:pt x="76" y="51"/>
                    <a:pt x="77" y="43"/>
                    <a:pt x="78" y="35"/>
                  </a:cubicBezTo>
                  <a:cubicBezTo>
                    <a:pt x="113" y="40"/>
                    <a:pt x="148" y="46"/>
                    <a:pt x="183" y="51"/>
                  </a:cubicBezTo>
                  <a:cubicBezTo>
                    <a:pt x="204" y="54"/>
                    <a:pt x="208" y="22"/>
                    <a:pt x="188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4" name="Freeform 99">
              <a:extLst>
                <a:ext uri="{FF2B5EF4-FFF2-40B4-BE49-F238E27FC236}">
                  <a16:creationId xmlns:a16="http://schemas.microsoft.com/office/drawing/2014/main" id="{43E9CA5C-2723-4A2A-9170-C15BBA0897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39033" y="3694113"/>
              <a:ext cx="82550" cy="82550"/>
            </a:xfrm>
            <a:custGeom>
              <a:avLst/>
              <a:gdLst>
                <a:gd name="T0" fmla="*/ 41 w 71"/>
                <a:gd name="T1" fmla="*/ 70 h 71"/>
                <a:gd name="T2" fmla="*/ 0 w 71"/>
                <a:gd name="T3" fmla="*/ 64 h 71"/>
                <a:gd name="T4" fmla="*/ 9 w 71"/>
                <a:gd name="T5" fmla="*/ 0 h 71"/>
                <a:gd name="T6" fmla="*/ 50 w 71"/>
                <a:gd name="T7" fmla="*/ 6 h 71"/>
                <a:gd name="T8" fmla="*/ 70 w 71"/>
                <a:gd name="T9" fmla="*/ 32 h 71"/>
                <a:gd name="T10" fmla="*/ 67 w 71"/>
                <a:gd name="T11" fmla="*/ 50 h 71"/>
                <a:gd name="T12" fmla="*/ 41 w 71"/>
                <a:gd name="T13" fmla="*/ 7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71">
                  <a:moveTo>
                    <a:pt x="41" y="70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63" y="8"/>
                    <a:pt x="71" y="20"/>
                    <a:pt x="70" y="32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5" y="63"/>
                    <a:pt x="53" y="71"/>
                    <a:pt x="41" y="7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5" name="Freeform 100">
              <a:extLst>
                <a:ext uri="{FF2B5EF4-FFF2-40B4-BE49-F238E27FC236}">
                  <a16:creationId xmlns:a16="http://schemas.microsoft.com/office/drawing/2014/main" id="{D1A8D64F-87A6-4132-90A6-DCEC22A1C3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73946" y="3681413"/>
              <a:ext cx="82550" cy="92075"/>
            </a:xfrm>
            <a:custGeom>
              <a:avLst/>
              <a:gdLst>
                <a:gd name="T0" fmla="*/ 60 w 71"/>
                <a:gd name="T1" fmla="*/ 80 h 80"/>
                <a:gd name="T2" fmla="*/ 25 w 71"/>
                <a:gd name="T3" fmla="*/ 75 h 80"/>
                <a:gd name="T4" fmla="*/ 2 w 71"/>
                <a:gd name="T5" fmla="*/ 45 h 80"/>
                <a:gd name="T6" fmla="*/ 5 w 71"/>
                <a:gd name="T7" fmla="*/ 25 h 80"/>
                <a:gd name="T8" fmla="*/ 35 w 71"/>
                <a:gd name="T9" fmla="*/ 2 h 80"/>
                <a:gd name="T10" fmla="*/ 71 w 71"/>
                <a:gd name="T11" fmla="*/ 7 h 80"/>
                <a:gd name="T12" fmla="*/ 60 w 71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80">
                  <a:moveTo>
                    <a:pt x="60" y="80"/>
                  </a:moveTo>
                  <a:cubicBezTo>
                    <a:pt x="25" y="75"/>
                    <a:pt x="25" y="75"/>
                    <a:pt x="25" y="75"/>
                  </a:cubicBezTo>
                  <a:cubicBezTo>
                    <a:pt x="10" y="73"/>
                    <a:pt x="0" y="60"/>
                    <a:pt x="2" y="4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7" y="10"/>
                    <a:pt x="21" y="0"/>
                    <a:pt x="35" y="2"/>
                  </a:cubicBezTo>
                  <a:cubicBezTo>
                    <a:pt x="71" y="7"/>
                    <a:pt x="71" y="7"/>
                    <a:pt x="71" y="7"/>
                  </a:cubicBezTo>
                  <a:lnTo>
                    <a:pt x="60" y="80"/>
                  </a:ln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6" name="Freeform 101">
              <a:extLst>
                <a:ext uri="{FF2B5EF4-FFF2-40B4-BE49-F238E27FC236}">
                  <a16:creationId xmlns:a16="http://schemas.microsoft.com/office/drawing/2014/main" id="{EB92581B-1A96-4924-8A7A-25DAA0FE86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73996" y="3759200"/>
              <a:ext cx="184150" cy="431800"/>
            </a:xfrm>
            <a:custGeom>
              <a:avLst/>
              <a:gdLst>
                <a:gd name="T0" fmla="*/ 25 w 160"/>
                <a:gd name="T1" fmla="*/ 3 h 374"/>
                <a:gd name="T2" fmla="*/ 146 w 160"/>
                <a:gd name="T3" fmla="*/ 21 h 374"/>
                <a:gd name="T4" fmla="*/ 159 w 160"/>
                <a:gd name="T5" fmla="*/ 39 h 374"/>
                <a:gd name="T6" fmla="*/ 119 w 160"/>
                <a:gd name="T7" fmla="*/ 314 h 374"/>
                <a:gd name="T8" fmla="*/ 114 w 160"/>
                <a:gd name="T9" fmla="*/ 353 h 374"/>
                <a:gd name="T10" fmla="*/ 82 w 160"/>
                <a:gd name="T11" fmla="*/ 349 h 374"/>
                <a:gd name="T12" fmla="*/ 122 w 160"/>
                <a:gd name="T13" fmla="*/ 73 h 374"/>
                <a:gd name="T14" fmla="*/ 125 w 160"/>
                <a:gd name="T15" fmla="*/ 50 h 374"/>
                <a:gd name="T16" fmla="*/ 20 w 160"/>
                <a:gd name="T17" fmla="*/ 35 h 374"/>
                <a:gd name="T18" fmla="*/ 25 w 160"/>
                <a:gd name="T19" fmla="*/ 3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374">
                  <a:moveTo>
                    <a:pt x="25" y="3"/>
                  </a:moveTo>
                  <a:cubicBezTo>
                    <a:pt x="65" y="9"/>
                    <a:pt x="105" y="15"/>
                    <a:pt x="146" y="21"/>
                  </a:cubicBezTo>
                  <a:cubicBezTo>
                    <a:pt x="154" y="22"/>
                    <a:pt x="160" y="30"/>
                    <a:pt x="159" y="39"/>
                  </a:cubicBezTo>
                  <a:cubicBezTo>
                    <a:pt x="146" y="131"/>
                    <a:pt x="133" y="222"/>
                    <a:pt x="119" y="314"/>
                  </a:cubicBezTo>
                  <a:cubicBezTo>
                    <a:pt x="118" y="327"/>
                    <a:pt x="116" y="340"/>
                    <a:pt x="114" y="353"/>
                  </a:cubicBezTo>
                  <a:cubicBezTo>
                    <a:pt x="111" y="374"/>
                    <a:pt x="79" y="369"/>
                    <a:pt x="82" y="349"/>
                  </a:cubicBezTo>
                  <a:cubicBezTo>
                    <a:pt x="95" y="257"/>
                    <a:pt x="108" y="165"/>
                    <a:pt x="122" y="73"/>
                  </a:cubicBezTo>
                  <a:cubicBezTo>
                    <a:pt x="123" y="65"/>
                    <a:pt x="124" y="58"/>
                    <a:pt x="125" y="50"/>
                  </a:cubicBezTo>
                  <a:cubicBezTo>
                    <a:pt x="90" y="45"/>
                    <a:pt x="55" y="40"/>
                    <a:pt x="20" y="35"/>
                  </a:cubicBezTo>
                  <a:cubicBezTo>
                    <a:pt x="0" y="32"/>
                    <a:pt x="4" y="0"/>
                    <a:pt x="25" y="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7" name="Freeform 102">
              <a:extLst>
                <a:ext uri="{FF2B5EF4-FFF2-40B4-BE49-F238E27FC236}">
                  <a16:creationId xmlns:a16="http://schemas.microsoft.com/office/drawing/2014/main" id="{3BB740D4-37D2-46DF-B23B-008DB34B61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12083" y="3732213"/>
              <a:ext cx="82550" cy="82550"/>
            </a:xfrm>
            <a:custGeom>
              <a:avLst/>
              <a:gdLst>
                <a:gd name="T0" fmla="*/ 21 w 71"/>
                <a:gd name="T1" fmla="*/ 66 h 72"/>
                <a:gd name="T2" fmla="*/ 62 w 71"/>
                <a:gd name="T3" fmla="*/ 72 h 72"/>
                <a:gd name="T4" fmla="*/ 71 w 71"/>
                <a:gd name="T5" fmla="*/ 8 h 72"/>
                <a:gd name="T6" fmla="*/ 30 w 71"/>
                <a:gd name="T7" fmla="*/ 2 h 72"/>
                <a:gd name="T8" fmla="*/ 4 w 71"/>
                <a:gd name="T9" fmla="*/ 22 h 72"/>
                <a:gd name="T10" fmla="*/ 1 w 71"/>
                <a:gd name="T11" fmla="*/ 39 h 72"/>
                <a:gd name="T12" fmla="*/ 21 w 71"/>
                <a:gd name="T13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72">
                  <a:moveTo>
                    <a:pt x="21" y="66"/>
                  </a:moveTo>
                  <a:cubicBezTo>
                    <a:pt x="62" y="72"/>
                    <a:pt x="62" y="72"/>
                    <a:pt x="62" y="72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18" y="0"/>
                    <a:pt x="6" y="9"/>
                    <a:pt x="4" y="22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52"/>
                    <a:pt x="9" y="64"/>
                    <a:pt x="21" y="66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8" name="Freeform 103">
              <a:extLst>
                <a:ext uri="{FF2B5EF4-FFF2-40B4-BE49-F238E27FC236}">
                  <a16:creationId xmlns:a16="http://schemas.microsoft.com/office/drawing/2014/main" id="{A6782CA5-8213-4A18-9352-23464EC1A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77171" y="3733800"/>
              <a:ext cx="82550" cy="93663"/>
            </a:xfrm>
            <a:custGeom>
              <a:avLst/>
              <a:gdLst>
                <a:gd name="T0" fmla="*/ 0 w 71"/>
                <a:gd name="T1" fmla="*/ 74 h 81"/>
                <a:gd name="T2" fmla="*/ 36 w 71"/>
                <a:gd name="T3" fmla="*/ 79 h 81"/>
                <a:gd name="T4" fmla="*/ 66 w 71"/>
                <a:gd name="T5" fmla="*/ 56 h 81"/>
                <a:gd name="T6" fmla="*/ 69 w 71"/>
                <a:gd name="T7" fmla="*/ 36 h 81"/>
                <a:gd name="T8" fmla="*/ 46 w 71"/>
                <a:gd name="T9" fmla="*/ 5 h 81"/>
                <a:gd name="T10" fmla="*/ 11 w 71"/>
                <a:gd name="T11" fmla="*/ 0 h 81"/>
                <a:gd name="T12" fmla="*/ 0 w 71"/>
                <a:gd name="T13" fmla="*/ 7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81">
                  <a:moveTo>
                    <a:pt x="0" y="74"/>
                  </a:moveTo>
                  <a:cubicBezTo>
                    <a:pt x="36" y="79"/>
                    <a:pt x="36" y="79"/>
                    <a:pt x="36" y="79"/>
                  </a:cubicBezTo>
                  <a:cubicBezTo>
                    <a:pt x="50" y="81"/>
                    <a:pt x="64" y="71"/>
                    <a:pt x="66" y="56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71" y="21"/>
                    <a:pt x="61" y="8"/>
                    <a:pt x="46" y="5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0" y="74"/>
                  </a:ln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69" name="Freeform 104">
              <a:extLst>
                <a:ext uri="{FF2B5EF4-FFF2-40B4-BE49-F238E27FC236}">
                  <a16:creationId xmlns:a16="http://schemas.microsoft.com/office/drawing/2014/main" id="{2257AA29-345A-48AB-AAF2-ED9F075154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0946" y="4745038"/>
              <a:ext cx="3175" cy="46038"/>
            </a:xfrm>
            <a:custGeom>
              <a:avLst/>
              <a:gdLst>
                <a:gd name="T0" fmla="*/ 2 w 2"/>
                <a:gd name="T1" fmla="*/ 0 h 40"/>
                <a:gd name="T2" fmla="*/ 2 w 2"/>
                <a:gd name="T3" fmla="*/ 4 h 40"/>
                <a:gd name="T4" fmla="*/ 0 w 2"/>
                <a:gd name="T5" fmla="*/ 40 h 40"/>
                <a:gd name="T6" fmla="*/ 0 w 2"/>
                <a:gd name="T7" fmla="*/ 40 h 40"/>
                <a:gd name="T8" fmla="*/ 2 w 2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0">
                  <a:moveTo>
                    <a:pt x="2" y="0"/>
                  </a:moveTo>
                  <a:cubicBezTo>
                    <a:pt x="2" y="1"/>
                    <a:pt x="2" y="2"/>
                    <a:pt x="2" y="4"/>
                  </a:cubicBezTo>
                  <a:cubicBezTo>
                    <a:pt x="1" y="16"/>
                    <a:pt x="0" y="28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24"/>
                    <a:pt x="1" y="9"/>
                    <a:pt x="2" y="0"/>
                  </a:cubicBezTo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0" name="Freeform 105">
              <a:extLst>
                <a:ext uri="{FF2B5EF4-FFF2-40B4-BE49-F238E27FC236}">
                  <a16:creationId xmlns:a16="http://schemas.microsoft.com/office/drawing/2014/main" id="{A1624E97-46FB-4027-A540-CF4AC80B96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18396" y="4711700"/>
              <a:ext cx="85725" cy="79375"/>
            </a:xfrm>
            <a:custGeom>
              <a:avLst/>
              <a:gdLst>
                <a:gd name="T0" fmla="*/ 4 w 74"/>
                <a:gd name="T1" fmla="*/ 0 h 69"/>
                <a:gd name="T2" fmla="*/ 0 w 74"/>
                <a:gd name="T3" fmla="*/ 28 h 69"/>
                <a:gd name="T4" fmla="*/ 71 w 74"/>
                <a:gd name="T5" fmla="*/ 69 h 69"/>
                <a:gd name="T6" fmla="*/ 73 w 74"/>
                <a:gd name="T7" fmla="*/ 33 h 69"/>
                <a:gd name="T8" fmla="*/ 73 w 74"/>
                <a:gd name="T9" fmla="*/ 29 h 69"/>
                <a:gd name="T10" fmla="*/ 74 w 74"/>
                <a:gd name="T11" fmla="*/ 18 h 69"/>
                <a:gd name="T12" fmla="*/ 4 w 74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9">
                  <a:moveTo>
                    <a:pt x="4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57"/>
                    <a:pt x="72" y="45"/>
                    <a:pt x="73" y="33"/>
                  </a:cubicBezTo>
                  <a:cubicBezTo>
                    <a:pt x="73" y="31"/>
                    <a:pt x="73" y="30"/>
                    <a:pt x="73" y="29"/>
                  </a:cubicBezTo>
                  <a:cubicBezTo>
                    <a:pt x="74" y="22"/>
                    <a:pt x="74" y="18"/>
                    <a:pt x="74" y="18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172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1" name="Freeform 106">
              <a:extLst>
                <a:ext uri="{FF2B5EF4-FFF2-40B4-BE49-F238E27FC236}">
                  <a16:creationId xmlns:a16="http://schemas.microsoft.com/office/drawing/2014/main" id="{9C785B45-2C3B-46FF-B229-45E759ADAD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8208" y="4044950"/>
              <a:ext cx="733425" cy="730250"/>
            </a:xfrm>
            <a:custGeom>
              <a:avLst/>
              <a:gdLst>
                <a:gd name="T0" fmla="*/ 1 w 633"/>
                <a:gd name="T1" fmla="*/ 199 h 631"/>
                <a:gd name="T2" fmla="*/ 377 w 633"/>
                <a:gd name="T3" fmla="*/ 580 h 631"/>
                <a:gd name="T4" fmla="*/ 613 w 633"/>
                <a:gd name="T5" fmla="*/ 190 h 631"/>
                <a:gd name="T6" fmla="*/ 628 w 633"/>
                <a:gd name="T7" fmla="*/ 112 h 631"/>
                <a:gd name="T8" fmla="*/ 568 w 633"/>
                <a:gd name="T9" fmla="*/ 154 h 631"/>
                <a:gd name="T10" fmla="*/ 551 w 633"/>
                <a:gd name="T11" fmla="*/ 223 h 631"/>
                <a:gd name="T12" fmla="*/ 548 w 633"/>
                <a:gd name="T13" fmla="*/ 234 h 631"/>
                <a:gd name="T14" fmla="*/ 476 w 633"/>
                <a:gd name="T15" fmla="*/ 408 h 631"/>
                <a:gd name="T16" fmla="*/ 469 w 633"/>
                <a:gd name="T17" fmla="*/ 419 h 631"/>
                <a:gd name="T18" fmla="*/ 435 w 633"/>
                <a:gd name="T19" fmla="*/ 467 h 631"/>
                <a:gd name="T20" fmla="*/ 418 w 633"/>
                <a:gd name="T21" fmla="*/ 487 h 631"/>
                <a:gd name="T22" fmla="*/ 413 w 633"/>
                <a:gd name="T23" fmla="*/ 491 h 631"/>
                <a:gd name="T24" fmla="*/ 371 w 633"/>
                <a:gd name="T25" fmla="*/ 524 h 631"/>
                <a:gd name="T26" fmla="*/ 359 w 633"/>
                <a:gd name="T27" fmla="*/ 531 h 631"/>
                <a:gd name="T28" fmla="*/ 322 w 633"/>
                <a:gd name="T29" fmla="*/ 546 h 631"/>
                <a:gd name="T30" fmla="*/ 314 w 633"/>
                <a:gd name="T31" fmla="*/ 548 h 631"/>
                <a:gd name="T32" fmla="*/ 276 w 633"/>
                <a:gd name="T33" fmla="*/ 552 h 631"/>
                <a:gd name="T34" fmla="*/ 272 w 633"/>
                <a:gd name="T35" fmla="*/ 551 h 631"/>
                <a:gd name="T36" fmla="*/ 218 w 633"/>
                <a:gd name="T37" fmla="*/ 543 h 631"/>
                <a:gd name="T38" fmla="*/ 214 w 633"/>
                <a:gd name="T39" fmla="*/ 542 h 631"/>
                <a:gd name="T40" fmla="*/ 186 w 633"/>
                <a:gd name="T41" fmla="*/ 531 h 631"/>
                <a:gd name="T42" fmla="*/ 171 w 633"/>
                <a:gd name="T43" fmla="*/ 523 h 631"/>
                <a:gd name="T44" fmla="*/ 159 w 633"/>
                <a:gd name="T45" fmla="*/ 515 h 631"/>
                <a:gd name="T46" fmla="*/ 139 w 633"/>
                <a:gd name="T47" fmla="*/ 499 h 631"/>
                <a:gd name="T48" fmla="*/ 113 w 633"/>
                <a:gd name="T49" fmla="*/ 467 h 631"/>
                <a:gd name="T50" fmla="*/ 102 w 633"/>
                <a:gd name="T51" fmla="*/ 450 h 631"/>
                <a:gd name="T52" fmla="*/ 70 w 633"/>
                <a:gd name="T53" fmla="*/ 371 h 631"/>
                <a:gd name="T54" fmla="*/ 69 w 633"/>
                <a:gd name="T55" fmla="*/ 367 h 631"/>
                <a:gd name="T56" fmla="*/ 63 w 633"/>
                <a:gd name="T57" fmla="*/ 340 h 631"/>
                <a:gd name="T58" fmla="*/ 52 w 633"/>
                <a:gd name="T59" fmla="*/ 228 h 631"/>
                <a:gd name="T60" fmla="*/ 52 w 633"/>
                <a:gd name="T61" fmla="*/ 202 h 631"/>
                <a:gd name="T62" fmla="*/ 53 w 633"/>
                <a:gd name="T63" fmla="*/ 163 h 631"/>
                <a:gd name="T64" fmla="*/ 68 w 633"/>
                <a:gd name="T65" fmla="*/ 35 h 631"/>
                <a:gd name="T66" fmla="*/ 47 w 633"/>
                <a:gd name="T67" fmla="*/ 2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33" h="631">
                  <a:moveTo>
                    <a:pt x="18" y="24"/>
                  </a:moveTo>
                  <a:cubicBezTo>
                    <a:pt x="6" y="81"/>
                    <a:pt x="1" y="141"/>
                    <a:pt x="1" y="199"/>
                  </a:cubicBezTo>
                  <a:cubicBezTo>
                    <a:pt x="0" y="303"/>
                    <a:pt x="12" y="418"/>
                    <a:pt x="75" y="503"/>
                  </a:cubicBezTo>
                  <a:cubicBezTo>
                    <a:pt x="143" y="594"/>
                    <a:pt x="274" y="631"/>
                    <a:pt x="377" y="580"/>
                  </a:cubicBezTo>
                  <a:cubicBezTo>
                    <a:pt x="475" y="531"/>
                    <a:pt x="532" y="426"/>
                    <a:pt x="570" y="328"/>
                  </a:cubicBezTo>
                  <a:cubicBezTo>
                    <a:pt x="587" y="283"/>
                    <a:pt x="601" y="237"/>
                    <a:pt x="613" y="190"/>
                  </a:cubicBezTo>
                  <a:cubicBezTo>
                    <a:pt x="618" y="165"/>
                    <a:pt x="624" y="140"/>
                    <a:pt x="628" y="115"/>
                  </a:cubicBezTo>
                  <a:cubicBezTo>
                    <a:pt x="628" y="114"/>
                    <a:pt x="628" y="113"/>
                    <a:pt x="628" y="112"/>
                  </a:cubicBezTo>
                  <a:cubicBezTo>
                    <a:pt x="633" y="79"/>
                    <a:pt x="582" y="72"/>
                    <a:pt x="577" y="104"/>
                  </a:cubicBezTo>
                  <a:cubicBezTo>
                    <a:pt x="575" y="121"/>
                    <a:pt x="572" y="138"/>
                    <a:pt x="568" y="154"/>
                  </a:cubicBezTo>
                  <a:cubicBezTo>
                    <a:pt x="564" y="172"/>
                    <a:pt x="560" y="190"/>
                    <a:pt x="555" y="208"/>
                  </a:cubicBezTo>
                  <a:cubicBezTo>
                    <a:pt x="554" y="213"/>
                    <a:pt x="552" y="218"/>
                    <a:pt x="551" y="223"/>
                  </a:cubicBezTo>
                  <a:cubicBezTo>
                    <a:pt x="549" y="230"/>
                    <a:pt x="552" y="219"/>
                    <a:pt x="550" y="225"/>
                  </a:cubicBezTo>
                  <a:cubicBezTo>
                    <a:pt x="550" y="228"/>
                    <a:pt x="549" y="231"/>
                    <a:pt x="548" y="234"/>
                  </a:cubicBezTo>
                  <a:cubicBezTo>
                    <a:pt x="545" y="245"/>
                    <a:pt x="541" y="256"/>
                    <a:pt x="537" y="267"/>
                  </a:cubicBezTo>
                  <a:cubicBezTo>
                    <a:pt x="521" y="316"/>
                    <a:pt x="502" y="363"/>
                    <a:pt x="476" y="408"/>
                  </a:cubicBezTo>
                  <a:cubicBezTo>
                    <a:pt x="475" y="410"/>
                    <a:pt x="473" y="413"/>
                    <a:pt x="471" y="416"/>
                  </a:cubicBezTo>
                  <a:cubicBezTo>
                    <a:pt x="474" y="411"/>
                    <a:pt x="470" y="418"/>
                    <a:pt x="469" y="419"/>
                  </a:cubicBezTo>
                  <a:cubicBezTo>
                    <a:pt x="465" y="425"/>
                    <a:pt x="462" y="431"/>
                    <a:pt x="458" y="436"/>
                  </a:cubicBezTo>
                  <a:cubicBezTo>
                    <a:pt x="451" y="447"/>
                    <a:pt x="443" y="457"/>
                    <a:pt x="435" y="467"/>
                  </a:cubicBezTo>
                  <a:cubicBezTo>
                    <a:pt x="431" y="472"/>
                    <a:pt x="427" y="476"/>
                    <a:pt x="423" y="480"/>
                  </a:cubicBezTo>
                  <a:cubicBezTo>
                    <a:pt x="421" y="483"/>
                    <a:pt x="420" y="485"/>
                    <a:pt x="418" y="487"/>
                  </a:cubicBezTo>
                  <a:cubicBezTo>
                    <a:pt x="416" y="488"/>
                    <a:pt x="415" y="489"/>
                    <a:pt x="414" y="491"/>
                  </a:cubicBezTo>
                  <a:cubicBezTo>
                    <a:pt x="413" y="492"/>
                    <a:pt x="408" y="496"/>
                    <a:pt x="413" y="491"/>
                  </a:cubicBezTo>
                  <a:cubicBezTo>
                    <a:pt x="404" y="500"/>
                    <a:pt x="395" y="507"/>
                    <a:pt x="385" y="515"/>
                  </a:cubicBezTo>
                  <a:cubicBezTo>
                    <a:pt x="381" y="518"/>
                    <a:pt x="376" y="521"/>
                    <a:pt x="371" y="524"/>
                  </a:cubicBezTo>
                  <a:cubicBezTo>
                    <a:pt x="369" y="526"/>
                    <a:pt x="366" y="527"/>
                    <a:pt x="364" y="528"/>
                  </a:cubicBezTo>
                  <a:cubicBezTo>
                    <a:pt x="370" y="525"/>
                    <a:pt x="361" y="530"/>
                    <a:pt x="359" y="531"/>
                  </a:cubicBezTo>
                  <a:cubicBezTo>
                    <a:pt x="348" y="537"/>
                    <a:pt x="337" y="541"/>
                    <a:pt x="326" y="545"/>
                  </a:cubicBezTo>
                  <a:cubicBezTo>
                    <a:pt x="324" y="545"/>
                    <a:pt x="323" y="545"/>
                    <a:pt x="322" y="546"/>
                  </a:cubicBezTo>
                  <a:cubicBezTo>
                    <a:pt x="316" y="548"/>
                    <a:pt x="328" y="544"/>
                    <a:pt x="322" y="546"/>
                  </a:cubicBezTo>
                  <a:cubicBezTo>
                    <a:pt x="319" y="546"/>
                    <a:pt x="316" y="547"/>
                    <a:pt x="314" y="548"/>
                  </a:cubicBezTo>
                  <a:cubicBezTo>
                    <a:pt x="307" y="549"/>
                    <a:pt x="301" y="550"/>
                    <a:pt x="294" y="551"/>
                  </a:cubicBezTo>
                  <a:cubicBezTo>
                    <a:pt x="288" y="551"/>
                    <a:pt x="282" y="551"/>
                    <a:pt x="276" y="552"/>
                  </a:cubicBezTo>
                  <a:cubicBezTo>
                    <a:pt x="274" y="552"/>
                    <a:pt x="270" y="551"/>
                    <a:pt x="276" y="552"/>
                  </a:cubicBezTo>
                  <a:cubicBezTo>
                    <a:pt x="275" y="552"/>
                    <a:pt x="273" y="552"/>
                    <a:pt x="272" y="551"/>
                  </a:cubicBezTo>
                  <a:cubicBezTo>
                    <a:pt x="268" y="551"/>
                    <a:pt x="264" y="551"/>
                    <a:pt x="260" y="551"/>
                  </a:cubicBezTo>
                  <a:cubicBezTo>
                    <a:pt x="246" y="549"/>
                    <a:pt x="232" y="547"/>
                    <a:pt x="218" y="543"/>
                  </a:cubicBezTo>
                  <a:cubicBezTo>
                    <a:pt x="217" y="543"/>
                    <a:pt x="214" y="542"/>
                    <a:pt x="219" y="544"/>
                  </a:cubicBezTo>
                  <a:cubicBezTo>
                    <a:pt x="218" y="543"/>
                    <a:pt x="216" y="543"/>
                    <a:pt x="214" y="542"/>
                  </a:cubicBezTo>
                  <a:cubicBezTo>
                    <a:pt x="212" y="541"/>
                    <a:pt x="209" y="540"/>
                    <a:pt x="206" y="539"/>
                  </a:cubicBezTo>
                  <a:cubicBezTo>
                    <a:pt x="199" y="537"/>
                    <a:pt x="193" y="534"/>
                    <a:pt x="186" y="531"/>
                  </a:cubicBezTo>
                  <a:cubicBezTo>
                    <a:pt x="181" y="529"/>
                    <a:pt x="176" y="526"/>
                    <a:pt x="171" y="523"/>
                  </a:cubicBezTo>
                  <a:cubicBezTo>
                    <a:pt x="166" y="520"/>
                    <a:pt x="176" y="526"/>
                    <a:pt x="171" y="523"/>
                  </a:cubicBezTo>
                  <a:cubicBezTo>
                    <a:pt x="170" y="522"/>
                    <a:pt x="169" y="522"/>
                    <a:pt x="168" y="521"/>
                  </a:cubicBezTo>
                  <a:cubicBezTo>
                    <a:pt x="165" y="519"/>
                    <a:pt x="162" y="517"/>
                    <a:pt x="159" y="515"/>
                  </a:cubicBezTo>
                  <a:cubicBezTo>
                    <a:pt x="154" y="511"/>
                    <a:pt x="150" y="508"/>
                    <a:pt x="146" y="505"/>
                  </a:cubicBezTo>
                  <a:cubicBezTo>
                    <a:pt x="144" y="503"/>
                    <a:pt x="141" y="501"/>
                    <a:pt x="139" y="499"/>
                  </a:cubicBezTo>
                  <a:cubicBezTo>
                    <a:pt x="138" y="497"/>
                    <a:pt x="130" y="489"/>
                    <a:pt x="135" y="494"/>
                  </a:cubicBezTo>
                  <a:cubicBezTo>
                    <a:pt x="127" y="486"/>
                    <a:pt x="119" y="477"/>
                    <a:pt x="113" y="467"/>
                  </a:cubicBezTo>
                  <a:cubicBezTo>
                    <a:pt x="109" y="462"/>
                    <a:pt x="107" y="458"/>
                    <a:pt x="104" y="453"/>
                  </a:cubicBezTo>
                  <a:cubicBezTo>
                    <a:pt x="103" y="452"/>
                    <a:pt x="98" y="443"/>
                    <a:pt x="102" y="450"/>
                  </a:cubicBezTo>
                  <a:cubicBezTo>
                    <a:pt x="100" y="447"/>
                    <a:pt x="98" y="443"/>
                    <a:pt x="96" y="440"/>
                  </a:cubicBezTo>
                  <a:cubicBezTo>
                    <a:pt x="85" y="418"/>
                    <a:pt x="77" y="395"/>
                    <a:pt x="70" y="371"/>
                  </a:cubicBezTo>
                  <a:cubicBezTo>
                    <a:pt x="70" y="370"/>
                    <a:pt x="70" y="369"/>
                    <a:pt x="69" y="367"/>
                  </a:cubicBezTo>
                  <a:cubicBezTo>
                    <a:pt x="71" y="373"/>
                    <a:pt x="70" y="369"/>
                    <a:pt x="69" y="367"/>
                  </a:cubicBezTo>
                  <a:cubicBezTo>
                    <a:pt x="69" y="365"/>
                    <a:pt x="68" y="362"/>
                    <a:pt x="67" y="359"/>
                  </a:cubicBezTo>
                  <a:cubicBezTo>
                    <a:pt x="66" y="353"/>
                    <a:pt x="64" y="346"/>
                    <a:pt x="63" y="340"/>
                  </a:cubicBezTo>
                  <a:cubicBezTo>
                    <a:pt x="61" y="327"/>
                    <a:pt x="59" y="315"/>
                    <a:pt x="57" y="302"/>
                  </a:cubicBezTo>
                  <a:cubicBezTo>
                    <a:pt x="54" y="277"/>
                    <a:pt x="53" y="253"/>
                    <a:pt x="52" y="228"/>
                  </a:cubicBezTo>
                  <a:cubicBezTo>
                    <a:pt x="52" y="222"/>
                    <a:pt x="52" y="216"/>
                    <a:pt x="52" y="210"/>
                  </a:cubicBezTo>
                  <a:cubicBezTo>
                    <a:pt x="52" y="207"/>
                    <a:pt x="52" y="204"/>
                    <a:pt x="52" y="202"/>
                  </a:cubicBezTo>
                  <a:cubicBezTo>
                    <a:pt x="52" y="209"/>
                    <a:pt x="52" y="199"/>
                    <a:pt x="52" y="197"/>
                  </a:cubicBezTo>
                  <a:cubicBezTo>
                    <a:pt x="52" y="186"/>
                    <a:pt x="53" y="174"/>
                    <a:pt x="53" y="163"/>
                  </a:cubicBezTo>
                  <a:cubicBezTo>
                    <a:pt x="54" y="143"/>
                    <a:pt x="56" y="123"/>
                    <a:pt x="58" y="104"/>
                  </a:cubicBezTo>
                  <a:cubicBezTo>
                    <a:pt x="61" y="80"/>
                    <a:pt x="64" y="58"/>
                    <a:pt x="68" y="35"/>
                  </a:cubicBezTo>
                  <a:cubicBezTo>
                    <a:pt x="68" y="34"/>
                    <a:pt x="68" y="33"/>
                    <a:pt x="69" y="31"/>
                  </a:cubicBezTo>
                  <a:cubicBezTo>
                    <a:pt x="71" y="18"/>
                    <a:pt x="60" y="4"/>
                    <a:pt x="47" y="2"/>
                  </a:cubicBezTo>
                  <a:cubicBezTo>
                    <a:pt x="32" y="0"/>
                    <a:pt x="21" y="10"/>
                    <a:pt x="18" y="2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2" name="Freeform 107">
              <a:extLst>
                <a:ext uri="{FF2B5EF4-FFF2-40B4-BE49-F238E27FC236}">
                  <a16:creationId xmlns:a16="http://schemas.microsoft.com/office/drawing/2014/main" id="{A6575873-4CB5-44FF-9519-800460A63C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93058" y="4262438"/>
              <a:ext cx="415925" cy="342900"/>
            </a:xfrm>
            <a:custGeom>
              <a:avLst/>
              <a:gdLst>
                <a:gd name="T0" fmla="*/ 360 w 360"/>
                <a:gd name="T1" fmla="*/ 197 h 296"/>
                <a:gd name="T2" fmla="*/ 239 w 360"/>
                <a:gd name="T3" fmla="*/ 118 h 296"/>
                <a:gd name="T4" fmla="*/ 30 w 360"/>
                <a:gd name="T5" fmla="*/ 0 h 296"/>
                <a:gd name="T6" fmla="*/ 0 w 360"/>
                <a:gd name="T7" fmla="*/ 48 h 296"/>
                <a:gd name="T8" fmla="*/ 198 w 360"/>
                <a:gd name="T9" fmla="*/ 273 h 296"/>
                <a:gd name="T10" fmla="*/ 318 w 360"/>
                <a:gd name="T11" fmla="*/ 284 h 296"/>
                <a:gd name="T12" fmla="*/ 360 w 360"/>
                <a:gd name="T13" fmla="*/ 197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0" h="296">
                  <a:moveTo>
                    <a:pt x="360" y="197"/>
                  </a:moveTo>
                  <a:cubicBezTo>
                    <a:pt x="239" y="118"/>
                    <a:pt x="239" y="118"/>
                    <a:pt x="239" y="118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98" y="273"/>
                    <a:pt x="198" y="273"/>
                    <a:pt x="198" y="273"/>
                  </a:cubicBezTo>
                  <a:cubicBezTo>
                    <a:pt x="198" y="273"/>
                    <a:pt x="314" y="296"/>
                    <a:pt x="318" y="284"/>
                  </a:cubicBezTo>
                  <a:cubicBezTo>
                    <a:pt x="322" y="272"/>
                    <a:pt x="360" y="197"/>
                    <a:pt x="360" y="197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3" name="Freeform 108">
              <a:extLst>
                <a:ext uri="{FF2B5EF4-FFF2-40B4-BE49-F238E27FC236}">
                  <a16:creationId xmlns:a16="http://schemas.microsoft.com/office/drawing/2014/main" id="{22A80A31-5C64-4C31-82CC-C9909647E1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4633" y="4181475"/>
              <a:ext cx="158750" cy="158750"/>
            </a:xfrm>
            <a:custGeom>
              <a:avLst/>
              <a:gdLst>
                <a:gd name="T0" fmla="*/ 90 w 100"/>
                <a:gd name="T1" fmla="*/ 59 h 100"/>
                <a:gd name="T2" fmla="*/ 58 w 100"/>
                <a:gd name="T3" fmla="*/ 0 h 100"/>
                <a:gd name="T4" fmla="*/ 0 w 100"/>
                <a:gd name="T5" fmla="*/ 8 h 100"/>
                <a:gd name="T6" fmla="*/ 0 w 100"/>
                <a:gd name="T7" fmla="*/ 92 h 100"/>
                <a:gd name="T8" fmla="*/ 11 w 100"/>
                <a:gd name="T9" fmla="*/ 99 h 100"/>
                <a:gd name="T10" fmla="*/ 17 w 100"/>
                <a:gd name="T11" fmla="*/ 83 h 100"/>
                <a:gd name="T12" fmla="*/ 56 w 100"/>
                <a:gd name="T13" fmla="*/ 100 h 100"/>
                <a:gd name="T14" fmla="*/ 100 w 100"/>
                <a:gd name="T15" fmla="*/ 78 h 100"/>
                <a:gd name="T16" fmla="*/ 90 w 100"/>
                <a:gd name="T17" fmla="*/ 5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" h="100">
                  <a:moveTo>
                    <a:pt x="90" y="59"/>
                  </a:moveTo>
                  <a:lnTo>
                    <a:pt x="58" y="0"/>
                  </a:lnTo>
                  <a:lnTo>
                    <a:pt x="0" y="8"/>
                  </a:lnTo>
                  <a:lnTo>
                    <a:pt x="0" y="92"/>
                  </a:lnTo>
                  <a:lnTo>
                    <a:pt x="11" y="99"/>
                  </a:lnTo>
                  <a:lnTo>
                    <a:pt x="17" y="83"/>
                  </a:lnTo>
                  <a:lnTo>
                    <a:pt x="56" y="100"/>
                  </a:lnTo>
                  <a:lnTo>
                    <a:pt x="100" y="78"/>
                  </a:lnTo>
                  <a:lnTo>
                    <a:pt x="90" y="59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74" name="Freeform 109">
              <a:extLst>
                <a:ext uri="{FF2B5EF4-FFF2-40B4-BE49-F238E27FC236}">
                  <a16:creationId xmlns:a16="http://schemas.microsoft.com/office/drawing/2014/main" id="{1B79DE9A-675C-450B-BA80-1BB3763DE9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83421" y="4024313"/>
              <a:ext cx="328613" cy="490538"/>
            </a:xfrm>
            <a:custGeom>
              <a:avLst/>
              <a:gdLst>
                <a:gd name="T0" fmla="*/ 0 w 284"/>
                <a:gd name="T1" fmla="*/ 320 h 424"/>
                <a:gd name="T2" fmla="*/ 20 w 284"/>
                <a:gd name="T3" fmla="*/ 232 h 424"/>
                <a:gd name="T4" fmla="*/ 192 w 284"/>
                <a:gd name="T5" fmla="*/ 20 h 424"/>
                <a:gd name="T6" fmla="*/ 268 w 284"/>
                <a:gd name="T7" fmla="*/ 0 h 424"/>
                <a:gd name="T8" fmla="*/ 284 w 284"/>
                <a:gd name="T9" fmla="*/ 60 h 424"/>
                <a:gd name="T10" fmla="*/ 232 w 284"/>
                <a:gd name="T11" fmla="*/ 150 h 424"/>
                <a:gd name="T12" fmla="*/ 224 w 284"/>
                <a:gd name="T13" fmla="*/ 136 h 424"/>
                <a:gd name="T14" fmla="*/ 182 w 284"/>
                <a:gd name="T15" fmla="*/ 134 h 424"/>
                <a:gd name="T16" fmla="*/ 176 w 284"/>
                <a:gd name="T17" fmla="*/ 160 h 424"/>
                <a:gd name="T18" fmla="*/ 142 w 284"/>
                <a:gd name="T19" fmla="*/ 162 h 424"/>
                <a:gd name="T20" fmla="*/ 120 w 284"/>
                <a:gd name="T21" fmla="*/ 372 h 424"/>
                <a:gd name="T22" fmla="*/ 36 w 284"/>
                <a:gd name="T23" fmla="*/ 424 h 424"/>
                <a:gd name="T24" fmla="*/ 0 w 284"/>
                <a:gd name="T25" fmla="*/ 32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4" h="424">
                  <a:moveTo>
                    <a:pt x="0" y="320"/>
                  </a:moveTo>
                  <a:cubicBezTo>
                    <a:pt x="0" y="316"/>
                    <a:pt x="20" y="232"/>
                    <a:pt x="20" y="232"/>
                  </a:cubicBezTo>
                  <a:cubicBezTo>
                    <a:pt x="192" y="20"/>
                    <a:pt x="192" y="20"/>
                    <a:pt x="192" y="20"/>
                  </a:cubicBezTo>
                  <a:cubicBezTo>
                    <a:pt x="192" y="20"/>
                    <a:pt x="260" y="0"/>
                    <a:pt x="268" y="0"/>
                  </a:cubicBezTo>
                  <a:cubicBezTo>
                    <a:pt x="276" y="0"/>
                    <a:pt x="284" y="60"/>
                    <a:pt x="284" y="60"/>
                  </a:cubicBezTo>
                  <a:cubicBezTo>
                    <a:pt x="232" y="150"/>
                    <a:pt x="232" y="150"/>
                    <a:pt x="232" y="150"/>
                  </a:cubicBezTo>
                  <a:cubicBezTo>
                    <a:pt x="224" y="136"/>
                    <a:pt x="224" y="136"/>
                    <a:pt x="224" y="136"/>
                  </a:cubicBezTo>
                  <a:cubicBezTo>
                    <a:pt x="182" y="134"/>
                    <a:pt x="182" y="134"/>
                    <a:pt x="182" y="134"/>
                  </a:cubicBezTo>
                  <a:cubicBezTo>
                    <a:pt x="176" y="160"/>
                    <a:pt x="176" y="160"/>
                    <a:pt x="176" y="160"/>
                  </a:cubicBezTo>
                  <a:cubicBezTo>
                    <a:pt x="142" y="162"/>
                    <a:pt x="142" y="162"/>
                    <a:pt x="142" y="162"/>
                  </a:cubicBezTo>
                  <a:cubicBezTo>
                    <a:pt x="120" y="372"/>
                    <a:pt x="120" y="372"/>
                    <a:pt x="120" y="372"/>
                  </a:cubicBezTo>
                  <a:cubicBezTo>
                    <a:pt x="36" y="424"/>
                    <a:pt x="36" y="424"/>
                    <a:pt x="36" y="424"/>
                  </a:cubicBezTo>
                  <a:lnTo>
                    <a:pt x="0" y="320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51656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accent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812834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accent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3792174"/>
            <a:ext cx="10683970" cy="558799"/>
          </a:xfrm>
        </p:spPr>
        <p:txBody>
          <a:bodyPr anchor="t" anchorCtr="0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1500065"/>
            <a:ext cx="10845800" cy="1779587"/>
          </a:xfrm>
        </p:spPr>
        <p:txBody>
          <a:bodyPr anchor="b" anchorCtr="0">
            <a:normAutofit/>
          </a:bodyPr>
          <a:lstStyle>
            <a:lvl1pPr algn="r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id="{B88D180D-5221-4DEF-A4AD-91EDE49BB7F7}"/>
              </a:ext>
            </a:extLst>
          </p:cNvPr>
          <p:cNvGrpSpPr/>
          <p:nvPr userDrawn="1"/>
        </p:nvGrpSpPr>
        <p:grpSpPr>
          <a:xfrm>
            <a:off x="0" y="1944495"/>
            <a:ext cx="12192000" cy="3217568"/>
            <a:chOff x="0" y="1425386"/>
            <a:chExt cx="15184175" cy="4007227"/>
          </a:xfrm>
        </p:grpSpPr>
        <p:sp>
          <p:nvSpPr>
            <p:cNvPr id="2" name="矩形 1">
              <a:extLst>
                <a:ext uri="{FF2B5EF4-FFF2-40B4-BE49-F238E27FC236}">
                  <a16:creationId xmlns:a16="http://schemas.microsoft.com/office/drawing/2014/main" id="{2A3F393D-6FCA-405E-B3F2-50E86100B1A8}"/>
                </a:ext>
              </a:extLst>
            </p:cNvPr>
            <p:cNvSpPr/>
            <p:nvPr userDrawn="1"/>
          </p:nvSpPr>
          <p:spPr>
            <a:xfrm>
              <a:off x="2413298" y="1425386"/>
              <a:ext cx="12770877" cy="4007227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FE880E53-3CDA-4214-B50A-C06F2CEFD2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425386"/>
              <a:ext cx="4019550" cy="4007227"/>
            </a:xfrm>
            <a:custGeom>
              <a:avLst/>
              <a:gdLst>
                <a:gd name="T0" fmla="*/ 0 w 3262"/>
                <a:gd name="T1" fmla="*/ 1106 h 3252"/>
                <a:gd name="T2" fmla="*/ 1108 w 3262"/>
                <a:gd name="T3" fmla="*/ 1106 h 3252"/>
                <a:gd name="T4" fmla="*/ 1108 w 3262"/>
                <a:gd name="T5" fmla="*/ 0 h 3252"/>
                <a:gd name="T6" fmla="*/ 2154 w 3262"/>
                <a:gd name="T7" fmla="*/ 0 h 3252"/>
                <a:gd name="T8" fmla="*/ 2154 w 3262"/>
                <a:gd name="T9" fmla="*/ 1106 h 3252"/>
                <a:gd name="T10" fmla="*/ 3262 w 3262"/>
                <a:gd name="T11" fmla="*/ 1106 h 3252"/>
                <a:gd name="T12" fmla="*/ 3262 w 3262"/>
                <a:gd name="T13" fmla="*/ 2146 h 3252"/>
                <a:gd name="T14" fmla="*/ 2154 w 3262"/>
                <a:gd name="T15" fmla="*/ 2146 h 3252"/>
                <a:gd name="T16" fmla="*/ 2154 w 3262"/>
                <a:gd name="T17" fmla="*/ 3252 h 3252"/>
                <a:gd name="T18" fmla="*/ 1108 w 3262"/>
                <a:gd name="T19" fmla="*/ 3252 h 3252"/>
                <a:gd name="T20" fmla="*/ 1108 w 3262"/>
                <a:gd name="T21" fmla="*/ 2146 h 3252"/>
                <a:gd name="T22" fmla="*/ 0 w 3262"/>
                <a:gd name="T23" fmla="*/ 2146 h 3252"/>
                <a:gd name="T24" fmla="*/ 0 w 3262"/>
                <a:gd name="T25" fmla="*/ 1106 h 3252"/>
                <a:gd name="T26" fmla="*/ 0 w 3262"/>
                <a:gd name="T27" fmla="*/ 1106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2" h="3252">
                  <a:moveTo>
                    <a:pt x="0" y="1106"/>
                  </a:moveTo>
                  <a:lnTo>
                    <a:pt x="1108" y="1106"/>
                  </a:lnTo>
                  <a:lnTo>
                    <a:pt x="1108" y="0"/>
                  </a:lnTo>
                  <a:lnTo>
                    <a:pt x="2154" y="0"/>
                  </a:lnTo>
                  <a:lnTo>
                    <a:pt x="2154" y="1106"/>
                  </a:lnTo>
                  <a:lnTo>
                    <a:pt x="3262" y="1106"/>
                  </a:lnTo>
                  <a:lnTo>
                    <a:pt x="3262" y="2146"/>
                  </a:lnTo>
                  <a:lnTo>
                    <a:pt x="2154" y="2146"/>
                  </a:lnTo>
                  <a:lnTo>
                    <a:pt x="2154" y="3252"/>
                  </a:lnTo>
                  <a:lnTo>
                    <a:pt x="1108" y="3252"/>
                  </a:lnTo>
                  <a:lnTo>
                    <a:pt x="1108" y="2146"/>
                  </a:lnTo>
                  <a:lnTo>
                    <a:pt x="0" y="2146"/>
                  </a:lnTo>
                  <a:lnTo>
                    <a:pt x="0" y="1106"/>
                  </a:lnTo>
                  <a:lnTo>
                    <a:pt x="0" y="110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096000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097116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9/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9/9/1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A13D520A-921A-41C6-B32F-4F71283BA0AF}"/>
              </a:ext>
            </a:extLst>
          </p:cNvPr>
          <p:cNvGrpSpPr/>
          <p:nvPr userDrawn="1"/>
        </p:nvGrpSpPr>
        <p:grpSpPr>
          <a:xfrm>
            <a:off x="0" y="5232400"/>
            <a:ext cx="2296160" cy="1625600"/>
            <a:chOff x="673458" y="3168650"/>
            <a:chExt cx="5672138" cy="2967038"/>
          </a:xfrm>
        </p:grpSpPr>
        <p:sp>
          <p:nvSpPr>
            <p:cNvPr id="3" name="Freeform 10">
              <a:extLst>
                <a:ext uri="{FF2B5EF4-FFF2-40B4-BE49-F238E27FC236}">
                  <a16:creationId xmlns:a16="http://schemas.microsoft.com/office/drawing/2014/main" id="{D273618B-9633-427E-9221-172ED076DA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458" y="5391149"/>
              <a:ext cx="5672138" cy="725487"/>
            </a:xfrm>
            <a:custGeom>
              <a:avLst/>
              <a:gdLst>
                <a:gd name="T0" fmla="*/ 4299 w 4897"/>
                <a:gd name="T1" fmla="*/ 0 h 582"/>
                <a:gd name="T2" fmla="*/ 1819 w 4897"/>
                <a:gd name="T3" fmla="*/ 0 h 582"/>
                <a:gd name="T4" fmla="*/ 1812 w 4897"/>
                <a:gd name="T5" fmla="*/ 187 h 582"/>
                <a:gd name="T6" fmla="*/ 1801 w 4897"/>
                <a:gd name="T7" fmla="*/ 479 h 582"/>
                <a:gd name="T8" fmla="*/ 1701 w 4897"/>
                <a:gd name="T9" fmla="*/ 492 h 582"/>
                <a:gd name="T10" fmla="*/ 1649 w 4897"/>
                <a:gd name="T11" fmla="*/ 223 h 582"/>
                <a:gd name="T12" fmla="*/ 1605 w 4897"/>
                <a:gd name="T13" fmla="*/ 0 h 582"/>
                <a:gd name="T14" fmla="*/ 1341 w 4897"/>
                <a:gd name="T15" fmla="*/ 0 h 582"/>
                <a:gd name="T16" fmla="*/ 1266 w 4897"/>
                <a:gd name="T17" fmla="*/ 512 h 582"/>
                <a:gd name="T18" fmla="*/ 1167 w 4897"/>
                <a:gd name="T19" fmla="*/ 512 h 582"/>
                <a:gd name="T20" fmla="*/ 1137 w 4897"/>
                <a:gd name="T21" fmla="*/ 0 h 582"/>
                <a:gd name="T22" fmla="*/ 63 w 4897"/>
                <a:gd name="T23" fmla="*/ 1 h 582"/>
                <a:gd name="T24" fmla="*/ 31 w 4897"/>
                <a:gd name="T25" fmla="*/ 75 h 582"/>
                <a:gd name="T26" fmla="*/ 469 w 4897"/>
                <a:gd name="T27" fmla="*/ 485 h 582"/>
                <a:gd name="T28" fmla="*/ 732 w 4897"/>
                <a:gd name="T29" fmla="*/ 582 h 582"/>
                <a:gd name="T30" fmla="*/ 4496 w 4897"/>
                <a:gd name="T31" fmla="*/ 582 h 582"/>
                <a:gd name="T32" fmla="*/ 4715 w 4897"/>
                <a:gd name="T33" fmla="*/ 254 h 582"/>
                <a:gd name="T34" fmla="*/ 4299 w 4897"/>
                <a:gd name="T35" fmla="*/ 0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97" h="582">
                  <a:moveTo>
                    <a:pt x="4299" y="0"/>
                  </a:moveTo>
                  <a:cubicBezTo>
                    <a:pt x="1819" y="0"/>
                    <a:pt x="1819" y="0"/>
                    <a:pt x="1819" y="0"/>
                  </a:cubicBezTo>
                  <a:cubicBezTo>
                    <a:pt x="1816" y="62"/>
                    <a:pt x="1814" y="125"/>
                    <a:pt x="1812" y="187"/>
                  </a:cubicBezTo>
                  <a:cubicBezTo>
                    <a:pt x="1808" y="284"/>
                    <a:pt x="1804" y="382"/>
                    <a:pt x="1801" y="479"/>
                  </a:cubicBezTo>
                  <a:cubicBezTo>
                    <a:pt x="1701" y="492"/>
                    <a:pt x="1701" y="492"/>
                    <a:pt x="1701" y="492"/>
                  </a:cubicBezTo>
                  <a:cubicBezTo>
                    <a:pt x="1684" y="402"/>
                    <a:pt x="1666" y="313"/>
                    <a:pt x="1649" y="223"/>
                  </a:cubicBezTo>
                  <a:cubicBezTo>
                    <a:pt x="1634" y="149"/>
                    <a:pt x="1620" y="75"/>
                    <a:pt x="1605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266" y="512"/>
                    <a:pt x="1266" y="512"/>
                    <a:pt x="1266" y="512"/>
                  </a:cubicBezTo>
                  <a:cubicBezTo>
                    <a:pt x="1167" y="512"/>
                    <a:pt x="1167" y="512"/>
                    <a:pt x="1167" y="512"/>
                  </a:cubicBezTo>
                  <a:cubicBezTo>
                    <a:pt x="1137" y="0"/>
                    <a:pt x="1137" y="0"/>
                    <a:pt x="1137" y="0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20" y="1"/>
                    <a:pt x="0" y="49"/>
                    <a:pt x="31" y="75"/>
                  </a:cubicBezTo>
                  <a:cubicBezTo>
                    <a:pt x="469" y="485"/>
                    <a:pt x="469" y="485"/>
                    <a:pt x="469" y="485"/>
                  </a:cubicBezTo>
                  <a:cubicBezTo>
                    <a:pt x="540" y="547"/>
                    <a:pt x="634" y="582"/>
                    <a:pt x="732" y="582"/>
                  </a:cubicBezTo>
                  <a:cubicBezTo>
                    <a:pt x="4496" y="582"/>
                    <a:pt x="4496" y="582"/>
                    <a:pt x="4496" y="582"/>
                  </a:cubicBezTo>
                  <a:cubicBezTo>
                    <a:pt x="4721" y="582"/>
                    <a:pt x="4897" y="373"/>
                    <a:pt x="4715" y="254"/>
                  </a:cubicBezTo>
                  <a:cubicBezTo>
                    <a:pt x="4299" y="0"/>
                    <a:pt x="4299" y="0"/>
                    <a:pt x="4299" y="0"/>
                  </a:cubicBezTo>
                </a:path>
              </a:pathLst>
            </a:custGeom>
            <a:gradFill>
              <a:gsLst>
                <a:gs pos="40000">
                  <a:schemeClr val="accent1"/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42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" name="Freeform 11">
              <a:extLst>
                <a:ext uri="{FF2B5EF4-FFF2-40B4-BE49-F238E27FC236}">
                  <a16:creationId xmlns:a16="http://schemas.microsoft.com/office/drawing/2014/main" id="{1B674446-B477-4785-A271-2A631D32E7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00671" y="3876675"/>
              <a:ext cx="1666875" cy="1025525"/>
            </a:xfrm>
            <a:custGeom>
              <a:avLst/>
              <a:gdLst>
                <a:gd name="T0" fmla="*/ 0 w 1439"/>
                <a:gd name="T1" fmla="*/ 884 h 886"/>
                <a:gd name="T2" fmla="*/ 0 w 1439"/>
                <a:gd name="T3" fmla="*/ 174 h 886"/>
                <a:gd name="T4" fmla="*/ 174 w 1439"/>
                <a:gd name="T5" fmla="*/ 0 h 886"/>
                <a:gd name="T6" fmla="*/ 1265 w 1439"/>
                <a:gd name="T7" fmla="*/ 0 h 886"/>
                <a:gd name="T8" fmla="*/ 1439 w 1439"/>
                <a:gd name="T9" fmla="*/ 174 h 886"/>
                <a:gd name="T10" fmla="*/ 1439 w 1439"/>
                <a:gd name="T11" fmla="*/ 886 h 886"/>
                <a:gd name="T12" fmla="*/ 0 w 1439"/>
                <a:gd name="T13" fmla="*/ 884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9" h="886">
                  <a:moveTo>
                    <a:pt x="0" y="884"/>
                  </a:moveTo>
                  <a:cubicBezTo>
                    <a:pt x="0" y="174"/>
                    <a:pt x="0" y="174"/>
                    <a:pt x="0" y="174"/>
                  </a:cubicBezTo>
                  <a:cubicBezTo>
                    <a:pt x="0" y="78"/>
                    <a:pt x="78" y="0"/>
                    <a:pt x="174" y="0"/>
                  </a:cubicBezTo>
                  <a:cubicBezTo>
                    <a:pt x="1265" y="0"/>
                    <a:pt x="1265" y="0"/>
                    <a:pt x="1265" y="0"/>
                  </a:cubicBezTo>
                  <a:cubicBezTo>
                    <a:pt x="1361" y="0"/>
                    <a:pt x="1439" y="78"/>
                    <a:pt x="1439" y="174"/>
                  </a:cubicBezTo>
                  <a:cubicBezTo>
                    <a:pt x="1439" y="886"/>
                    <a:pt x="1439" y="886"/>
                    <a:pt x="1439" y="886"/>
                  </a:cubicBezTo>
                  <a:cubicBezTo>
                    <a:pt x="0" y="884"/>
                    <a:pt x="0" y="884"/>
                    <a:pt x="0" y="884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" name="Freeform 12">
              <a:extLst>
                <a:ext uri="{FF2B5EF4-FFF2-40B4-BE49-F238E27FC236}">
                  <a16:creationId xmlns:a16="http://schemas.microsoft.com/office/drawing/2014/main" id="{D01B6C1C-B692-46AC-A45C-A0E2827B69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2208" y="3876675"/>
              <a:ext cx="1668463" cy="1025525"/>
            </a:xfrm>
            <a:custGeom>
              <a:avLst/>
              <a:gdLst>
                <a:gd name="T0" fmla="*/ 0 w 1439"/>
                <a:gd name="T1" fmla="*/ 884 h 886"/>
                <a:gd name="T2" fmla="*/ 0 w 1439"/>
                <a:gd name="T3" fmla="*/ 174 h 886"/>
                <a:gd name="T4" fmla="*/ 174 w 1439"/>
                <a:gd name="T5" fmla="*/ 0 h 886"/>
                <a:gd name="T6" fmla="*/ 1265 w 1439"/>
                <a:gd name="T7" fmla="*/ 0 h 886"/>
                <a:gd name="T8" fmla="*/ 1439 w 1439"/>
                <a:gd name="T9" fmla="*/ 174 h 886"/>
                <a:gd name="T10" fmla="*/ 1439 w 1439"/>
                <a:gd name="T11" fmla="*/ 886 h 886"/>
                <a:gd name="T12" fmla="*/ 0 w 1439"/>
                <a:gd name="T13" fmla="*/ 884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9" h="886">
                  <a:moveTo>
                    <a:pt x="0" y="884"/>
                  </a:moveTo>
                  <a:cubicBezTo>
                    <a:pt x="0" y="174"/>
                    <a:pt x="0" y="174"/>
                    <a:pt x="0" y="174"/>
                  </a:cubicBezTo>
                  <a:cubicBezTo>
                    <a:pt x="0" y="78"/>
                    <a:pt x="78" y="0"/>
                    <a:pt x="174" y="0"/>
                  </a:cubicBezTo>
                  <a:cubicBezTo>
                    <a:pt x="1265" y="0"/>
                    <a:pt x="1265" y="0"/>
                    <a:pt x="1265" y="0"/>
                  </a:cubicBezTo>
                  <a:cubicBezTo>
                    <a:pt x="1361" y="0"/>
                    <a:pt x="1439" y="78"/>
                    <a:pt x="1439" y="174"/>
                  </a:cubicBezTo>
                  <a:cubicBezTo>
                    <a:pt x="1439" y="886"/>
                    <a:pt x="1439" y="886"/>
                    <a:pt x="1439" y="886"/>
                  </a:cubicBezTo>
                  <a:cubicBezTo>
                    <a:pt x="0" y="884"/>
                    <a:pt x="0" y="884"/>
                    <a:pt x="0" y="884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74EDDEB6-E2C2-47D6-B34F-7682B7C7C9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7546" y="3876675"/>
              <a:ext cx="1668463" cy="1027113"/>
            </a:xfrm>
            <a:custGeom>
              <a:avLst/>
              <a:gdLst>
                <a:gd name="T0" fmla="*/ 0 w 1440"/>
                <a:gd name="T1" fmla="*/ 888 h 888"/>
                <a:gd name="T2" fmla="*/ 0 w 1440"/>
                <a:gd name="T3" fmla="*/ 174 h 888"/>
                <a:gd name="T4" fmla="*/ 174 w 1440"/>
                <a:gd name="T5" fmla="*/ 0 h 888"/>
                <a:gd name="T6" fmla="*/ 1266 w 1440"/>
                <a:gd name="T7" fmla="*/ 0 h 888"/>
                <a:gd name="T8" fmla="*/ 1440 w 1440"/>
                <a:gd name="T9" fmla="*/ 174 h 888"/>
                <a:gd name="T10" fmla="*/ 1440 w 1440"/>
                <a:gd name="T11" fmla="*/ 886 h 888"/>
                <a:gd name="T12" fmla="*/ 0 w 1440"/>
                <a:gd name="T13" fmla="*/ 888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0" h="888">
                  <a:moveTo>
                    <a:pt x="0" y="888"/>
                  </a:moveTo>
                  <a:cubicBezTo>
                    <a:pt x="0" y="174"/>
                    <a:pt x="0" y="174"/>
                    <a:pt x="0" y="174"/>
                  </a:cubicBezTo>
                  <a:cubicBezTo>
                    <a:pt x="0" y="78"/>
                    <a:pt x="78" y="0"/>
                    <a:pt x="174" y="0"/>
                  </a:cubicBezTo>
                  <a:cubicBezTo>
                    <a:pt x="1266" y="0"/>
                    <a:pt x="1266" y="0"/>
                    <a:pt x="1266" y="0"/>
                  </a:cubicBezTo>
                  <a:cubicBezTo>
                    <a:pt x="1362" y="0"/>
                    <a:pt x="1440" y="78"/>
                    <a:pt x="1440" y="174"/>
                  </a:cubicBezTo>
                  <a:cubicBezTo>
                    <a:pt x="1440" y="886"/>
                    <a:pt x="1440" y="886"/>
                    <a:pt x="1440" y="886"/>
                  </a:cubicBezTo>
                  <a:cubicBezTo>
                    <a:pt x="0" y="888"/>
                    <a:pt x="0" y="888"/>
                    <a:pt x="0" y="88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7692FE27-3AF4-461D-ABB4-523998A5A2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00671" y="3916363"/>
              <a:ext cx="1666875" cy="985838"/>
            </a:xfrm>
            <a:custGeom>
              <a:avLst/>
              <a:gdLst>
                <a:gd name="T0" fmla="*/ 1368 w 1439"/>
                <a:gd name="T1" fmla="*/ 0 h 852"/>
                <a:gd name="T2" fmla="*/ 0 w 1439"/>
                <a:gd name="T3" fmla="*/ 844 h 852"/>
                <a:gd name="T4" fmla="*/ 0 w 1439"/>
                <a:gd name="T5" fmla="*/ 850 h 852"/>
                <a:gd name="T6" fmla="*/ 1439 w 1439"/>
                <a:gd name="T7" fmla="*/ 852 h 852"/>
                <a:gd name="T8" fmla="*/ 1439 w 1439"/>
                <a:gd name="T9" fmla="*/ 140 h 852"/>
                <a:gd name="T10" fmla="*/ 1368 w 1439"/>
                <a:gd name="T11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39" h="852">
                  <a:moveTo>
                    <a:pt x="1368" y="0"/>
                  </a:moveTo>
                  <a:cubicBezTo>
                    <a:pt x="0" y="844"/>
                    <a:pt x="0" y="844"/>
                    <a:pt x="0" y="844"/>
                  </a:cubicBezTo>
                  <a:cubicBezTo>
                    <a:pt x="0" y="850"/>
                    <a:pt x="0" y="850"/>
                    <a:pt x="0" y="850"/>
                  </a:cubicBezTo>
                  <a:cubicBezTo>
                    <a:pt x="1439" y="852"/>
                    <a:pt x="1439" y="852"/>
                    <a:pt x="1439" y="852"/>
                  </a:cubicBezTo>
                  <a:cubicBezTo>
                    <a:pt x="1439" y="140"/>
                    <a:pt x="1439" y="140"/>
                    <a:pt x="1439" y="140"/>
                  </a:cubicBezTo>
                  <a:cubicBezTo>
                    <a:pt x="1439" y="83"/>
                    <a:pt x="1411" y="32"/>
                    <a:pt x="1368" y="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Freeform 15">
              <a:extLst>
                <a:ext uri="{FF2B5EF4-FFF2-40B4-BE49-F238E27FC236}">
                  <a16:creationId xmlns:a16="http://schemas.microsoft.com/office/drawing/2014/main" id="{1F6CB77A-668B-46D3-97A1-3F8AA4071E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7546" y="3921125"/>
              <a:ext cx="1668463" cy="982663"/>
            </a:xfrm>
            <a:custGeom>
              <a:avLst/>
              <a:gdLst>
                <a:gd name="T0" fmla="*/ 1375 w 1439"/>
                <a:gd name="T1" fmla="*/ 0 h 849"/>
                <a:gd name="T2" fmla="*/ 0 w 1439"/>
                <a:gd name="T3" fmla="*/ 849 h 849"/>
                <a:gd name="T4" fmla="*/ 1439 w 1439"/>
                <a:gd name="T5" fmla="*/ 847 h 849"/>
                <a:gd name="T6" fmla="*/ 1439 w 1439"/>
                <a:gd name="T7" fmla="*/ 135 h 849"/>
                <a:gd name="T8" fmla="*/ 1375 w 1439"/>
                <a:gd name="T9" fmla="*/ 0 h 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9" h="849">
                  <a:moveTo>
                    <a:pt x="1375" y="0"/>
                  </a:moveTo>
                  <a:cubicBezTo>
                    <a:pt x="0" y="849"/>
                    <a:pt x="0" y="849"/>
                    <a:pt x="0" y="849"/>
                  </a:cubicBezTo>
                  <a:cubicBezTo>
                    <a:pt x="1439" y="847"/>
                    <a:pt x="1439" y="847"/>
                    <a:pt x="1439" y="847"/>
                  </a:cubicBezTo>
                  <a:cubicBezTo>
                    <a:pt x="1439" y="135"/>
                    <a:pt x="1439" y="135"/>
                    <a:pt x="1439" y="135"/>
                  </a:cubicBezTo>
                  <a:cubicBezTo>
                    <a:pt x="1439" y="81"/>
                    <a:pt x="1414" y="32"/>
                    <a:pt x="1375" y="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16">
              <a:extLst>
                <a:ext uri="{FF2B5EF4-FFF2-40B4-BE49-F238E27FC236}">
                  <a16:creationId xmlns:a16="http://schemas.microsoft.com/office/drawing/2014/main" id="{636222CB-2F51-404E-830C-7DC070C726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2208" y="3921125"/>
              <a:ext cx="1668463" cy="985838"/>
            </a:xfrm>
            <a:custGeom>
              <a:avLst/>
              <a:gdLst>
                <a:gd name="T0" fmla="*/ 1368 w 1439"/>
                <a:gd name="T1" fmla="*/ 0 h 852"/>
                <a:gd name="T2" fmla="*/ 0 w 1439"/>
                <a:gd name="T3" fmla="*/ 844 h 852"/>
                <a:gd name="T4" fmla="*/ 0 w 1439"/>
                <a:gd name="T5" fmla="*/ 850 h 852"/>
                <a:gd name="T6" fmla="*/ 1439 w 1439"/>
                <a:gd name="T7" fmla="*/ 852 h 852"/>
                <a:gd name="T8" fmla="*/ 1439 w 1439"/>
                <a:gd name="T9" fmla="*/ 140 h 852"/>
                <a:gd name="T10" fmla="*/ 1368 w 1439"/>
                <a:gd name="T11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39" h="852">
                  <a:moveTo>
                    <a:pt x="1368" y="0"/>
                  </a:moveTo>
                  <a:cubicBezTo>
                    <a:pt x="0" y="844"/>
                    <a:pt x="0" y="844"/>
                    <a:pt x="0" y="844"/>
                  </a:cubicBezTo>
                  <a:cubicBezTo>
                    <a:pt x="0" y="850"/>
                    <a:pt x="0" y="850"/>
                    <a:pt x="0" y="850"/>
                  </a:cubicBezTo>
                  <a:cubicBezTo>
                    <a:pt x="1439" y="852"/>
                    <a:pt x="1439" y="852"/>
                    <a:pt x="1439" y="852"/>
                  </a:cubicBezTo>
                  <a:cubicBezTo>
                    <a:pt x="1439" y="140"/>
                    <a:pt x="1439" y="140"/>
                    <a:pt x="1439" y="140"/>
                  </a:cubicBezTo>
                  <a:cubicBezTo>
                    <a:pt x="1439" y="83"/>
                    <a:pt x="1411" y="32"/>
                    <a:pt x="1368" y="0"/>
                  </a:cubicBezTo>
                </a:path>
              </a:pathLst>
            </a:custGeom>
            <a:solidFill>
              <a:srgbClr val="0D55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Freeform 17">
              <a:extLst>
                <a:ext uri="{FF2B5EF4-FFF2-40B4-BE49-F238E27FC236}">
                  <a16:creationId xmlns:a16="http://schemas.microsoft.com/office/drawing/2014/main" id="{F8AAD980-CC27-4A15-B979-712E9F15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7783" y="5226050"/>
              <a:ext cx="4692650" cy="400050"/>
            </a:xfrm>
            <a:custGeom>
              <a:avLst/>
              <a:gdLst>
                <a:gd name="T0" fmla="*/ 2902 w 2956"/>
                <a:gd name="T1" fmla="*/ 58 h 252"/>
                <a:gd name="T2" fmla="*/ 2900 w 2956"/>
                <a:gd name="T3" fmla="*/ 58 h 252"/>
                <a:gd name="T4" fmla="*/ 2900 w 2956"/>
                <a:gd name="T5" fmla="*/ 0 h 252"/>
                <a:gd name="T6" fmla="*/ 16 w 2956"/>
                <a:gd name="T7" fmla="*/ 0 h 252"/>
                <a:gd name="T8" fmla="*/ 16 w 2956"/>
                <a:gd name="T9" fmla="*/ 58 h 252"/>
                <a:gd name="T10" fmla="*/ 0 w 2956"/>
                <a:gd name="T11" fmla="*/ 58 h 252"/>
                <a:gd name="T12" fmla="*/ 22 w 2956"/>
                <a:gd name="T13" fmla="*/ 252 h 252"/>
                <a:gd name="T14" fmla="*/ 51 w 2956"/>
                <a:gd name="T15" fmla="*/ 252 h 252"/>
                <a:gd name="T16" fmla="*/ 59 w 2956"/>
                <a:gd name="T17" fmla="*/ 252 h 252"/>
                <a:gd name="T18" fmla="*/ 88 w 2956"/>
                <a:gd name="T19" fmla="*/ 252 h 252"/>
                <a:gd name="T20" fmla="*/ 102 w 2956"/>
                <a:gd name="T21" fmla="*/ 124 h 252"/>
                <a:gd name="T22" fmla="*/ 2854 w 2956"/>
                <a:gd name="T23" fmla="*/ 124 h 252"/>
                <a:gd name="T24" fmla="*/ 2869 w 2956"/>
                <a:gd name="T25" fmla="*/ 252 h 252"/>
                <a:gd name="T26" fmla="*/ 2898 w 2956"/>
                <a:gd name="T27" fmla="*/ 252 h 252"/>
                <a:gd name="T28" fmla="*/ 2905 w 2956"/>
                <a:gd name="T29" fmla="*/ 252 h 252"/>
                <a:gd name="T30" fmla="*/ 2935 w 2956"/>
                <a:gd name="T31" fmla="*/ 252 h 252"/>
                <a:gd name="T32" fmla="*/ 2956 w 2956"/>
                <a:gd name="T33" fmla="*/ 58 h 252"/>
                <a:gd name="T34" fmla="*/ 2902 w 2956"/>
                <a:gd name="T35" fmla="*/ 58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56" h="252">
                  <a:moveTo>
                    <a:pt x="2902" y="58"/>
                  </a:moveTo>
                  <a:lnTo>
                    <a:pt x="2900" y="58"/>
                  </a:lnTo>
                  <a:lnTo>
                    <a:pt x="2900" y="0"/>
                  </a:lnTo>
                  <a:lnTo>
                    <a:pt x="16" y="0"/>
                  </a:lnTo>
                  <a:lnTo>
                    <a:pt x="16" y="58"/>
                  </a:lnTo>
                  <a:lnTo>
                    <a:pt x="0" y="58"/>
                  </a:lnTo>
                  <a:lnTo>
                    <a:pt x="22" y="252"/>
                  </a:lnTo>
                  <a:lnTo>
                    <a:pt x="51" y="252"/>
                  </a:lnTo>
                  <a:lnTo>
                    <a:pt x="59" y="252"/>
                  </a:lnTo>
                  <a:lnTo>
                    <a:pt x="88" y="252"/>
                  </a:lnTo>
                  <a:lnTo>
                    <a:pt x="102" y="124"/>
                  </a:lnTo>
                  <a:lnTo>
                    <a:pt x="2854" y="124"/>
                  </a:lnTo>
                  <a:lnTo>
                    <a:pt x="2869" y="252"/>
                  </a:lnTo>
                  <a:lnTo>
                    <a:pt x="2898" y="252"/>
                  </a:lnTo>
                  <a:lnTo>
                    <a:pt x="2905" y="252"/>
                  </a:lnTo>
                  <a:lnTo>
                    <a:pt x="2935" y="252"/>
                  </a:lnTo>
                  <a:lnTo>
                    <a:pt x="2956" y="58"/>
                  </a:lnTo>
                  <a:lnTo>
                    <a:pt x="2902" y="58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Freeform 18">
              <a:extLst>
                <a:ext uri="{FF2B5EF4-FFF2-40B4-BE49-F238E27FC236}">
                  <a16:creationId xmlns:a16="http://schemas.microsoft.com/office/drawing/2014/main" id="{FD83CFB8-C6C4-415A-B87D-998E9B48A4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446" y="4902200"/>
              <a:ext cx="5014913" cy="234950"/>
            </a:xfrm>
            <a:custGeom>
              <a:avLst/>
              <a:gdLst>
                <a:gd name="T0" fmla="*/ 0 w 3159"/>
                <a:gd name="T1" fmla="*/ 148 h 148"/>
                <a:gd name="T2" fmla="*/ 3159 w 3159"/>
                <a:gd name="T3" fmla="*/ 148 h 148"/>
                <a:gd name="T4" fmla="*/ 3060 w 3159"/>
                <a:gd name="T5" fmla="*/ 0 h 148"/>
                <a:gd name="T6" fmla="*/ 95 w 3159"/>
                <a:gd name="T7" fmla="*/ 0 h 148"/>
                <a:gd name="T8" fmla="*/ 0 w 3159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59" h="148">
                  <a:moveTo>
                    <a:pt x="0" y="148"/>
                  </a:moveTo>
                  <a:lnTo>
                    <a:pt x="3159" y="148"/>
                  </a:lnTo>
                  <a:lnTo>
                    <a:pt x="3060" y="0"/>
                  </a:lnTo>
                  <a:lnTo>
                    <a:pt x="95" y="0"/>
                  </a:lnTo>
                  <a:lnTo>
                    <a:pt x="0" y="148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Freeform 19">
              <a:extLst>
                <a:ext uri="{FF2B5EF4-FFF2-40B4-BE49-F238E27FC236}">
                  <a16:creationId xmlns:a16="http://schemas.microsoft.com/office/drawing/2014/main" id="{D37306B9-2615-47AF-9BCE-FC04C9FD4B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446" y="4902200"/>
              <a:ext cx="5014913" cy="234950"/>
            </a:xfrm>
            <a:custGeom>
              <a:avLst/>
              <a:gdLst>
                <a:gd name="T0" fmla="*/ 0 w 3159"/>
                <a:gd name="T1" fmla="*/ 148 h 148"/>
                <a:gd name="T2" fmla="*/ 3159 w 3159"/>
                <a:gd name="T3" fmla="*/ 148 h 148"/>
                <a:gd name="T4" fmla="*/ 3060 w 3159"/>
                <a:gd name="T5" fmla="*/ 0 h 148"/>
                <a:gd name="T6" fmla="*/ 95 w 3159"/>
                <a:gd name="T7" fmla="*/ 0 h 148"/>
                <a:gd name="T8" fmla="*/ 0 w 3159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59" h="148">
                  <a:moveTo>
                    <a:pt x="0" y="148"/>
                  </a:moveTo>
                  <a:lnTo>
                    <a:pt x="3159" y="148"/>
                  </a:lnTo>
                  <a:lnTo>
                    <a:pt x="3060" y="0"/>
                  </a:lnTo>
                  <a:lnTo>
                    <a:pt x="95" y="0"/>
                  </a:lnTo>
                  <a:lnTo>
                    <a:pt x="0" y="14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" name="Freeform 20">
              <a:extLst>
                <a:ext uri="{FF2B5EF4-FFF2-40B4-BE49-F238E27FC236}">
                  <a16:creationId xmlns:a16="http://schemas.microsoft.com/office/drawing/2014/main" id="{EFBF61FE-4355-4A54-B607-8806850082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00671" y="5073650"/>
              <a:ext cx="1670050" cy="309563"/>
            </a:xfrm>
            <a:custGeom>
              <a:avLst/>
              <a:gdLst>
                <a:gd name="T0" fmla="*/ 1374 w 1441"/>
                <a:gd name="T1" fmla="*/ 268 h 268"/>
                <a:gd name="T2" fmla="*/ 66 w 1441"/>
                <a:gd name="T3" fmla="*/ 268 h 268"/>
                <a:gd name="T4" fmla="*/ 0 w 1441"/>
                <a:gd name="T5" fmla="*/ 201 h 268"/>
                <a:gd name="T6" fmla="*/ 0 w 1441"/>
                <a:gd name="T7" fmla="*/ 66 h 268"/>
                <a:gd name="T8" fmla="*/ 66 w 1441"/>
                <a:gd name="T9" fmla="*/ 0 h 268"/>
                <a:gd name="T10" fmla="*/ 1374 w 1441"/>
                <a:gd name="T11" fmla="*/ 0 h 268"/>
                <a:gd name="T12" fmla="*/ 1441 w 1441"/>
                <a:gd name="T13" fmla="*/ 66 h 268"/>
                <a:gd name="T14" fmla="*/ 1441 w 1441"/>
                <a:gd name="T15" fmla="*/ 201 h 268"/>
                <a:gd name="T16" fmla="*/ 1374 w 1441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1" h="268">
                  <a:moveTo>
                    <a:pt x="1374" y="268"/>
                  </a:moveTo>
                  <a:cubicBezTo>
                    <a:pt x="66" y="268"/>
                    <a:pt x="66" y="268"/>
                    <a:pt x="66" y="268"/>
                  </a:cubicBezTo>
                  <a:cubicBezTo>
                    <a:pt x="30" y="268"/>
                    <a:pt x="0" y="238"/>
                    <a:pt x="0" y="201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374" y="0"/>
                    <a:pt x="1374" y="0"/>
                    <a:pt x="1374" y="0"/>
                  </a:cubicBezTo>
                  <a:cubicBezTo>
                    <a:pt x="1411" y="0"/>
                    <a:pt x="1441" y="30"/>
                    <a:pt x="1441" y="66"/>
                  </a:cubicBezTo>
                  <a:cubicBezTo>
                    <a:pt x="1441" y="201"/>
                    <a:pt x="1441" y="201"/>
                    <a:pt x="1441" y="201"/>
                  </a:cubicBezTo>
                  <a:cubicBezTo>
                    <a:pt x="1441" y="238"/>
                    <a:pt x="1411" y="268"/>
                    <a:pt x="1374" y="26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21">
              <a:extLst>
                <a:ext uri="{FF2B5EF4-FFF2-40B4-BE49-F238E27FC236}">
                  <a16:creationId xmlns:a16="http://schemas.microsoft.com/office/drawing/2014/main" id="{5723F2A7-059D-4B48-B139-4130F7E2E9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446" y="5080000"/>
              <a:ext cx="1670050" cy="311150"/>
            </a:xfrm>
            <a:custGeom>
              <a:avLst/>
              <a:gdLst>
                <a:gd name="T0" fmla="*/ 1375 w 1441"/>
                <a:gd name="T1" fmla="*/ 268 h 268"/>
                <a:gd name="T2" fmla="*/ 67 w 1441"/>
                <a:gd name="T3" fmla="*/ 268 h 268"/>
                <a:gd name="T4" fmla="*/ 0 w 1441"/>
                <a:gd name="T5" fmla="*/ 202 h 268"/>
                <a:gd name="T6" fmla="*/ 0 w 1441"/>
                <a:gd name="T7" fmla="*/ 67 h 268"/>
                <a:gd name="T8" fmla="*/ 67 w 1441"/>
                <a:gd name="T9" fmla="*/ 0 h 268"/>
                <a:gd name="T10" fmla="*/ 1375 w 1441"/>
                <a:gd name="T11" fmla="*/ 0 h 268"/>
                <a:gd name="T12" fmla="*/ 1441 w 1441"/>
                <a:gd name="T13" fmla="*/ 67 h 268"/>
                <a:gd name="T14" fmla="*/ 1441 w 1441"/>
                <a:gd name="T15" fmla="*/ 202 h 268"/>
                <a:gd name="T16" fmla="*/ 1375 w 1441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1" h="268">
                  <a:moveTo>
                    <a:pt x="1375" y="268"/>
                  </a:moveTo>
                  <a:cubicBezTo>
                    <a:pt x="67" y="268"/>
                    <a:pt x="67" y="268"/>
                    <a:pt x="67" y="268"/>
                  </a:cubicBezTo>
                  <a:cubicBezTo>
                    <a:pt x="30" y="268"/>
                    <a:pt x="0" y="239"/>
                    <a:pt x="0" y="202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375" y="0"/>
                    <a:pt x="1375" y="0"/>
                    <a:pt x="1375" y="0"/>
                  </a:cubicBezTo>
                  <a:cubicBezTo>
                    <a:pt x="1412" y="0"/>
                    <a:pt x="1441" y="30"/>
                    <a:pt x="1441" y="67"/>
                  </a:cubicBezTo>
                  <a:cubicBezTo>
                    <a:pt x="1441" y="202"/>
                    <a:pt x="1441" y="202"/>
                    <a:pt x="1441" y="202"/>
                  </a:cubicBezTo>
                  <a:cubicBezTo>
                    <a:pt x="1441" y="239"/>
                    <a:pt x="1412" y="268"/>
                    <a:pt x="1375" y="26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Freeform 22">
              <a:extLst>
                <a:ext uri="{FF2B5EF4-FFF2-40B4-BE49-F238E27FC236}">
                  <a16:creationId xmlns:a16="http://schemas.microsoft.com/office/drawing/2014/main" id="{C1A20F08-71F9-400B-A05B-20B4577785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5958" y="5073650"/>
              <a:ext cx="1670050" cy="309563"/>
            </a:xfrm>
            <a:custGeom>
              <a:avLst/>
              <a:gdLst>
                <a:gd name="T0" fmla="*/ 1375 w 1441"/>
                <a:gd name="T1" fmla="*/ 268 h 268"/>
                <a:gd name="T2" fmla="*/ 67 w 1441"/>
                <a:gd name="T3" fmla="*/ 268 h 268"/>
                <a:gd name="T4" fmla="*/ 0 w 1441"/>
                <a:gd name="T5" fmla="*/ 201 h 268"/>
                <a:gd name="T6" fmla="*/ 0 w 1441"/>
                <a:gd name="T7" fmla="*/ 66 h 268"/>
                <a:gd name="T8" fmla="*/ 67 w 1441"/>
                <a:gd name="T9" fmla="*/ 0 h 268"/>
                <a:gd name="T10" fmla="*/ 1375 w 1441"/>
                <a:gd name="T11" fmla="*/ 0 h 268"/>
                <a:gd name="T12" fmla="*/ 1441 w 1441"/>
                <a:gd name="T13" fmla="*/ 66 h 268"/>
                <a:gd name="T14" fmla="*/ 1441 w 1441"/>
                <a:gd name="T15" fmla="*/ 201 h 268"/>
                <a:gd name="T16" fmla="*/ 1375 w 1441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1" h="268">
                  <a:moveTo>
                    <a:pt x="1375" y="268"/>
                  </a:moveTo>
                  <a:cubicBezTo>
                    <a:pt x="67" y="268"/>
                    <a:pt x="67" y="268"/>
                    <a:pt x="67" y="268"/>
                  </a:cubicBezTo>
                  <a:cubicBezTo>
                    <a:pt x="30" y="268"/>
                    <a:pt x="0" y="238"/>
                    <a:pt x="0" y="201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375" y="0"/>
                    <a:pt x="1375" y="0"/>
                    <a:pt x="1375" y="0"/>
                  </a:cubicBezTo>
                  <a:cubicBezTo>
                    <a:pt x="1411" y="0"/>
                    <a:pt x="1441" y="30"/>
                    <a:pt x="1441" y="66"/>
                  </a:cubicBezTo>
                  <a:cubicBezTo>
                    <a:pt x="1441" y="201"/>
                    <a:pt x="1441" y="201"/>
                    <a:pt x="1441" y="201"/>
                  </a:cubicBezTo>
                  <a:cubicBezTo>
                    <a:pt x="1441" y="238"/>
                    <a:pt x="1411" y="268"/>
                    <a:pt x="1375" y="26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Freeform 23">
              <a:extLst>
                <a:ext uri="{FF2B5EF4-FFF2-40B4-BE49-F238E27FC236}">
                  <a16:creationId xmlns:a16="http://schemas.microsoft.com/office/drawing/2014/main" id="{3386609D-641E-4C67-A0D1-F42684228C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85196" y="4413250"/>
              <a:ext cx="309563" cy="976313"/>
            </a:xfrm>
            <a:custGeom>
              <a:avLst/>
              <a:gdLst>
                <a:gd name="T0" fmla="*/ 67 w 267"/>
                <a:gd name="T1" fmla="*/ 843 h 843"/>
                <a:gd name="T2" fmla="*/ 201 w 267"/>
                <a:gd name="T3" fmla="*/ 843 h 843"/>
                <a:gd name="T4" fmla="*/ 267 w 267"/>
                <a:gd name="T5" fmla="*/ 776 h 843"/>
                <a:gd name="T6" fmla="*/ 267 w 267"/>
                <a:gd name="T7" fmla="*/ 67 h 843"/>
                <a:gd name="T8" fmla="*/ 201 w 267"/>
                <a:gd name="T9" fmla="*/ 0 h 843"/>
                <a:gd name="T10" fmla="*/ 67 w 267"/>
                <a:gd name="T11" fmla="*/ 0 h 843"/>
                <a:gd name="T12" fmla="*/ 0 w 267"/>
                <a:gd name="T13" fmla="*/ 67 h 843"/>
                <a:gd name="T14" fmla="*/ 0 w 267"/>
                <a:gd name="T15" fmla="*/ 776 h 843"/>
                <a:gd name="T16" fmla="*/ 67 w 267"/>
                <a:gd name="T17" fmla="*/ 843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7" h="843">
                  <a:moveTo>
                    <a:pt x="67" y="843"/>
                  </a:moveTo>
                  <a:cubicBezTo>
                    <a:pt x="201" y="843"/>
                    <a:pt x="201" y="843"/>
                    <a:pt x="201" y="843"/>
                  </a:cubicBezTo>
                  <a:cubicBezTo>
                    <a:pt x="238" y="843"/>
                    <a:pt x="267" y="813"/>
                    <a:pt x="267" y="776"/>
                  </a:cubicBezTo>
                  <a:cubicBezTo>
                    <a:pt x="267" y="67"/>
                    <a:pt x="267" y="67"/>
                    <a:pt x="267" y="67"/>
                  </a:cubicBezTo>
                  <a:cubicBezTo>
                    <a:pt x="267" y="30"/>
                    <a:pt x="238" y="0"/>
                    <a:pt x="201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30" y="0"/>
                    <a:pt x="0" y="30"/>
                    <a:pt x="0" y="67"/>
                  </a:cubicBezTo>
                  <a:cubicBezTo>
                    <a:pt x="0" y="776"/>
                    <a:pt x="0" y="776"/>
                    <a:pt x="0" y="776"/>
                  </a:cubicBezTo>
                  <a:cubicBezTo>
                    <a:pt x="0" y="813"/>
                    <a:pt x="30" y="843"/>
                    <a:pt x="67" y="8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Freeform 24">
              <a:extLst>
                <a:ext uri="{FF2B5EF4-FFF2-40B4-BE49-F238E27FC236}">
                  <a16:creationId xmlns:a16="http://schemas.microsoft.com/office/drawing/2014/main" id="{A88ADFD3-6546-4AFE-9B45-C28BF95AB4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8221" y="4413250"/>
              <a:ext cx="309563" cy="976313"/>
            </a:xfrm>
            <a:custGeom>
              <a:avLst/>
              <a:gdLst>
                <a:gd name="T0" fmla="*/ 66 w 267"/>
                <a:gd name="T1" fmla="*/ 843 h 843"/>
                <a:gd name="T2" fmla="*/ 201 w 267"/>
                <a:gd name="T3" fmla="*/ 843 h 843"/>
                <a:gd name="T4" fmla="*/ 267 w 267"/>
                <a:gd name="T5" fmla="*/ 776 h 843"/>
                <a:gd name="T6" fmla="*/ 267 w 267"/>
                <a:gd name="T7" fmla="*/ 67 h 843"/>
                <a:gd name="T8" fmla="*/ 201 w 267"/>
                <a:gd name="T9" fmla="*/ 0 h 843"/>
                <a:gd name="T10" fmla="*/ 66 w 267"/>
                <a:gd name="T11" fmla="*/ 0 h 843"/>
                <a:gd name="T12" fmla="*/ 0 w 267"/>
                <a:gd name="T13" fmla="*/ 67 h 843"/>
                <a:gd name="T14" fmla="*/ 0 w 267"/>
                <a:gd name="T15" fmla="*/ 776 h 843"/>
                <a:gd name="T16" fmla="*/ 66 w 267"/>
                <a:gd name="T17" fmla="*/ 843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7" h="843">
                  <a:moveTo>
                    <a:pt x="66" y="843"/>
                  </a:moveTo>
                  <a:cubicBezTo>
                    <a:pt x="201" y="843"/>
                    <a:pt x="201" y="843"/>
                    <a:pt x="201" y="843"/>
                  </a:cubicBezTo>
                  <a:cubicBezTo>
                    <a:pt x="237" y="843"/>
                    <a:pt x="267" y="813"/>
                    <a:pt x="267" y="776"/>
                  </a:cubicBezTo>
                  <a:cubicBezTo>
                    <a:pt x="267" y="67"/>
                    <a:pt x="267" y="67"/>
                    <a:pt x="267" y="67"/>
                  </a:cubicBezTo>
                  <a:cubicBezTo>
                    <a:pt x="267" y="30"/>
                    <a:pt x="237" y="0"/>
                    <a:pt x="201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29" y="0"/>
                    <a:pt x="0" y="30"/>
                    <a:pt x="0" y="67"/>
                  </a:cubicBezTo>
                  <a:cubicBezTo>
                    <a:pt x="0" y="776"/>
                    <a:pt x="0" y="776"/>
                    <a:pt x="0" y="776"/>
                  </a:cubicBezTo>
                  <a:cubicBezTo>
                    <a:pt x="0" y="813"/>
                    <a:pt x="29" y="843"/>
                    <a:pt x="66" y="843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Freeform 25">
              <a:extLst>
                <a:ext uri="{FF2B5EF4-FFF2-40B4-BE49-F238E27FC236}">
                  <a16:creationId xmlns:a16="http://schemas.microsoft.com/office/drawing/2014/main" id="{C6DD773B-0ABA-4B3F-BB87-099A3C7273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0796" y="4318000"/>
              <a:ext cx="741363" cy="649288"/>
            </a:xfrm>
            <a:custGeom>
              <a:avLst/>
              <a:gdLst>
                <a:gd name="T0" fmla="*/ 112 w 640"/>
                <a:gd name="T1" fmla="*/ 560 h 561"/>
                <a:gd name="T2" fmla="*/ 415 w 640"/>
                <a:gd name="T3" fmla="*/ 511 h 561"/>
                <a:gd name="T4" fmla="*/ 426 w 640"/>
                <a:gd name="T5" fmla="*/ 510 h 561"/>
                <a:gd name="T6" fmla="*/ 597 w 640"/>
                <a:gd name="T7" fmla="*/ 532 h 561"/>
                <a:gd name="T8" fmla="*/ 640 w 640"/>
                <a:gd name="T9" fmla="*/ 495 h 561"/>
                <a:gd name="T10" fmla="*/ 638 w 640"/>
                <a:gd name="T11" fmla="*/ 484 h 561"/>
                <a:gd name="T12" fmla="*/ 584 w 640"/>
                <a:gd name="T13" fmla="*/ 176 h 561"/>
                <a:gd name="T14" fmla="*/ 584 w 640"/>
                <a:gd name="T15" fmla="*/ 42 h 561"/>
                <a:gd name="T16" fmla="*/ 536 w 640"/>
                <a:gd name="T17" fmla="*/ 7 h 561"/>
                <a:gd name="T18" fmla="*/ 495 w 640"/>
                <a:gd name="T19" fmla="*/ 18 h 561"/>
                <a:gd name="T20" fmla="*/ 485 w 640"/>
                <a:gd name="T21" fmla="*/ 19 h 561"/>
                <a:gd name="T22" fmla="*/ 40 w 640"/>
                <a:gd name="T23" fmla="*/ 19 h 561"/>
                <a:gd name="T24" fmla="*/ 3 w 640"/>
                <a:gd name="T25" fmla="*/ 48 h 561"/>
                <a:gd name="T26" fmla="*/ 2 w 640"/>
                <a:gd name="T27" fmla="*/ 53 h 561"/>
                <a:gd name="T28" fmla="*/ 4 w 640"/>
                <a:gd name="T29" fmla="*/ 75 h 561"/>
                <a:gd name="T30" fmla="*/ 62 w 640"/>
                <a:gd name="T31" fmla="*/ 346 h 561"/>
                <a:gd name="T32" fmla="*/ 63 w 640"/>
                <a:gd name="T33" fmla="*/ 520 h 561"/>
                <a:gd name="T34" fmla="*/ 85 w 640"/>
                <a:gd name="T35" fmla="*/ 555 h 561"/>
                <a:gd name="T36" fmla="*/ 90 w 640"/>
                <a:gd name="T37" fmla="*/ 557 h 561"/>
                <a:gd name="T38" fmla="*/ 112 w 640"/>
                <a:gd name="T39" fmla="*/ 560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0" h="561">
                  <a:moveTo>
                    <a:pt x="112" y="560"/>
                  </a:moveTo>
                  <a:cubicBezTo>
                    <a:pt x="415" y="511"/>
                    <a:pt x="415" y="511"/>
                    <a:pt x="415" y="511"/>
                  </a:cubicBezTo>
                  <a:cubicBezTo>
                    <a:pt x="419" y="510"/>
                    <a:pt x="422" y="510"/>
                    <a:pt x="426" y="510"/>
                  </a:cubicBezTo>
                  <a:cubicBezTo>
                    <a:pt x="597" y="532"/>
                    <a:pt x="597" y="532"/>
                    <a:pt x="597" y="532"/>
                  </a:cubicBezTo>
                  <a:cubicBezTo>
                    <a:pt x="620" y="535"/>
                    <a:pt x="640" y="518"/>
                    <a:pt x="640" y="495"/>
                  </a:cubicBezTo>
                  <a:cubicBezTo>
                    <a:pt x="640" y="491"/>
                    <a:pt x="639" y="487"/>
                    <a:pt x="638" y="484"/>
                  </a:cubicBezTo>
                  <a:cubicBezTo>
                    <a:pt x="629" y="453"/>
                    <a:pt x="581" y="294"/>
                    <a:pt x="584" y="176"/>
                  </a:cubicBezTo>
                  <a:cubicBezTo>
                    <a:pt x="586" y="114"/>
                    <a:pt x="585" y="70"/>
                    <a:pt x="584" y="42"/>
                  </a:cubicBezTo>
                  <a:cubicBezTo>
                    <a:pt x="583" y="17"/>
                    <a:pt x="560" y="0"/>
                    <a:pt x="536" y="7"/>
                  </a:cubicBezTo>
                  <a:cubicBezTo>
                    <a:pt x="495" y="18"/>
                    <a:pt x="495" y="18"/>
                    <a:pt x="495" y="18"/>
                  </a:cubicBezTo>
                  <a:cubicBezTo>
                    <a:pt x="492" y="19"/>
                    <a:pt x="489" y="19"/>
                    <a:pt x="485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2" y="19"/>
                    <a:pt x="7" y="31"/>
                    <a:pt x="3" y="48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0" y="60"/>
                    <a:pt x="1" y="68"/>
                    <a:pt x="4" y="75"/>
                  </a:cubicBezTo>
                  <a:cubicBezTo>
                    <a:pt x="17" y="110"/>
                    <a:pt x="59" y="229"/>
                    <a:pt x="62" y="346"/>
                  </a:cubicBezTo>
                  <a:cubicBezTo>
                    <a:pt x="64" y="434"/>
                    <a:pt x="64" y="490"/>
                    <a:pt x="63" y="520"/>
                  </a:cubicBezTo>
                  <a:cubicBezTo>
                    <a:pt x="63" y="535"/>
                    <a:pt x="71" y="549"/>
                    <a:pt x="85" y="555"/>
                  </a:cubicBezTo>
                  <a:cubicBezTo>
                    <a:pt x="90" y="557"/>
                    <a:pt x="90" y="557"/>
                    <a:pt x="90" y="557"/>
                  </a:cubicBezTo>
                  <a:cubicBezTo>
                    <a:pt x="97" y="560"/>
                    <a:pt x="104" y="561"/>
                    <a:pt x="112" y="56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Freeform 26">
              <a:extLst>
                <a:ext uri="{FF2B5EF4-FFF2-40B4-BE49-F238E27FC236}">
                  <a16:creationId xmlns:a16="http://schemas.microsoft.com/office/drawing/2014/main" id="{B1F6FC63-2295-426D-9FC5-AA0DBEFB8D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3258" y="4635500"/>
              <a:ext cx="88900" cy="300038"/>
            </a:xfrm>
            <a:custGeom>
              <a:avLst/>
              <a:gdLst>
                <a:gd name="T0" fmla="*/ 34 w 78"/>
                <a:gd name="T1" fmla="*/ 257 h 260"/>
                <a:gd name="T2" fmla="*/ 37 w 78"/>
                <a:gd name="T3" fmla="*/ 258 h 260"/>
                <a:gd name="T4" fmla="*/ 78 w 78"/>
                <a:gd name="T5" fmla="*/ 221 h 260"/>
                <a:gd name="T6" fmla="*/ 76 w 78"/>
                <a:gd name="T7" fmla="*/ 210 h 260"/>
                <a:gd name="T8" fmla="*/ 29 w 78"/>
                <a:gd name="T9" fmla="*/ 0 h 260"/>
                <a:gd name="T10" fmla="*/ 3 w 78"/>
                <a:gd name="T11" fmla="*/ 187 h 260"/>
                <a:gd name="T12" fmla="*/ 34 w 78"/>
                <a:gd name="T13" fmla="*/ 257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260">
                  <a:moveTo>
                    <a:pt x="34" y="257"/>
                  </a:moveTo>
                  <a:cubicBezTo>
                    <a:pt x="35" y="257"/>
                    <a:pt x="36" y="258"/>
                    <a:pt x="37" y="258"/>
                  </a:cubicBezTo>
                  <a:cubicBezTo>
                    <a:pt x="59" y="260"/>
                    <a:pt x="78" y="243"/>
                    <a:pt x="78" y="221"/>
                  </a:cubicBezTo>
                  <a:cubicBezTo>
                    <a:pt x="78" y="217"/>
                    <a:pt x="77" y="213"/>
                    <a:pt x="76" y="210"/>
                  </a:cubicBezTo>
                  <a:cubicBezTo>
                    <a:pt x="69" y="187"/>
                    <a:pt x="41" y="94"/>
                    <a:pt x="29" y="0"/>
                  </a:cubicBezTo>
                  <a:cubicBezTo>
                    <a:pt x="3" y="187"/>
                    <a:pt x="3" y="187"/>
                    <a:pt x="3" y="187"/>
                  </a:cubicBezTo>
                  <a:cubicBezTo>
                    <a:pt x="3" y="187"/>
                    <a:pt x="0" y="236"/>
                    <a:pt x="34" y="25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Freeform 27">
              <a:extLst>
                <a:ext uri="{FF2B5EF4-FFF2-40B4-BE49-F238E27FC236}">
                  <a16:creationId xmlns:a16="http://schemas.microsoft.com/office/drawing/2014/main" id="{EE78D202-5B9F-479B-8989-58167723EB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0796" y="4346575"/>
              <a:ext cx="146050" cy="611188"/>
            </a:xfrm>
            <a:custGeom>
              <a:avLst/>
              <a:gdLst>
                <a:gd name="T0" fmla="*/ 20 w 126"/>
                <a:gd name="T1" fmla="*/ 0 h 528"/>
                <a:gd name="T2" fmla="*/ 3 w 126"/>
                <a:gd name="T3" fmla="*/ 23 h 528"/>
                <a:gd name="T4" fmla="*/ 2 w 126"/>
                <a:gd name="T5" fmla="*/ 28 h 528"/>
                <a:gd name="T6" fmla="*/ 4 w 126"/>
                <a:gd name="T7" fmla="*/ 50 h 528"/>
                <a:gd name="T8" fmla="*/ 62 w 126"/>
                <a:gd name="T9" fmla="*/ 321 h 528"/>
                <a:gd name="T10" fmla="*/ 63 w 126"/>
                <a:gd name="T11" fmla="*/ 495 h 528"/>
                <a:gd name="T12" fmla="*/ 82 w 126"/>
                <a:gd name="T13" fmla="*/ 528 h 528"/>
                <a:gd name="T14" fmla="*/ 126 w 126"/>
                <a:gd name="T15" fmla="*/ 206 h 528"/>
                <a:gd name="T16" fmla="*/ 20 w 126"/>
                <a:gd name="T17" fmla="*/ 0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" h="528">
                  <a:moveTo>
                    <a:pt x="20" y="0"/>
                  </a:moveTo>
                  <a:cubicBezTo>
                    <a:pt x="12" y="5"/>
                    <a:pt x="5" y="13"/>
                    <a:pt x="3" y="23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0" y="35"/>
                    <a:pt x="1" y="43"/>
                    <a:pt x="4" y="50"/>
                  </a:cubicBezTo>
                  <a:cubicBezTo>
                    <a:pt x="17" y="85"/>
                    <a:pt x="59" y="204"/>
                    <a:pt x="62" y="321"/>
                  </a:cubicBezTo>
                  <a:cubicBezTo>
                    <a:pt x="64" y="409"/>
                    <a:pt x="64" y="465"/>
                    <a:pt x="63" y="495"/>
                  </a:cubicBezTo>
                  <a:cubicBezTo>
                    <a:pt x="63" y="509"/>
                    <a:pt x="70" y="522"/>
                    <a:pt x="82" y="528"/>
                  </a:cubicBezTo>
                  <a:cubicBezTo>
                    <a:pt x="126" y="206"/>
                    <a:pt x="126" y="206"/>
                    <a:pt x="126" y="206"/>
                  </a:cubicBezTo>
                  <a:lnTo>
                    <a:pt x="2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28">
              <a:extLst>
                <a:ext uri="{FF2B5EF4-FFF2-40B4-BE49-F238E27FC236}">
                  <a16:creationId xmlns:a16="http://schemas.microsoft.com/office/drawing/2014/main" id="{74D347BA-5059-4425-8EF7-0AD677AB94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6058" y="4292600"/>
              <a:ext cx="739775" cy="649288"/>
            </a:xfrm>
            <a:custGeom>
              <a:avLst/>
              <a:gdLst>
                <a:gd name="T0" fmla="*/ 112 w 640"/>
                <a:gd name="T1" fmla="*/ 1 h 561"/>
                <a:gd name="T2" fmla="*/ 415 w 640"/>
                <a:gd name="T3" fmla="*/ 51 h 561"/>
                <a:gd name="T4" fmla="*/ 426 w 640"/>
                <a:gd name="T5" fmla="*/ 51 h 561"/>
                <a:gd name="T6" fmla="*/ 597 w 640"/>
                <a:gd name="T7" fmla="*/ 29 h 561"/>
                <a:gd name="T8" fmla="*/ 640 w 640"/>
                <a:gd name="T9" fmla="*/ 67 h 561"/>
                <a:gd name="T10" fmla="*/ 638 w 640"/>
                <a:gd name="T11" fmla="*/ 78 h 561"/>
                <a:gd name="T12" fmla="*/ 584 w 640"/>
                <a:gd name="T13" fmla="*/ 386 h 561"/>
                <a:gd name="T14" fmla="*/ 584 w 640"/>
                <a:gd name="T15" fmla="*/ 520 h 561"/>
                <a:gd name="T16" fmla="*/ 536 w 640"/>
                <a:gd name="T17" fmla="*/ 555 h 561"/>
                <a:gd name="T18" fmla="*/ 495 w 640"/>
                <a:gd name="T19" fmla="*/ 544 h 561"/>
                <a:gd name="T20" fmla="*/ 485 w 640"/>
                <a:gd name="T21" fmla="*/ 543 h 561"/>
                <a:gd name="T22" fmla="*/ 40 w 640"/>
                <a:gd name="T23" fmla="*/ 543 h 561"/>
                <a:gd name="T24" fmla="*/ 3 w 640"/>
                <a:gd name="T25" fmla="*/ 513 h 561"/>
                <a:gd name="T26" fmla="*/ 2 w 640"/>
                <a:gd name="T27" fmla="*/ 509 h 561"/>
                <a:gd name="T28" fmla="*/ 4 w 640"/>
                <a:gd name="T29" fmla="*/ 487 h 561"/>
                <a:gd name="T30" fmla="*/ 62 w 640"/>
                <a:gd name="T31" fmla="*/ 215 h 561"/>
                <a:gd name="T32" fmla="*/ 63 w 640"/>
                <a:gd name="T33" fmla="*/ 42 h 561"/>
                <a:gd name="T34" fmla="*/ 85 w 640"/>
                <a:gd name="T35" fmla="*/ 6 h 561"/>
                <a:gd name="T36" fmla="*/ 90 w 640"/>
                <a:gd name="T37" fmla="*/ 4 h 561"/>
                <a:gd name="T38" fmla="*/ 112 w 640"/>
                <a:gd name="T39" fmla="*/ 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0" h="561">
                  <a:moveTo>
                    <a:pt x="112" y="1"/>
                  </a:moveTo>
                  <a:cubicBezTo>
                    <a:pt x="415" y="51"/>
                    <a:pt x="415" y="51"/>
                    <a:pt x="415" y="51"/>
                  </a:cubicBezTo>
                  <a:cubicBezTo>
                    <a:pt x="419" y="51"/>
                    <a:pt x="422" y="51"/>
                    <a:pt x="426" y="51"/>
                  </a:cubicBezTo>
                  <a:cubicBezTo>
                    <a:pt x="597" y="29"/>
                    <a:pt x="597" y="29"/>
                    <a:pt x="597" y="29"/>
                  </a:cubicBezTo>
                  <a:cubicBezTo>
                    <a:pt x="620" y="26"/>
                    <a:pt x="640" y="44"/>
                    <a:pt x="640" y="67"/>
                  </a:cubicBezTo>
                  <a:cubicBezTo>
                    <a:pt x="640" y="71"/>
                    <a:pt x="639" y="74"/>
                    <a:pt x="638" y="78"/>
                  </a:cubicBezTo>
                  <a:cubicBezTo>
                    <a:pt x="629" y="109"/>
                    <a:pt x="581" y="267"/>
                    <a:pt x="584" y="386"/>
                  </a:cubicBezTo>
                  <a:cubicBezTo>
                    <a:pt x="586" y="448"/>
                    <a:pt x="585" y="491"/>
                    <a:pt x="584" y="520"/>
                  </a:cubicBezTo>
                  <a:cubicBezTo>
                    <a:pt x="583" y="544"/>
                    <a:pt x="560" y="561"/>
                    <a:pt x="536" y="555"/>
                  </a:cubicBezTo>
                  <a:cubicBezTo>
                    <a:pt x="495" y="544"/>
                    <a:pt x="495" y="544"/>
                    <a:pt x="495" y="544"/>
                  </a:cubicBezTo>
                  <a:cubicBezTo>
                    <a:pt x="492" y="543"/>
                    <a:pt x="489" y="543"/>
                    <a:pt x="485" y="543"/>
                  </a:cubicBezTo>
                  <a:cubicBezTo>
                    <a:pt x="40" y="543"/>
                    <a:pt x="40" y="543"/>
                    <a:pt x="40" y="543"/>
                  </a:cubicBezTo>
                  <a:cubicBezTo>
                    <a:pt x="22" y="543"/>
                    <a:pt x="7" y="530"/>
                    <a:pt x="3" y="513"/>
                  </a:cubicBezTo>
                  <a:cubicBezTo>
                    <a:pt x="2" y="509"/>
                    <a:pt x="2" y="509"/>
                    <a:pt x="2" y="509"/>
                  </a:cubicBezTo>
                  <a:cubicBezTo>
                    <a:pt x="0" y="501"/>
                    <a:pt x="1" y="494"/>
                    <a:pt x="4" y="487"/>
                  </a:cubicBezTo>
                  <a:cubicBezTo>
                    <a:pt x="17" y="451"/>
                    <a:pt x="59" y="332"/>
                    <a:pt x="62" y="215"/>
                  </a:cubicBezTo>
                  <a:cubicBezTo>
                    <a:pt x="64" y="127"/>
                    <a:pt x="64" y="71"/>
                    <a:pt x="63" y="42"/>
                  </a:cubicBezTo>
                  <a:cubicBezTo>
                    <a:pt x="63" y="27"/>
                    <a:pt x="71" y="13"/>
                    <a:pt x="85" y="6"/>
                  </a:cubicBezTo>
                  <a:cubicBezTo>
                    <a:pt x="90" y="4"/>
                    <a:pt x="90" y="4"/>
                    <a:pt x="90" y="4"/>
                  </a:cubicBezTo>
                  <a:cubicBezTo>
                    <a:pt x="97" y="1"/>
                    <a:pt x="104" y="0"/>
                    <a:pt x="112" y="1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29">
              <a:extLst>
                <a:ext uri="{FF2B5EF4-FFF2-40B4-BE49-F238E27FC236}">
                  <a16:creationId xmlns:a16="http://schemas.microsoft.com/office/drawing/2014/main" id="{BCB2A547-497C-4F52-BE81-D442BF7B35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93121" y="4356100"/>
              <a:ext cx="112713" cy="552450"/>
            </a:xfrm>
            <a:custGeom>
              <a:avLst/>
              <a:gdLst>
                <a:gd name="T0" fmla="*/ 98 w 98"/>
                <a:gd name="T1" fmla="*/ 12 h 478"/>
                <a:gd name="T2" fmla="*/ 96 w 98"/>
                <a:gd name="T3" fmla="*/ 0 h 478"/>
                <a:gd name="T4" fmla="*/ 0 w 98"/>
                <a:gd name="T5" fmla="*/ 101 h 478"/>
                <a:gd name="T6" fmla="*/ 39 w 98"/>
                <a:gd name="T7" fmla="*/ 478 h 478"/>
                <a:gd name="T8" fmla="*/ 42 w 98"/>
                <a:gd name="T9" fmla="*/ 465 h 478"/>
                <a:gd name="T10" fmla="*/ 42 w 98"/>
                <a:gd name="T11" fmla="*/ 331 h 478"/>
                <a:gd name="T12" fmla="*/ 96 w 98"/>
                <a:gd name="T13" fmla="*/ 23 h 478"/>
                <a:gd name="T14" fmla="*/ 98 w 98"/>
                <a:gd name="T15" fmla="*/ 12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" h="478">
                  <a:moveTo>
                    <a:pt x="98" y="12"/>
                  </a:moveTo>
                  <a:cubicBezTo>
                    <a:pt x="98" y="8"/>
                    <a:pt x="97" y="4"/>
                    <a:pt x="96" y="0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39" y="478"/>
                    <a:pt x="39" y="478"/>
                    <a:pt x="39" y="478"/>
                  </a:cubicBezTo>
                  <a:cubicBezTo>
                    <a:pt x="41" y="474"/>
                    <a:pt x="42" y="470"/>
                    <a:pt x="42" y="465"/>
                  </a:cubicBezTo>
                  <a:cubicBezTo>
                    <a:pt x="43" y="436"/>
                    <a:pt x="44" y="393"/>
                    <a:pt x="42" y="331"/>
                  </a:cubicBezTo>
                  <a:cubicBezTo>
                    <a:pt x="39" y="212"/>
                    <a:pt x="87" y="54"/>
                    <a:pt x="96" y="23"/>
                  </a:cubicBezTo>
                  <a:cubicBezTo>
                    <a:pt x="97" y="19"/>
                    <a:pt x="98" y="16"/>
                    <a:pt x="98" y="12"/>
                  </a:cubicBezTo>
                </a:path>
              </a:pathLst>
            </a:custGeom>
            <a:solidFill>
              <a:srgbClr val="37B0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30">
              <a:extLst>
                <a:ext uri="{FF2B5EF4-FFF2-40B4-BE49-F238E27FC236}">
                  <a16:creationId xmlns:a16="http://schemas.microsoft.com/office/drawing/2014/main" id="{AAE37609-B819-461B-B8A2-407BF3A89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7496" y="4357688"/>
              <a:ext cx="668338" cy="101600"/>
            </a:xfrm>
            <a:custGeom>
              <a:avLst/>
              <a:gdLst>
                <a:gd name="T0" fmla="*/ 246 w 577"/>
                <a:gd name="T1" fmla="*/ 86 h 89"/>
                <a:gd name="T2" fmla="*/ 568 w 577"/>
                <a:gd name="T3" fmla="*/ 46 h 89"/>
                <a:gd name="T4" fmla="*/ 575 w 577"/>
                <a:gd name="T5" fmla="*/ 22 h 89"/>
                <a:gd name="T6" fmla="*/ 577 w 577"/>
                <a:gd name="T7" fmla="*/ 14 h 89"/>
                <a:gd name="T8" fmla="*/ 243 w 577"/>
                <a:gd name="T9" fmla="*/ 38 h 89"/>
                <a:gd name="T10" fmla="*/ 0 w 577"/>
                <a:gd name="T11" fmla="*/ 0 h 89"/>
                <a:gd name="T12" fmla="*/ 1 w 577"/>
                <a:gd name="T13" fmla="*/ 47 h 89"/>
                <a:gd name="T14" fmla="*/ 246 w 577"/>
                <a:gd name="T15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" h="89">
                  <a:moveTo>
                    <a:pt x="246" y="86"/>
                  </a:moveTo>
                  <a:cubicBezTo>
                    <a:pt x="262" y="83"/>
                    <a:pt x="517" y="52"/>
                    <a:pt x="568" y="46"/>
                  </a:cubicBezTo>
                  <a:cubicBezTo>
                    <a:pt x="571" y="35"/>
                    <a:pt x="574" y="27"/>
                    <a:pt x="575" y="22"/>
                  </a:cubicBezTo>
                  <a:cubicBezTo>
                    <a:pt x="576" y="19"/>
                    <a:pt x="577" y="17"/>
                    <a:pt x="577" y="14"/>
                  </a:cubicBezTo>
                  <a:cubicBezTo>
                    <a:pt x="243" y="38"/>
                    <a:pt x="243" y="38"/>
                    <a:pt x="243" y="38"/>
                  </a:cubicBezTo>
                  <a:cubicBezTo>
                    <a:pt x="243" y="38"/>
                    <a:pt x="50" y="11"/>
                    <a:pt x="0" y="0"/>
                  </a:cubicBezTo>
                  <a:cubicBezTo>
                    <a:pt x="0" y="12"/>
                    <a:pt x="1" y="28"/>
                    <a:pt x="1" y="47"/>
                  </a:cubicBezTo>
                  <a:cubicBezTo>
                    <a:pt x="49" y="56"/>
                    <a:pt x="231" y="89"/>
                    <a:pt x="246" y="86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31">
              <a:extLst>
                <a:ext uri="{FF2B5EF4-FFF2-40B4-BE49-F238E27FC236}">
                  <a16:creationId xmlns:a16="http://schemas.microsoft.com/office/drawing/2014/main" id="{66AF7A68-8830-4E50-A3A2-99A7AC43FD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7808" y="4697413"/>
              <a:ext cx="644525" cy="92075"/>
            </a:xfrm>
            <a:custGeom>
              <a:avLst/>
              <a:gdLst>
                <a:gd name="T0" fmla="*/ 16 w 557"/>
                <a:gd name="T1" fmla="*/ 0 h 80"/>
                <a:gd name="T2" fmla="*/ 0 w 557"/>
                <a:gd name="T3" fmla="*/ 63 h 80"/>
                <a:gd name="T4" fmla="*/ 208 w 557"/>
                <a:gd name="T5" fmla="*/ 64 h 80"/>
                <a:gd name="T6" fmla="*/ 557 w 557"/>
                <a:gd name="T7" fmla="*/ 80 h 80"/>
                <a:gd name="T8" fmla="*/ 556 w 557"/>
                <a:gd name="T9" fmla="*/ 36 h 80"/>
                <a:gd name="T10" fmla="*/ 556 w 557"/>
                <a:gd name="T11" fmla="*/ 22 h 80"/>
                <a:gd name="T12" fmla="*/ 132 w 557"/>
                <a:gd name="T13" fmla="*/ 22 h 80"/>
                <a:gd name="T14" fmla="*/ 16 w 557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7" h="80">
                  <a:moveTo>
                    <a:pt x="16" y="0"/>
                  </a:moveTo>
                  <a:cubicBezTo>
                    <a:pt x="11" y="23"/>
                    <a:pt x="6" y="44"/>
                    <a:pt x="0" y="63"/>
                  </a:cubicBezTo>
                  <a:cubicBezTo>
                    <a:pt x="74" y="64"/>
                    <a:pt x="208" y="64"/>
                    <a:pt x="208" y="64"/>
                  </a:cubicBezTo>
                  <a:cubicBezTo>
                    <a:pt x="557" y="80"/>
                    <a:pt x="557" y="80"/>
                    <a:pt x="557" y="80"/>
                  </a:cubicBezTo>
                  <a:cubicBezTo>
                    <a:pt x="557" y="67"/>
                    <a:pt x="557" y="52"/>
                    <a:pt x="556" y="36"/>
                  </a:cubicBezTo>
                  <a:cubicBezTo>
                    <a:pt x="556" y="31"/>
                    <a:pt x="556" y="27"/>
                    <a:pt x="556" y="22"/>
                  </a:cubicBezTo>
                  <a:cubicBezTo>
                    <a:pt x="132" y="22"/>
                    <a:pt x="132" y="22"/>
                    <a:pt x="132" y="22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Freeform 32">
              <a:extLst>
                <a:ext uri="{FF2B5EF4-FFF2-40B4-BE49-F238E27FC236}">
                  <a16:creationId xmlns:a16="http://schemas.microsoft.com/office/drawing/2014/main" id="{156DEE64-A5F3-4358-8EB2-948F206B2E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6058" y="4822825"/>
              <a:ext cx="676275" cy="119063"/>
            </a:xfrm>
            <a:custGeom>
              <a:avLst/>
              <a:gdLst>
                <a:gd name="T0" fmla="*/ 9 w 585"/>
                <a:gd name="T1" fmla="*/ 12 h 102"/>
                <a:gd name="T2" fmla="*/ 4 w 585"/>
                <a:gd name="T3" fmla="*/ 28 h 102"/>
                <a:gd name="T4" fmla="*/ 2 w 585"/>
                <a:gd name="T5" fmla="*/ 50 h 102"/>
                <a:gd name="T6" fmla="*/ 3 w 585"/>
                <a:gd name="T7" fmla="*/ 54 h 102"/>
                <a:gd name="T8" fmla="*/ 28 w 585"/>
                <a:gd name="T9" fmla="*/ 81 h 102"/>
                <a:gd name="T10" fmla="*/ 224 w 585"/>
                <a:gd name="T11" fmla="*/ 57 h 102"/>
                <a:gd name="T12" fmla="*/ 459 w 585"/>
                <a:gd name="T13" fmla="*/ 84 h 102"/>
                <a:gd name="T14" fmla="*/ 485 w 585"/>
                <a:gd name="T15" fmla="*/ 84 h 102"/>
                <a:gd name="T16" fmla="*/ 495 w 585"/>
                <a:gd name="T17" fmla="*/ 85 h 102"/>
                <a:gd name="T18" fmla="*/ 536 w 585"/>
                <a:gd name="T19" fmla="*/ 96 h 102"/>
                <a:gd name="T20" fmla="*/ 584 w 585"/>
                <a:gd name="T21" fmla="*/ 61 h 102"/>
                <a:gd name="T22" fmla="*/ 585 w 585"/>
                <a:gd name="T23" fmla="*/ 33 h 102"/>
                <a:gd name="T24" fmla="*/ 212 w 585"/>
                <a:gd name="T25" fmla="*/ 0 h 102"/>
                <a:gd name="T26" fmla="*/ 9 w 585"/>
                <a:gd name="T27" fmla="*/ 1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5" h="102">
                  <a:moveTo>
                    <a:pt x="9" y="12"/>
                  </a:moveTo>
                  <a:cubicBezTo>
                    <a:pt x="7" y="18"/>
                    <a:pt x="5" y="24"/>
                    <a:pt x="4" y="28"/>
                  </a:cubicBezTo>
                  <a:cubicBezTo>
                    <a:pt x="1" y="35"/>
                    <a:pt x="0" y="42"/>
                    <a:pt x="2" y="50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6" y="67"/>
                    <a:pt x="16" y="77"/>
                    <a:pt x="28" y="81"/>
                  </a:cubicBezTo>
                  <a:cubicBezTo>
                    <a:pt x="224" y="57"/>
                    <a:pt x="224" y="57"/>
                    <a:pt x="224" y="57"/>
                  </a:cubicBezTo>
                  <a:cubicBezTo>
                    <a:pt x="459" y="84"/>
                    <a:pt x="459" y="84"/>
                    <a:pt x="459" y="84"/>
                  </a:cubicBezTo>
                  <a:cubicBezTo>
                    <a:pt x="485" y="84"/>
                    <a:pt x="485" y="84"/>
                    <a:pt x="485" y="84"/>
                  </a:cubicBezTo>
                  <a:cubicBezTo>
                    <a:pt x="489" y="84"/>
                    <a:pt x="492" y="84"/>
                    <a:pt x="495" y="85"/>
                  </a:cubicBezTo>
                  <a:cubicBezTo>
                    <a:pt x="536" y="96"/>
                    <a:pt x="536" y="96"/>
                    <a:pt x="536" y="96"/>
                  </a:cubicBezTo>
                  <a:cubicBezTo>
                    <a:pt x="560" y="102"/>
                    <a:pt x="583" y="85"/>
                    <a:pt x="584" y="61"/>
                  </a:cubicBezTo>
                  <a:cubicBezTo>
                    <a:pt x="584" y="53"/>
                    <a:pt x="585" y="44"/>
                    <a:pt x="585" y="33"/>
                  </a:cubicBezTo>
                  <a:cubicBezTo>
                    <a:pt x="212" y="0"/>
                    <a:pt x="212" y="0"/>
                    <a:pt x="212" y="0"/>
                  </a:cubicBezTo>
                  <a:lnTo>
                    <a:pt x="9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33">
              <a:extLst>
                <a:ext uri="{FF2B5EF4-FFF2-40B4-BE49-F238E27FC236}">
                  <a16:creationId xmlns:a16="http://schemas.microsoft.com/office/drawing/2014/main" id="{B1D97B79-0821-4214-BCF8-50130D65C1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7496" y="4486275"/>
              <a:ext cx="635000" cy="74613"/>
            </a:xfrm>
            <a:custGeom>
              <a:avLst/>
              <a:gdLst>
                <a:gd name="T0" fmla="*/ 1 w 548"/>
                <a:gd name="T1" fmla="*/ 0 h 64"/>
                <a:gd name="T2" fmla="*/ 0 w 548"/>
                <a:gd name="T3" fmla="*/ 47 h 64"/>
                <a:gd name="T4" fmla="*/ 0 w 548"/>
                <a:gd name="T5" fmla="*/ 51 h 64"/>
                <a:gd name="T6" fmla="*/ 289 w 548"/>
                <a:gd name="T7" fmla="*/ 51 h 64"/>
                <a:gd name="T8" fmla="*/ 538 w 548"/>
                <a:gd name="T9" fmla="*/ 64 h 64"/>
                <a:gd name="T10" fmla="*/ 548 w 548"/>
                <a:gd name="T11" fmla="*/ 13 h 64"/>
                <a:gd name="T12" fmla="*/ 390 w 548"/>
                <a:gd name="T13" fmla="*/ 26 h 64"/>
                <a:gd name="T14" fmla="*/ 1 w 548"/>
                <a:gd name="T1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8" h="64">
                  <a:moveTo>
                    <a:pt x="1" y="0"/>
                  </a:moveTo>
                  <a:cubicBezTo>
                    <a:pt x="1" y="14"/>
                    <a:pt x="1" y="30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289" y="51"/>
                    <a:pt x="289" y="51"/>
                    <a:pt x="289" y="51"/>
                  </a:cubicBezTo>
                  <a:cubicBezTo>
                    <a:pt x="538" y="64"/>
                    <a:pt x="538" y="64"/>
                    <a:pt x="538" y="64"/>
                  </a:cubicBezTo>
                  <a:cubicBezTo>
                    <a:pt x="541" y="47"/>
                    <a:pt x="545" y="29"/>
                    <a:pt x="548" y="13"/>
                  </a:cubicBezTo>
                  <a:cubicBezTo>
                    <a:pt x="516" y="15"/>
                    <a:pt x="399" y="23"/>
                    <a:pt x="390" y="26"/>
                  </a:cubicBezTo>
                  <a:cubicBezTo>
                    <a:pt x="381" y="30"/>
                    <a:pt x="65" y="5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Freeform 34">
              <a:extLst>
                <a:ext uri="{FF2B5EF4-FFF2-40B4-BE49-F238E27FC236}">
                  <a16:creationId xmlns:a16="http://schemas.microsoft.com/office/drawing/2014/main" id="{29C144AF-9EA9-4327-B993-A6D67EDD14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26383" y="4592638"/>
              <a:ext cx="627063" cy="77788"/>
            </a:xfrm>
            <a:custGeom>
              <a:avLst/>
              <a:gdLst>
                <a:gd name="T0" fmla="*/ 6 w 541"/>
                <a:gd name="T1" fmla="*/ 0 h 68"/>
                <a:gd name="T2" fmla="*/ 0 w 541"/>
                <a:gd name="T3" fmla="*/ 49 h 68"/>
                <a:gd name="T4" fmla="*/ 298 w 541"/>
                <a:gd name="T5" fmla="*/ 68 h 68"/>
                <a:gd name="T6" fmla="*/ 535 w 541"/>
                <a:gd name="T7" fmla="*/ 49 h 68"/>
                <a:gd name="T8" fmla="*/ 541 w 541"/>
                <a:gd name="T9" fmla="*/ 6 h 68"/>
                <a:gd name="T10" fmla="*/ 152 w 541"/>
                <a:gd name="T11" fmla="*/ 16 h 68"/>
                <a:gd name="T12" fmla="*/ 6 w 541"/>
                <a:gd name="T13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1" h="68">
                  <a:moveTo>
                    <a:pt x="6" y="0"/>
                  </a:moveTo>
                  <a:cubicBezTo>
                    <a:pt x="5" y="17"/>
                    <a:pt x="2" y="33"/>
                    <a:pt x="0" y="49"/>
                  </a:cubicBezTo>
                  <a:cubicBezTo>
                    <a:pt x="298" y="68"/>
                    <a:pt x="298" y="68"/>
                    <a:pt x="298" y="68"/>
                  </a:cubicBezTo>
                  <a:cubicBezTo>
                    <a:pt x="535" y="49"/>
                    <a:pt x="535" y="49"/>
                    <a:pt x="535" y="49"/>
                  </a:cubicBezTo>
                  <a:cubicBezTo>
                    <a:pt x="537" y="35"/>
                    <a:pt x="539" y="20"/>
                    <a:pt x="541" y="6"/>
                  </a:cubicBezTo>
                  <a:cubicBezTo>
                    <a:pt x="152" y="16"/>
                    <a:pt x="152" y="16"/>
                    <a:pt x="152" y="16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Freeform 35">
              <a:extLst>
                <a:ext uri="{FF2B5EF4-FFF2-40B4-BE49-F238E27FC236}">
                  <a16:creationId xmlns:a16="http://schemas.microsoft.com/office/drawing/2014/main" id="{012035EC-C73F-4486-8CA5-344BA18106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7096" y="4373563"/>
              <a:ext cx="58738" cy="42863"/>
            </a:xfrm>
            <a:custGeom>
              <a:avLst/>
              <a:gdLst>
                <a:gd name="T0" fmla="*/ 44 w 51"/>
                <a:gd name="T1" fmla="*/ 24 h 37"/>
                <a:gd name="T2" fmla="*/ 45 w 51"/>
                <a:gd name="T3" fmla="*/ 20 h 37"/>
                <a:gd name="T4" fmla="*/ 46 w 51"/>
                <a:gd name="T5" fmla="*/ 19 h 37"/>
                <a:gd name="T6" fmla="*/ 47 w 51"/>
                <a:gd name="T7" fmla="*/ 16 h 37"/>
                <a:gd name="T8" fmla="*/ 47 w 51"/>
                <a:gd name="T9" fmla="*/ 15 h 37"/>
                <a:gd name="T10" fmla="*/ 48 w 51"/>
                <a:gd name="T11" fmla="*/ 12 h 37"/>
                <a:gd name="T12" fmla="*/ 48 w 51"/>
                <a:gd name="T13" fmla="*/ 11 h 37"/>
                <a:gd name="T14" fmla="*/ 49 w 51"/>
                <a:gd name="T15" fmla="*/ 8 h 37"/>
                <a:gd name="T16" fmla="*/ 50 w 51"/>
                <a:gd name="T17" fmla="*/ 4 h 37"/>
                <a:gd name="T18" fmla="*/ 50 w 51"/>
                <a:gd name="T19" fmla="*/ 4 h 37"/>
                <a:gd name="T20" fmla="*/ 51 w 51"/>
                <a:gd name="T21" fmla="*/ 0 h 37"/>
                <a:gd name="T22" fmla="*/ 34 w 51"/>
                <a:gd name="T23" fmla="*/ 1 h 37"/>
                <a:gd name="T24" fmla="*/ 0 w 51"/>
                <a:gd name="T25" fmla="*/ 37 h 37"/>
                <a:gd name="T26" fmla="*/ 42 w 51"/>
                <a:gd name="T27" fmla="*/ 32 h 37"/>
                <a:gd name="T28" fmla="*/ 43 w 51"/>
                <a:gd name="T29" fmla="*/ 30 h 37"/>
                <a:gd name="T30" fmla="*/ 44 w 51"/>
                <a:gd name="T31" fmla="*/ 26 h 37"/>
                <a:gd name="T32" fmla="*/ 44 w 51"/>
                <a:gd name="T33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37">
                  <a:moveTo>
                    <a:pt x="44" y="24"/>
                  </a:moveTo>
                  <a:cubicBezTo>
                    <a:pt x="45" y="23"/>
                    <a:pt x="45" y="22"/>
                    <a:pt x="45" y="20"/>
                  </a:cubicBezTo>
                  <a:cubicBezTo>
                    <a:pt x="46" y="20"/>
                    <a:pt x="46" y="20"/>
                    <a:pt x="46" y="19"/>
                  </a:cubicBezTo>
                  <a:cubicBezTo>
                    <a:pt x="46" y="18"/>
                    <a:pt x="46" y="17"/>
                    <a:pt x="47" y="16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4"/>
                    <a:pt x="48" y="13"/>
                    <a:pt x="48" y="12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9" y="10"/>
                    <a:pt x="49" y="9"/>
                    <a:pt x="49" y="8"/>
                  </a:cubicBezTo>
                  <a:cubicBezTo>
                    <a:pt x="50" y="7"/>
                    <a:pt x="50" y="6"/>
                    <a:pt x="50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0" y="2"/>
                    <a:pt x="51" y="1"/>
                    <a:pt x="51" y="0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9" y="34"/>
                    <a:pt x="33" y="33"/>
                    <a:pt x="42" y="32"/>
                  </a:cubicBezTo>
                  <a:cubicBezTo>
                    <a:pt x="42" y="31"/>
                    <a:pt x="42" y="30"/>
                    <a:pt x="43" y="30"/>
                  </a:cubicBezTo>
                  <a:cubicBezTo>
                    <a:pt x="43" y="29"/>
                    <a:pt x="43" y="28"/>
                    <a:pt x="44" y="26"/>
                  </a:cubicBezTo>
                  <a:cubicBezTo>
                    <a:pt x="44" y="26"/>
                    <a:pt x="44" y="25"/>
                    <a:pt x="44" y="2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Freeform 36">
              <a:extLst>
                <a:ext uri="{FF2B5EF4-FFF2-40B4-BE49-F238E27FC236}">
                  <a16:creationId xmlns:a16="http://schemas.microsoft.com/office/drawing/2014/main" id="{2AAEE305-F41E-43FE-B9EE-10FD9A45DA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20108" y="4722813"/>
              <a:ext cx="22225" cy="66675"/>
            </a:xfrm>
            <a:custGeom>
              <a:avLst/>
              <a:gdLst>
                <a:gd name="T0" fmla="*/ 0 w 20"/>
                <a:gd name="T1" fmla="*/ 0 h 58"/>
                <a:gd name="T2" fmla="*/ 5 w 20"/>
                <a:gd name="T3" fmla="*/ 58 h 58"/>
                <a:gd name="T4" fmla="*/ 20 w 20"/>
                <a:gd name="T5" fmla="*/ 58 h 58"/>
                <a:gd name="T6" fmla="*/ 20 w 20"/>
                <a:gd name="T7" fmla="*/ 58 h 58"/>
                <a:gd name="T8" fmla="*/ 20 w 20"/>
                <a:gd name="T9" fmla="*/ 48 h 58"/>
                <a:gd name="T10" fmla="*/ 20 w 20"/>
                <a:gd name="T11" fmla="*/ 48 h 58"/>
                <a:gd name="T12" fmla="*/ 20 w 20"/>
                <a:gd name="T13" fmla="*/ 38 h 58"/>
                <a:gd name="T14" fmla="*/ 20 w 20"/>
                <a:gd name="T15" fmla="*/ 37 h 58"/>
                <a:gd name="T16" fmla="*/ 20 w 20"/>
                <a:gd name="T17" fmla="*/ 27 h 58"/>
                <a:gd name="T18" fmla="*/ 20 w 20"/>
                <a:gd name="T19" fmla="*/ 26 h 58"/>
                <a:gd name="T20" fmla="*/ 19 w 20"/>
                <a:gd name="T21" fmla="*/ 14 h 58"/>
                <a:gd name="T22" fmla="*/ 19 w 20"/>
                <a:gd name="T23" fmla="*/ 0 h 58"/>
                <a:gd name="T24" fmla="*/ 19 w 20"/>
                <a:gd name="T25" fmla="*/ 0 h 58"/>
                <a:gd name="T26" fmla="*/ 0 w 20"/>
                <a:gd name="T2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58">
                  <a:moveTo>
                    <a:pt x="0" y="0"/>
                  </a:moveTo>
                  <a:cubicBezTo>
                    <a:pt x="5" y="58"/>
                    <a:pt x="5" y="58"/>
                    <a:pt x="5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5"/>
                    <a:pt x="20" y="51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5"/>
                    <a:pt x="20" y="41"/>
                    <a:pt x="20" y="38"/>
                  </a:cubicBezTo>
                  <a:cubicBezTo>
                    <a:pt x="20" y="38"/>
                    <a:pt x="20" y="37"/>
                    <a:pt x="20" y="37"/>
                  </a:cubicBezTo>
                  <a:cubicBezTo>
                    <a:pt x="20" y="34"/>
                    <a:pt x="20" y="30"/>
                    <a:pt x="20" y="27"/>
                  </a:cubicBezTo>
                  <a:cubicBezTo>
                    <a:pt x="20" y="27"/>
                    <a:pt x="20" y="26"/>
                    <a:pt x="20" y="26"/>
                  </a:cubicBezTo>
                  <a:cubicBezTo>
                    <a:pt x="19" y="22"/>
                    <a:pt x="19" y="18"/>
                    <a:pt x="19" y="14"/>
                  </a:cubicBezTo>
                  <a:cubicBezTo>
                    <a:pt x="19" y="9"/>
                    <a:pt x="19" y="5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37">
              <a:extLst>
                <a:ext uri="{FF2B5EF4-FFF2-40B4-BE49-F238E27FC236}">
                  <a16:creationId xmlns:a16="http://schemas.microsoft.com/office/drawing/2014/main" id="{C370ED9C-3802-49A1-8D02-7E98EB01E6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34396" y="4860925"/>
              <a:ext cx="7938" cy="47625"/>
            </a:xfrm>
            <a:custGeom>
              <a:avLst/>
              <a:gdLst>
                <a:gd name="T0" fmla="*/ 4 w 8"/>
                <a:gd name="T1" fmla="*/ 42 h 42"/>
                <a:gd name="T2" fmla="*/ 4 w 8"/>
                <a:gd name="T3" fmla="*/ 42 h 42"/>
                <a:gd name="T4" fmla="*/ 5 w 8"/>
                <a:gd name="T5" fmla="*/ 40 h 42"/>
                <a:gd name="T6" fmla="*/ 5 w 8"/>
                <a:gd name="T7" fmla="*/ 39 h 42"/>
                <a:gd name="T8" fmla="*/ 6 w 8"/>
                <a:gd name="T9" fmla="*/ 37 h 42"/>
                <a:gd name="T10" fmla="*/ 6 w 8"/>
                <a:gd name="T11" fmla="*/ 34 h 42"/>
                <a:gd name="T12" fmla="*/ 7 w 8"/>
                <a:gd name="T13" fmla="*/ 33 h 42"/>
                <a:gd name="T14" fmla="*/ 7 w 8"/>
                <a:gd name="T15" fmla="*/ 29 h 42"/>
                <a:gd name="T16" fmla="*/ 7 w 8"/>
                <a:gd name="T17" fmla="*/ 23 h 42"/>
                <a:gd name="T18" fmla="*/ 7 w 8"/>
                <a:gd name="T19" fmla="*/ 22 h 42"/>
                <a:gd name="T20" fmla="*/ 7 w 8"/>
                <a:gd name="T21" fmla="*/ 16 h 42"/>
                <a:gd name="T22" fmla="*/ 7 w 8"/>
                <a:gd name="T23" fmla="*/ 15 h 42"/>
                <a:gd name="T24" fmla="*/ 8 w 8"/>
                <a:gd name="T25" fmla="*/ 9 h 42"/>
                <a:gd name="T26" fmla="*/ 8 w 8"/>
                <a:gd name="T27" fmla="*/ 9 h 42"/>
                <a:gd name="T28" fmla="*/ 8 w 8"/>
                <a:gd name="T29" fmla="*/ 1 h 42"/>
                <a:gd name="T30" fmla="*/ 8 w 8"/>
                <a:gd name="T31" fmla="*/ 1 h 42"/>
                <a:gd name="T32" fmla="*/ 0 w 8"/>
                <a:gd name="T33" fmla="*/ 0 h 42"/>
                <a:gd name="T34" fmla="*/ 4 w 8"/>
                <a:gd name="T3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" h="42">
                  <a:moveTo>
                    <a:pt x="4" y="42"/>
                  </a:move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5" y="41"/>
                    <a:pt x="5" y="40"/>
                  </a:cubicBezTo>
                  <a:cubicBezTo>
                    <a:pt x="5" y="40"/>
                    <a:pt x="5" y="39"/>
                    <a:pt x="5" y="39"/>
                  </a:cubicBezTo>
                  <a:cubicBezTo>
                    <a:pt x="6" y="38"/>
                    <a:pt x="6" y="37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6" y="34"/>
                    <a:pt x="7" y="33"/>
                    <a:pt x="7" y="33"/>
                  </a:cubicBezTo>
                  <a:cubicBezTo>
                    <a:pt x="7" y="32"/>
                    <a:pt x="7" y="30"/>
                    <a:pt x="7" y="29"/>
                  </a:cubicBezTo>
                  <a:cubicBezTo>
                    <a:pt x="7" y="27"/>
                    <a:pt x="7" y="25"/>
                    <a:pt x="7" y="23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0"/>
                    <a:pt x="7" y="18"/>
                    <a:pt x="7" y="16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8" y="13"/>
                    <a:pt x="8" y="11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6"/>
                    <a:pt x="8" y="4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Freeform 38">
              <a:extLst>
                <a:ext uri="{FF2B5EF4-FFF2-40B4-BE49-F238E27FC236}">
                  <a16:creationId xmlns:a16="http://schemas.microsoft.com/office/drawing/2014/main" id="{96B3E718-924B-4932-91C9-4DE486E131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96296" y="4502150"/>
              <a:ext cx="76200" cy="58738"/>
            </a:xfrm>
            <a:custGeom>
              <a:avLst/>
              <a:gdLst>
                <a:gd name="T0" fmla="*/ 5 w 65"/>
                <a:gd name="T1" fmla="*/ 49 h 51"/>
                <a:gd name="T2" fmla="*/ 55 w 65"/>
                <a:gd name="T3" fmla="*/ 51 h 51"/>
                <a:gd name="T4" fmla="*/ 57 w 65"/>
                <a:gd name="T5" fmla="*/ 39 h 51"/>
                <a:gd name="T6" fmla="*/ 58 w 65"/>
                <a:gd name="T7" fmla="*/ 36 h 51"/>
                <a:gd name="T8" fmla="*/ 60 w 65"/>
                <a:gd name="T9" fmla="*/ 26 h 51"/>
                <a:gd name="T10" fmla="*/ 60 w 65"/>
                <a:gd name="T11" fmla="*/ 24 h 51"/>
                <a:gd name="T12" fmla="*/ 62 w 65"/>
                <a:gd name="T13" fmla="*/ 13 h 51"/>
                <a:gd name="T14" fmla="*/ 63 w 65"/>
                <a:gd name="T15" fmla="*/ 12 h 51"/>
                <a:gd name="T16" fmla="*/ 65 w 65"/>
                <a:gd name="T17" fmla="*/ 0 h 51"/>
                <a:gd name="T18" fmla="*/ 0 w 65"/>
                <a:gd name="T19" fmla="*/ 5 h 51"/>
                <a:gd name="T20" fmla="*/ 5 w 65"/>
                <a:gd name="T21" fmla="*/ 4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51">
                  <a:moveTo>
                    <a:pt x="5" y="49"/>
                  </a:moveTo>
                  <a:cubicBezTo>
                    <a:pt x="55" y="51"/>
                    <a:pt x="55" y="51"/>
                    <a:pt x="55" y="51"/>
                  </a:cubicBezTo>
                  <a:cubicBezTo>
                    <a:pt x="55" y="47"/>
                    <a:pt x="56" y="43"/>
                    <a:pt x="57" y="39"/>
                  </a:cubicBezTo>
                  <a:cubicBezTo>
                    <a:pt x="57" y="38"/>
                    <a:pt x="57" y="37"/>
                    <a:pt x="58" y="36"/>
                  </a:cubicBezTo>
                  <a:cubicBezTo>
                    <a:pt x="58" y="33"/>
                    <a:pt x="59" y="29"/>
                    <a:pt x="60" y="26"/>
                  </a:cubicBezTo>
                  <a:cubicBezTo>
                    <a:pt x="60" y="25"/>
                    <a:pt x="60" y="24"/>
                    <a:pt x="60" y="24"/>
                  </a:cubicBezTo>
                  <a:cubicBezTo>
                    <a:pt x="61" y="20"/>
                    <a:pt x="62" y="17"/>
                    <a:pt x="62" y="13"/>
                  </a:cubicBezTo>
                  <a:cubicBezTo>
                    <a:pt x="63" y="13"/>
                    <a:pt x="63" y="12"/>
                    <a:pt x="63" y="12"/>
                  </a:cubicBezTo>
                  <a:cubicBezTo>
                    <a:pt x="64" y="8"/>
                    <a:pt x="65" y="4"/>
                    <a:pt x="65" y="0"/>
                  </a:cubicBezTo>
                  <a:cubicBezTo>
                    <a:pt x="53" y="1"/>
                    <a:pt x="27" y="3"/>
                    <a:pt x="0" y="5"/>
                  </a:cubicBezTo>
                  <a:lnTo>
                    <a:pt x="5" y="4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Freeform 39">
              <a:extLst>
                <a:ext uri="{FF2B5EF4-FFF2-40B4-BE49-F238E27FC236}">
                  <a16:creationId xmlns:a16="http://schemas.microsoft.com/office/drawing/2014/main" id="{408EB9B5-F4B9-4171-9F50-82DF73E8AD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07408" y="4598988"/>
              <a:ext cx="46038" cy="52388"/>
            </a:xfrm>
            <a:custGeom>
              <a:avLst/>
              <a:gdLst>
                <a:gd name="T0" fmla="*/ 4 w 40"/>
                <a:gd name="T1" fmla="*/ 46 h 46"/>
                <a:gd name="T2" fmla="*/ 34 w 40"/>
                <a:gd name="T3" fmla="*/ 43 h 46"/>
                <a:gd name="T4" fmla="*/ 37 w 40"/>
                <a:gd name="T5" fmla="*/ 22 h 46"/>
                <a:gd name="T6" fmla="*/ 37 w 40"/>
                <a:gd name="T7" fmla="*/ 21 h 46"/>
                <a:gd name="T8" fmla="*/ 40 w 40"/>
                <a:gd name="T9" fmla="*/ 0 h 46"/>
                <a:gd name="T10" fmla="*/ 0 w 40"/>
                <a:gd name="T11" fmla="*/ 1 h 46"/>
                <a:gd name="T12" fmla="*/ 4 w 40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46">
                  <a:moveTo>
                    <a:pt x="4" y="46"/>
                  </a:moveTo>
                  <a:cubicBezTo>
                    <a:pt x="34" y="43"/>
                    <a:pt x="34" y="43"/>
                    <a:pt x="34" y="43"/>
                  </a:cubicBezTo>
                  <a:cubicBezTo>
                    <a:pt x="35" y="36"/>
                    <a:pt x="36" y="29"/>
                    <a:pt x="37" y="22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8" y="14"/>
                    <a:pt x="39" y="7"/>
                    <a:pt x="4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Freeform 40">
              <a:extLst>
                <a:ext uri="{FF2B5EF4-FFF2-40B4-BE49-F238E27FC236}">
                  <a16:creationId xmlns:a16="http://schemas.microsoft.com/office/drawing/2014/main" id="{37E6C4F9-0201-4B86-9524-39232F3EB0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72058" y="3719513"/>
              <a:ext cx="1446213" cy="1398588"/>
            </a:xfrm>
            <a:custGeom>
              <a:avLst/>
              <a:gdLst>
                <a:gd name="T0" fmla="*/ 1020 w 1248"/>
                <a:gd name="T1" fmla="*/ 588 h 1209"/>
                <a:gd name="T2" fmla="*/ 1248 w 1248"/>
                <a:gd name="T3" fmla="*/ 268 h 1209"/>
                <a:gd name="T4" fmla="*/ 1192 w 1248"/>
                <a:gd name="T5" fmla="*/ 216 h 1209"/>
                <a:gd name="T6" fmla="*/ 967 w 1248"/>
                <a:gd name="T7" fmla="*/ 402 h 1209"/>
                <a:gd name="T8" fmla="*/ 772 w 1248"/>
                <a:gd name="T9" fmla="*/ 84 h 1209"/>
                <a:gd name="T10" fmla="*/ 691 w 1248"/>
                <a:gd name="T11" fmla="*/ 46 h 1209"/>
                <a:gd name="T12" fmla="*/ 657 w 1248"/>
                <a:gd name="T13" fmla="*/ 35 h 1209"/>
                <a:gd name="T14" fmla="*/ 635 w 1248"/>
                <a:gd name="T15" fmla="*/ 32 h 1209"/>
                <a:gd name="T16" fmla="*/ 457 w 1248"/>
                <a:gd name="T17" fmla="*/ 6 h 1209"/>
                <a:gd name="T18" fmla="*/ 392 w 1248"/>
                <a:gd name="T19" fmla="*/ 6 h 1209"/>
                <a:gd name="T20" fmla="*/ 375 w 1248"/>
                <a:gd name="T21" fmla="*/ 14 h 1209"/>
                <a:gd name="T22" fmla="*/ 244 w 1248"/>
                <a:gd name="T23" fmla="*/ 72 h 1209"/>
                <a:gd name="T24" fmla="*/ 0 w 1248"/>
                <a:gd name="T25" fmla="*/ 628 h 1209"/>
                <a:gd name="T26" fmla="*/ 80 w 1248"/>
                <a:gd name="T27" fmla="*/ 720 h 1209"/>
                <a:gd name="T28" fmla="*/ 122 w 1248"/>
                <a:gd name="T29" fmla="*/ 676 h 1209"/>
                <a:gd name="T30" fmla="*/ 204 w 1248"/>
                <a:gd name="T31" fmla="*/ 1166 h 1209"/>
                <a:gd name="T32" fmla="*/ 206 w 1248"/>
                <a:gd name="T33" fmla="*/ 1168 h 1209"/>
                <a:gd name="T34" fmla="*/ 488 w 1248"/>
                <a:gd name="T35" fmla="*/ 1114 h 1209"/>
                <a:gd name="T36" fmla="*/ 488 w 1248"/>
                <a:gd name="T37" fmla="*/ 1114 h 1209"/>
                <a:gd name="T38" fmla="*/ 773 w 1248"/>
                <a:gd name="T39" fmla="*/ 1147 h 1209"/>
                <a:gd name="T40" fmla="*/ 903 w 1248"/>
                <a:gd name="T41" fmla="*/ 1103 h 1209"/>
                <a:gd name="T42" fmla="*/ 935 w 1248"/>
                <a:gd name="T43" fmla="*/ 1002 h 1209"/>
                <a:gd name="T44" fmla="*/ 932 w 1248"/>
                <a:gd name="T45" fmla="*/ 909 h 1209"/>
                <a:gd name="T46" fmla="*/ 815 w 1248"/>
                <a:gd name="T47" fmla="*/ 477 h 1209"/>
                <a:gd name="T48" fmla="*/ 904 w 1248"/>
                <a:gd name="T49" fmla="*/ 600 h 1209"/>
                <a:gd name="T50" fmla="*/ 1020 w 1248"/>
                <a:gd name="T51" fmla="*/ 588 h 1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48" h="1209">
                  <a:moveTo>
                    <a:pt x="1020" y="588"/>
                  </a:moveTo>
                  <a:cubicBezTo>
                    <a:pt x="1248" y="268"/>
                    <a:pt x="1248" y="268"/>
                    <a:pt x="1248" y="268"/>
                  </a:cubicBezTo>
                  <a:cubicBezTo>
                    <a:pt x="1192" y="216"/>
                    <a:pt x="1192" y="216"/>
                    <a:pt x="1192" y="216"/>
                  </a:cubicBezTo>
                  <a:cubicBezTo>
                    <a:pt x="967" y="402"/>
                    <a:pt x="967" y="402"/>
                    <a:pt x="967" y="402"/>
                  </a:cubicBezTo>
                  <a:cubicBezTo>
                    <a:pt x="772" y="84"/>
                    <a:pt x="772" y="84"/>
                    <a:pt x="772" y="84"/>
                  </a:cubicBezTo>
                  <a:cubicBezTo>
                    <a:pt x="691" y="46"/>
                    <a:pt x="691" y="46"/>
                    <a:pt x="691" y="46"/>
                  </a:cubicBezTo>
                  <a:cubicBezTo>
                    <a:pt x="681" y="41"/>
                    <a:pt x="670" y="37"/>
                    <a:pt x="657" y="35"/>
                  </a:cubicBezTo>
                  <a:cubicBezTo>
                    <a:pt x="650" y="34"/>
                    <a:pt x="643" y="33"/>
                    <a:pt x="635" y="32"/>
                  </a:cubicBezTo>
                  <a:cubicBezTo>
                    <a:pt x="576" y="23"/>
                    <a:pt x="517" y="15"/>
                    <a:pt x="457" y="6"/>
                  </a:cubicBezTo>
                  <a:cubicBezTo>
                    <a:pt x="436" y="3"/>
                    <a:pt x="413" y="0"/>
                    <a:pt x="392" y="6"/>
                  </a:cubicBezTo>
                  <a:cubicBezTo>
                    <a:pt x="386" y="8"/>
                    <a:pt x="381" y="11"/>
                    <a:pt x="375" y="14"/>
                  </a:cubicBezTo>
                  <a:cubicBezTo>
                    <a:pt x="244" y="72"/>
                    <a:pt x="244" y="72"/>
                    <a:pt x="244" y="72"/>
                  </a:cubicBezTo>
                  <a:cubicBezTo>
                    <a:pt x="0" y="628"/>
                    <a:pt x="0" y="628"/>
                    <a:pt x="0" y="628"/>
                  </a:cubicBezTo>
                  <a:cubicBezTo>
                    <a:pt x="80" y="720"/>
                    <a:pt x="80" y="720"/>
                    <a:pt x="80" y="720"/>
                  </a:cubicBezTo>
                  <a:cubicBezTo>
                    <a:pt x="122" y="676"/>
                    <a:pt x="122" y="676"/>
                    <a:pt x="122" y="676"/>
                  </a:cubicBezTo>
                  <a:cubicBezTo>
                    <a:pt x="100" y="855"/>
                    <a:pt x="106" y="1053"/>
                    <a:pt x="204" y="1166"/>
                  </a:cubicBezTo>
                  <a:cubicBezTo>
                    <a:pt x="205" y="1167"/>
                    <a:pt x="205" y="1167"/>
                    <a:pt x="206" y="1168"/>
                  </a:cubicBezTo>
                  <a:cubicBezTo>
                    <a:pt x="270" y="1209"/>
                    <a:pt x="343" y="1135"/>
                    <a:pt x="488" y="1114"/>
                  </a:cubicBezTo>
                  <a:cubicBezTo>
                    <a:pt x="488" y="1114"/>
                    <a:pt x="488" y="1114"/>
                    <a:pt x="488" y="1114"/>
                  </a:cubicBezTo>
                  <a:cubicBezTo>
                    <a:pt x="633" y="1093"/>
                    <a:pt x="773" y="1147"/>
                    <a:pt x="773" y="1147"/>
                  </a:cubicBezTo>
                  <a:cubicBezTo>
                    <a:pt x="773" y="1147"/>
                    <a:pt x="855" y="1170"/>
                    <a:pt x="903" y="1103"/>
                  </a:cubicBezTo>
                  <a:cubicBezTo>
                    <a:pt x="919" y="1080"/>
                    <a:pt x="931" y="1048"/>
                    <a:pt x="935" y="1002"/>
                  </a:cubicBezTo>
                  <a:cubicBezTo>
                    <a:pt x="937" y="974"/>
                    <a:pt x="936" y="942"/>
                    <a:pt x="932" y="909"/>
                  </a:cubicBezTo>
                  <a:cubicBezTo>
                    <a:pt x="916" y="770"/>
                    <a:pt x="852" y="600"/>
                    <a:pt x="815" y="477"/>
                  </a:cubicBezTo>
                  <a:cubicBezTo>
                    <a:pt x="904" y="600"/>
                    <a:pt x="904" y="600"/>
                    <a:pt x="904" y="600"/>
                  </a:cubicBezTo>
                  <a:cubicBezTo>
                    <a:pt x="1020" y="588"/>
                    <a:pt x="1020" y="588"/>
                    <a:pt x="1020" y="588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Freeform 41">
              <a:extLst>
                <a:ext uri="{FF2B5EF4-FFF2-40B4-BE49-F238E27FC236}">
                  <a16:creationId xmlns:a16="http://schemas.microsoft.com/office/drawing/2014/main" id="{1C6B7883-6D8F-497D-ADFF-803E2702DA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10108" y="4886325"/>
              <a:ext cx="454025" cy="1096963"/>
            </a:xfrm>
            <a:custGeom>
              <a:avLst/>
              <a:gdLst>
                <a:gd name="T0" fmla="*/ 228 w 286"/>
                <a:gd name="T1" fmla="*/ 0 h 691"/>
                <a:gd name="T2" fmla="*/ 286 w 286"/>
                <a:gd name="T3" fmla="*/ 151 h 691"/>
                <a:gd name="T4" fmla="*/ 208 w 286"/>
                <a:gd name="T5" fmla="*/ 691 h 691"/>
                <a:gd name="T6" fmla="*/ 135 w 286"/>
                <a:gd name="T7" fmla="*/ 691 h 691"/>
                <a:gd name="T8" fmla="*/ 105 w 286"/>
                <a:gd name="T9" fmla="*/ 191 h 691"/>
                <a:gd name="T10" fmla="*/ 0 w 286"/>
                <a:gd name="T11" fmla="*/ 23 h 691"/>
                <a:gd name="T12" fmla="*/ 228 w 286"/>
                <a:gd name="T13" fmla="*/ 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6" h="691">
                  <a:moveTo>
                    <a:pt x="228" y="0"/>
                  </a:moveTo>
                  <a:lnTo>
                    <a:pt x="286" y="151"/>
                  </a:lnTo>
                  <a:lnTo>
                    <a:pt x="208" y="691"/>
                  </a:lnTo>
                  <a:lnTo>
                    <a:pt x="135" y="691"/>
                  </a:lnTo>
                  <a:lnTo>
                    <a:pt x="105" y="191"/>
                  </a:lnTo>
                  <a:lnTo>
                    <a:pt x="0" y="23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Freeform 42">
              <a:extLst>
                <a:ext uri="{FF2B5EF4-FFF2-40B4-BE49-F238E27FC236}">
                  <a16:creationId xmlns:a16="http://schemas.microsoft.com/office/drawing/2014/main" id="{98F6D8A4-996B-4868-82C9-A1CECEB7A0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10108" y="4886325"/>
              <a:ext cx="454025" cy="1096963"/>
            </a:xfrm>
            <a:custGeom>
              <a:avLst/>
              <a:gdLst>
                <a:gd name="T0" fmla="*/ 228 w 286"/>
                <a:gd name="T1" fmla="*/ 0 h 691"/>
                <a:gd name="T2" fmla="*/ 286 w 286"/>
                <a:gd name="T3" fmla="*/ 151 h 691"/>
                <a:gd name="T4" fmla="*/ 208 w 286"/>
                <a:gd name="T5" fmla="*/ 691 h 691"/>
                <a:gd name="T6" fmla="*/ 135 w 286"/>
                <a:gd name="T7" fmla="*/ 691 h 691"/>
                <a:gd name="T8" fmla="*/ 105 w 286"/>
                <a:gd name="T9" fmla="*/ 191 h 691"/>
                <a:gd name="T10" fmla="*/ 0 w 286"/>
                <a:gd name="T11" fmla="*/ 23 h 691"/>
                <a:gd name="T12" fmla="*/ 228 w 286"/>
                <a:gd name="T13" fmla="*/ 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6" h="691">
                  <a:moveTo>
                    <a:pt x="228" y="0"/>
                  </a:moveTo>
                  <a:lnTo>
                    <a:pt x="286" y="151"/>
                  </a:lnTo>
                  <a:lnTo>
                    <a:pt x="208" y="691"/>
                  </a:lnTo>
                  <a:lnTo>
                    <a:pt x="135" y="691"/>
                  </a:lnTo>
                  <a:lnTo>
                    <a:pt x="105" y="191"/>
                  </a:lnTo>
                  <a:lnTo>
                    <a:pt x="0" y="23"/>
                  </a:lnTo>
                  <a:lnTo>
                    <a:pt x="22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Freeform 43">
              <a:extLst>
                <a:ext uri="{FF2B5EF4-FFF2-40B4-BE49-F238E27FC236}">
                  <a16:creationId xmlns:a16="http://schemas.microsoft.com/office/drawing/2014/main" id="{B394C799-7591-4312-BC87-A876DF6F06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33871" y="4838700"/>
              <a:ext cx="500063" cy="1144588"/>
            </a:xfrm>
            <a:custGeom>
              <a:avLst/>
              <a:gdLst>
                <a:gd name="T0" fmla="*/ 307 w 315"/>
                <a:gd name="T1" fmla="*/ 47 h 721"/>
                <a:gd name="T2" fmla="*/ 315 w 315"/>
                <a:gd name="T3" fmla="*/ 232 h 721"/>
                <a:gd name="T4" fmla="*/ 285 w 315"/>
                <a:gd name="T5" fmla="*/ 721 h 721"/>
                <a:gd name="T6" fmla="*/ 210 w 315"/>
                <a:gd name="T7" fmla="*/ 709 h 721"/>
                <a:gd name="T8" fmla="*/ 137 w 315"/>
                <a:gd name="T9" fmla="*/ 244 h 721"/>
                <a:gd name="T10" fmla="*/ 0 w 315"/>
                <a:gd name="T11" fmla="*/ 133 h 721"/>
                <a:gd name="T12" fmla="*/ 126 w 315"/>
                <a:gd name="T13" fmla="*/ 0 h 721"/>
                <a:gd name="T14" fmla="*/ 307 w 315"/>
                <a:gd name="T15" fmla="*/ 47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5" h="721">
                  <a:moveTo>
                    <a:pt x="307" y="47"/>
                  </a:moveTo>
                  <a:lnTo>
                    <a:pt x="315" y="232"/>
                  </a:lnTo>
                  <a:lnTo>
                    <a:pt x="285" y="721"/>
                  </a:lnTo>
                  <a:lnTo>
                    <a:pt x="210" y="709"/>
                  </a:lnTo>
                  <a:lnTo>
                    <a:pt x="137" y="244"/>
                  </a:lnTo>
                  <a:lnTo>
                    <a:pt x="0" y="133"/>
                  </a:lnTo>
                  <a:lnTo>
                    <a:pt x="126" y="0"/>
                  </a:lnTo>
                  <a:lnTo>
                    <a:pt x="307" y="4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Freeform 44">
              <a:extLst>
                <a:ext uri="{FF2B5EF4-FFF2-40B4-BE49-F238E27FC236}">
                  <a16:creationId xmlns:a16="http://schemas.microsoft.com/office/drawing/2014/main" id="{94DD4BCD-2C17-4DEB-8633-194D00322E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3946" y="5983288"/>
              <a:ext cx="158750" cy="109538"/>
            </a:xfrm>
            <a:custGeom>
              <a:avLst/>
              <a:gdLst>
                <a:gd name="T0" fmla="*/ 55 w 100"/>
                <a:gd name="T1" fmla="*/ 0 h 69"/>
                <a:gd name="T2" fmla="*/ 100 w 100"/>
                <a:gd name="T3" fmla="*/ 48 h 69"/>
                <a:gd name="T4" fmla="*/ 79 w 100"/>
                <a:gd name="T5" fmla="*/ 69 h 69"/>
                <a:gd name="T6" fmla="*/ 0 w 100"/>
                <a:gd name="T7" fmla="*/ 42 h 69"/>
                <a:gd name="T8" fmla="*/ 7 w 100"/>
                <a:gd name="T9" fmla="*/ 0 h 69"/>
                <a:gd name="T10" fmla="*/ 55 w 100"/>
                <a:gd name="T1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69">
                  <a:moveTo>
                    <a:pt x="55" y="0"/>
                  </a:moveTo>
                  <a:lnTo>
                    <a:pt x="100" y="48"/>
                  </a:lnTo>
                  <a:lnTo>
                    <a:pt x="79" y="69"/>
                  </a:lnTo>
                  <a:lnTo>
                    <a:pt x="0" y="42"/>
                  </a:lnTo>
                  <a:lnTo>
                    <a:pt x="7" y="0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" name="Freeform 45">
              <a:extLst>
                <a:ext uri="{FF2B5EF4-FFF2-40B4-BE49-F238E27FC236}">
                  <a16:creationId xmlns:a16="http://schemas.microsoft.com/office/drawing/2014/main" id="{CE236D36-319D-4B20-A5B2-3F8B9F1A98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67246" y="5965825"/>
              <a:ext cx="176213" cy="127000"/>
            </a:xfrm>
            <a:custGeom>
              <a:avLst/>
              <a:gdLst>
                <a:gd name="T0" fmla="*/ 65 w 111"/>
                <a:gd name="T1" fmla="*/ 10 h 80"/>
                <a:gd name="T2" fmla="*/ 111 w 111"/>
                <a:gd name="T3" fmla="*/ 53 h 80"/>
                <a:gd name="T4" fmla="*/ 87 w 111"/>
                <a:gd name="T5" fmla="*/ 80 h 80"/>
                <a:gd name="T6" fmla="*/ 0 w 111"/>
                <a:gd name="T7" fmla="*/ 44 h 80"/>
                <a:gd name="T8" fmla="*/ 8 w 111"/>
                <a:gd name="T9" fmla="*/ 0 h 80"/>
                <a:gd name="T10" fmla="*/ 65 w 111"/>
                <a:gd name="T11" fmla="*/ 1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80">
                  <a:moveTo>
                    <a:pt x="65" y="10"/>
                  </a:moveTo>
                  <a:lnTo>
                    <a:pt x="111" y="53"/>
                  </a:lnTo>
                  <a:lnTo>
                    <a:pt x="87" y="80"/>
                  </a:lnTo>
                  <a:lnTo>
                    <a:pt x="0" y="44"/>
                  </a:lnTo>
                  <a:lnTo>
                    <a:pt x="8" y="0"/>
                  </a:lnTo>
                  <a:lnTo>
                    <a:pt x="65" y="1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" name="Freeform 46">
              <a:extLst>
                <a:ext uri="{FF2B5EF4-FFF2-40B4-BE49-F238E27FC236}">
                  <a16:creationId xmlns:a16="http://schemas.microsoft.com/office/drawing/2014/main" id="{F19A7560-4EFA-4691-92FA-E78C691317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7096" y="3805238"/>
              <a:ext cx="320675" cy="747713"/>
            </a:xfrm>
            <a:custGeom>
              <a:avLst/>
              <a:gdLst>
                <a:gd name="T0" fmla="*/ 0 w 202"/>
                <a:gd name="T1" fmla="*/ 0 h 471"/>
                <a:gd name="T2" fmla="*/ 68 w 202"/>
                <a:gd name="T3" fmla="*/ 36 h 471"/>
                <a:gd name="T4" fmla="*/ 202 w 202"/>
                <a:gd name="T5" fmla="*/ 345 h 471"/>
                <a:gd name="T6" fmla="*/ 158 w 202"/>
                <a:gd name="T7" fmla="*/ 471 h 471"/>
                <a:gd name="T8" fmla="*/ 77 w 202"/>
                <a:gd name="T9" fmla="*/ 401 h 471"/>
                <a:gd name="T10" fmla="*/ 1 w 202"/>
                <a:gd name="T11" fmla="*/ 7 h 471"/>
                <a:gd name="T12" fmla="*/ 0 w 202"/>
                <a:gd name="T13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471">
                  <a:moveTo>
                    <a:pt x="0" y="0"/>
                  </a:moveTo>
                  <a:lnTo>
                    <a:pt x="68" y="36"/>
                  </a:lnTo>
                  <a:lnTo>
                    <a:pt x="202" y="345"/>
                  </a:lnTo>
                  <a:lnTo>
                    <a:pt x="158" y="471"/>
                  </a:lnTo>
                  <a:lnTo>
                    <a:pt x="77" y="401"/>
                  </a:lnTo>
                  <a:lnTo>
                    <a:pt x="1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" name="Freeform 47">
              <a:extLst>
                <a:ext uri="{FF2B5EF4-FFF2-40B4-BE49-F238E27FC236}">
                  <a16:creationId xmlns:a16="http://schemas.microsoft.com/office/drawing/2014/main" id="{C2188B52-1F1D-4BA7-8717-0857266CAB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1321" y="3784600"/>
              <a:ext cx="231775" cy="688975"/>
            </a:xfrm>
            <a:custGeom>
              <a:avLst/>
              <a:gdLst>
                <a:gd name="T0" fmla="*/ 200 w 200"/>
                <a:gd name="T1" fmla="*/ 0 h 596"/>
                <a:gd name="T2" fmla="*/ 108 w 200"/>
                <a:gd name="T3" fmla="*/ 40 h 596"/>
                <a:gd name="T4" fmla="*/ 23 w 200"/>
                <a:gd name="T5" fmla="*/ 441 h 596"/>
                <a:gd name="T6" fmla="*/ 164 w 200"/>
                <a:gd name="T7" fmla="*/ 420 h 596"/>
                <a:gd name="T8" fmla="*/ 200 w 200"/>
                <a:gd name="T9" fmla="*/ 0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0" h="596">
                  <a:moveTo>
                    <a:pt x="200" y="0"/>
                  </a:moveTo>
                  <a:cubicBezTo>
                    <a:pt x="108" y="40"/>
                    <a:pt x="108" y="40"/>
                    <a:pt x="108" y="40"/>
                  </a:cubicBezTo>
                  <a:cubicBezTo>
                    <a:pt x="108" y="40"/>
                    <a:pt x="46" y="285"/>
                    <a:pt x="23" y="441"/>
                  </a:cubicBezTo>
                  <a:cubicBezTo>
                    <a:pt x="0" y="596"/>
                    <a:pt x="164" y="420"/>
                    <a:pt x="164" y="420"/>
                  </a:cubicBezTo>
                  <a:lnTo>
                    <a:pt x="200" y="0"/>
                  </a:lnTo>
                  <a:close/>
                </a:path>
              </a:pathLst>
            </a:custGeom>
            <a:solidFill>
              <a:srgbClr val="CCA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" name="Freeform 48">
              <a:extLst>
                <a:ext uri="{FF2B5EF4-FFF2-40B4-BE49-F238E27FC236}">
                  <a16:creationId xmlns:a16="http://schemas.microsoft.com/office/drawing/2014/main" id="{9F96AA3A-922D-4245-8EC7-9FFA01C751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2583" y="3751263"/>
              <a:ext cx="1055688" cy="1420813"/>
            </a:xfrm>
            <a:custGeom>
              <a:avLst/>
              <a:gdLst>
                <a:gd name="T0" fmla="*/ 771 w 911"/>
                <a:gd name="T1" fmla="*/ 921 h 1227"/>
                <a:gd name="T2" fmla="*/ 719 w 911"/>
                <a:gd name="T3" fmla="*/ 770 h 1227"/>
                <a:gd name="T4" fmla="*/ 677 w 911"/>
                <a:gd name="T5" fmla="*/ 537 h 1227"/>
                <a:gd name="T6" fmla="*/ 521 w 911"/>
                <a:gd name="T7" fmla="*/ 93 h 1227"/>
                <a:gd name="T8" fmla="*/ 426 w 911"/>
                <a:gd name="T9" fmla="*/ 24 h 1227"/>
                <a:gd name="T10" fmla="*/ 233 w 911"/>
                <a:gd name="T11" fmla="*/ 36 h 1227"/>
                <a:gd name="T12" fmla="*/ 159 w 911"/>
                <a:gd name="T13" fmla="*/ 68 h 1227"/>
                <a:gd name="T14" fmla="*/ 74 w 911"/>
                <a:gd name="T15" fmla="*/ 469 h 1227"/>
                <a:gd name="T16" fmla="*/ 39 w 911"/>
                <a:gd name="T17" fmla="*/ 972 h 1227"/>
                <a:gd name="T18" fmla="*/ 211 w 911"/>
                <a:gd name="T19" fmla="*/ 1192 h 1227"/>
                <a:gd name="T20" fmla="*/ 309 w 911"/>
                <a:gd name="T21" fmla="*/ 1155 h 1227"/>
                <a:gd name="T22" fmla="*/ 647 w 911"/>
                <a:gd name="T23" fmla="*/ 1135 h 1227"/>
                <a:gd name="T24" fmla="*/ 771 w 911"/>
                <a:gd name="T25" fmla="*/ 921 h 1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1" h="1227">
                  <a:moveTo>
                    <a:pt x="771" y="921"/>
                  </a:moveTo>
                  <a:cubicBezTo>
                    <a:pt x="740" y="879"/>
                    <a:pt x="730" y="820"/>
                    <a:pt x="719" y="770"/>
                  </a:cubicBezTo>
                  <a:cubicBezTo>
                    <a:pt x="703" y="693"/>
                    <a:pt x="691" y="615"/>
                    <a:pt x="677" y="537"/>
                  </a:cubicBezTo>
                  <a:cubicBezTo>
                    <a:pt x="650" y="389"/>
                    <a:pt x="623" y="212"/>
                    <a:pt x="521" y="93"/>
                  </a:cubicBezTo>
                  <a:cubicBezTo>
                    <a:pt x="496" y="63"/>
                    <a:pt x="464" y="38"/>
                    <a:pt x="426" y="24"/>
                  </a:cubicBezTo>
                  <a:cubicBezTo>
                    <a:pt x="359" y="0"/>
                    <a:pt x="297" y="8"/>
                    <a:pt x="233" y="36"/>
                  </a:cubicBezTo>
                  <a:cubicBezTo>
                    <a:pt x="159" y="68"/>
                    <a:pt x="159" y="68"/>
                    <a:pt x="159" y="68"/>
                  </a:cubicBezTo>
                  <a:cubicBezTo>
                    <a:pt x="159" y="68"/>
                    <a:pt x="97" y="313"/>
                    <a:pt x="74" y="469"/>
                  </a:cubicBezTo>
                  <a:cubicBezTo>
                    <a:pt x="41" y="634"/>
                    <a:pt x="0" y="834"/>
                    <a:pt x="39" y="972"/>
                  </a:cubicBezTo>
                  <a:cubicBezTo>
                    <a:pt x="111" y="1227"/>
                    <a:pt x="187" y="1180"/>
                    <a:pt x="211" y="1192"/>
                  </a:cubicBezTo>
                  <a:cubicBezTo>
                    <a:pt x="221" y="1197"/>
                    <a:pt x="254" y="1176"/>
                    <a:pt x="309" y="1155"/>
                  </a:cubicBezTo>
                  <a:cubicBezTo>
                    <a:pt x="382" y="1127"/>
                    <a:pt x="496" y="1099"/>
                    <a:pt x="647" y="1135"/>
                  </a:cubicBezTo>
                  <a:cubicBezTo>
                    <a:pt x="911" y="1196"/>
                    <a:pt x="883" y="1077"/>
                    <a:pt x="771" y="92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" name="Freeform 49">
              <a:extLst>
                <a:ext uri="{FF2B5EF4-FFF2-40B4-BE49-F238E27FC236}">
                  <a16:creationId xmlns:a16="http://schemas.microsoft.com/office/drawing/2014/main" id="{C8070983-BF89-4617-9600-3787B2E3A3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3096" y="3756025"/>
              <a:ext cx="220663" cy="328613"/>
            </a:xfrm>
            <a:custGeom>
              <a:avLst/>
              <a:gdLst>
                <a:gd name="T0" fmla="*/ 0 w 139"/>
                <a:gd name="T1" fmla="*/ 15 h 207"/>
                <a:gd name="T2" fmla="*/ 100 w 139"/>
                <a:gd name="T3" fmla="*/ 207 h 207"/>
                <a:gd name="T4" fmla="*/ 139 w 139"/>
                <a:gd name="T5" fmla="*/ 19 h 207"/>
                <a:gd name="T6" fmla="*/ 100 w 139"/>
                <a:gd name="T7" fmla="*/ 3 h 207"/>
                <a:gd name="T8" fmla="*/ 47 w 139"/>
                <a:gd name="T9" fmla="*/ 0 h 207"/>
                <a:gd name="T10" fmla="*/ 0 w 139"/>
                <a:gd name="T11" fmla="*/ 1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9" h="207">
                  <a:moveTo>
                    <a:pt x="0" y="15"/>
                  </a:moveTo>
                  <a:lnTo>
                    <a:pt x="100" y="207"/>
                  </a:lnTo>
                  <a:lnTo>
                    <a:pt x="139" y="19"/>
                  </a:lnTo>
                  <a:lnTo>
                    <a:pt x="100" y="3"/>
                  </a:lnTo>
                  <a:lnTo>
                    <a:pt x="47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" name="Freeform 50">
              <a:extLst>
                <a:ext uri="{FF2B5EF4-FFF2-40B4-BE49-F238E27FC236}">
                  <a16:creationId xmlns:a16="http://schemas.microsoft.com/office/drawing/2014/main" id="{17C3119D-0D90-4A7A-9A27-11D8E4E4AC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70396" y="3308350"/>
              <a:ext cx="365125" cy="512763"/>
            </a:xfrm>
            <a:custGeom>
              <a:avLst/>
              <a:gdLst>
                <a:gd name="T0" fmla="*/ 71 w 316"/>
                <a:gd name="T1" fmla="*/ 420 h 443"/>
                <a:gd name="T2" fmla="*/ 132 w 316"/>
                <a:gd name="T3" fmla="*/ 439 h 443"/>
                <a:gd name="T4" fmla="*/ 164 w 316"/>
                <a:gd name="T5" fmla="*/ 423 h 443"/>
                <a:gd name="T6" fmla="*/ 184 w 316"/>
                <a:gd name="T7" fmla="*/ 355 h 443"/>
                <a:gd name="T8" fmla="*/ 270 w 316"/>
                <a:gd name="T9" fmla="*/ 323 h 443"/>
                <a:gd name="T10" fmla="*/ 280 w 316"/>
                <a:gd name="T11" fmla="*/ 292 h 443"/>
                <a:gd name="T12" fmla="*/ 310 w 316"/>
                <a:gd name="T13" fmla="*/ 158 h 443"/>
                <a:gd name="T14" fmla="*/ 314 w 316"/>
                <a:gd name="T15" fmla="*/ 111 h 443"/>
                <a:gd name="T16" fmla="*/ 270 w 316"/>
                <a:gd name="T17" fmla="*/ 49 h 443"/>
                <a:gd name="T18" fmla="*/ 88 w 316"/>
                <a:gd name="T19" fmla="*/ 23 h 443"/>
                <a:gd name="T20" fmla="*/ 45 w 316"/>
                <a:gd name="T21" fmla="*/ 52 h 443"/>
                <a:gd name="T22" fmla="*/ 18 w 316"/>
                <a:gd name="T23" fmla="*/ 134 h 443"/>
                <a:gd name="T24" fmla="*/ 7 w 316"/>
                <a:gd name="T25" fmla="*/ 214 h 443"/>
                <a:gd name="T26" fmla="*/ 19 w 316"/>
                <a:gd name="T27" fmla="*/ 301 h 443"/>
                <a:gd name="T28" fmla="*/ 53 w 316"/>
                <a:gd name="T29" fmla="*/ 330 h 443"/>
                <a:gd name="T30" fmla="*/ 54 w 316"/>
                <a:gd name="T31" fmla="*/ 394 h 443"/>
                <a:gd name="T32" fmla="*/ 71 w 316"/>
                <a:gd name="T33" fmla="*/ 420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6" h="443">
                  <a:moveTo>
                    <a:pt x="71" y="420"/>
                  </a:moveTo>
                  <a:cubicBezTo>
                    <a:pt x="132" y="439"/>
                    <a:pt x="132" y="439"/>
                    <a:pt x="132" y="439"/>
                  </a:cubicBezTo>
                  <a:cubicBezTo>
                    <a:pt x="145" y="443"/>
                    <a:pt x="159" y="436"/>
                    <a:pt x="164" y="423"/>
                  </a:cubicBezTo>
                  <a:cubicBezTo>
                    <a:pt x="172" y="401"/>
                    <a:pt x="179" y="378"/>
                    <a:pt x="184" y="355"/>
                  </a:cubicBezTo>
                  <a:cubicBezTo>
                    <a:pt x="215" y="356"/>
                    <a:pt x="253" y="354"/>
                    <a:pt x="270" y="323"/>
                  </a:cubicBezTo>
                  <a:cubicBezTo>
                    <a:pt x="276" y="314"/>
                    <a:pt x="278" y="303"/>
                    <a:pt x="280" y="292"/>
                  </a:cubicBezTo>
                  <a:cubicBezTo>
                    <a:pt x="290" y="247"/>
                    <a:pt x="300" y="203"/>
                    <a:pt x="310" y="158"/>
                  </a:cubicBezTo>
                  <a:cubicBezTo>
                    <a:pt x="313" y="142"/>
                    <a:pt x="316" y="126"/>
                    <a:pt x="314" y="111"/>
                  </a:cubicBezTo>
                  <a:cubicBezTo>
                    <a:pt x="311" y="84"/>
                    <a:pt x="290" y="64"/>
                    <a:pt x="270" y="49"/>
                  </a:cubicBezTo>
                  <a:cubicBezTo>
                    <a:pt x="217" y="13"/>
                    <a:pt x="149" y="0"/>
                    <a:pt x="88" y="23"/>
                  </a:cubicBezTo>
                  <a:cubicBezTo>
                    <a:pt x="72" y="29"/>
                    <a:pt x="56" y="38"/>
                    <a:pt x="45" y="52"/>
                  </a:cubicBezTo>
                  <a:cubicBezTo>
                    <a:pt x="27" y="74"/>
                    <a:pt x="22" y="105"/>
                    <a:pt x="18" y="134"/>
                  </a:cubicBezTo>
                  <a:cubicBezTo>
                    <a:pt x="14" y="160"/>
                    <a:pt x="10" y="187"/>
                    <a:pt x="7" y="214"/>
                  </a:cubicBezTo>
                  <a:cubicBezTo>
                    <a:pt x="3" y="244"/>
                    <a:pt x="0" y="280"/>
                    <a:pt x="19" y="301"/>
                  </a:cubicBezTo>
                  <a:cubicBezTo>
                    <a:pt x="30" y="312"/>
                    <a:pt x="45" y="317"/>
                    <a:pt x="53" y="330"/>
                  </a:cubicBezTo>
                  <a:cubicBezTo>
                    <a:pt x="64" y="348"/>
                    <a:pt x="58" y="371"/>
                    <a:pt x="54" y="394"/>
                  </a:cubicBezTo>
                  <a:cubicBezTo>
                    <a:pt x="53" y="405"/>
                    <a:pt x="60" y="416"/>
                    <a:pt x="71" y="420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" name="Freeform 51">
              <a:extLst>
                <a:ext uri="{FF2B5EF4-FFF2-40B4-BE49-F238E27FC236}">
                  <a16:creationId xmlns:a16="http://schemas.microsoft.com/office/drawing/2014/main" id="{6EB4B97A-38DC-4477-B3DA-17B98F326C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9908" y="3217863"/>
              <a:ext cx="373063" cy="449263"/>
            </a:xfrm>
            <a:custGeom>
              <a:avLst/>
              <a:gdLst>
                <a:gd name="T0" fmla="*/ 233 w 321"/>
                <a:gd name="T1" fmla="*/ 189 h 388"/>
                <a:gd name="T2" fmla="*/ 141 w 321"/>
                <a:gd name="T3" fmla="*/ 247 h 388"/>
                <a:gd name="T4" fmla="*/ 92 w 321"/>
                <a:gd name="T5" fmla="*/ 281 h 388"/>
                <a:gd name="T6" fmla="*/ 115 w 321"/>
                <a:gd name="T7" fmla="*/ 354 h 388"/>
                <a:gd name="T8" fmla="*/ 123 w 321"/>
                <a:gd name="T9" fmla="*/ 364 h 388"/>
                <a:gd name="T10" fmla="*/ 113 w 321"/>
                <a:gd name="T11" fmla="*/ 385 h 388"/>
                <a:gd name="T12" fmla="*/ 89 w 321"/>
                <a:gd name="T13" fmla="*/ 384 h 388"/>
                <a:gd name="T14" fmla="*/ 32 w 321"/>
                <a:gd name="T15" fmla="*/ 336 h 388"/>
                <a:gd name="T16" fmla="*/ 17 w 321"/>
                <a:gd name="T17" fmla="*/ 179 h 388"/>
                <a:gd name="T18" fmla="*/ 114 w 321"/>
                <a:gd name="T19" fmla="*/ 54 h 388"/>
                <a:gd name="T20" fmla="*/ 246 w 321"/>
                <a:gd name="T21" fmla="*/ 8 h 388"/>
                <a:gd name="T22" fmla="*/ 315 w 321"/>
                <a:gd name="T23" fmla="*/ 75 h 388"/>
                <a:gd name="T24" fmla="*/ 233 w 321"/>
                <a:gd name="T25" fmla="*/ 189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1" h="388">
                  <a:moveTo>
                    <a:pt x="233" y="189"/>
                  </a:moveTo>
                  <a:cubicBezTo>
                    <a:pt x="206" y="214"/>
                    <a:pt x="176" y="235"/>
                    <a:pt x="141" y="247"/>
                  </a:cubicBezTo>
                  <a:cubicBezTo>
                    <a:pt x="120" y="254"/>
                    <a:pt x="99" y="255"/>
                    <a:pt x="92" y="281"/>
                  </a:cubicBezTo>
                  <a:cubicBezTo>
                    <a:pt x="86" y="306"/>
                    <a:pt x="97" y="337"/>
                    <a:pt x="115" y="354"/>
                  </a:cubicBezTo>
                  <a:cubicBezTo>
                    <a:pt x="118" y="357"/>
                    <a:pt x="122" y="360"/>
                    <a:pt x="123" y="364"/>
                  </a:cubicBezTo>
                  <a:cubicBezTo>
                    <a:pt x="127" y="372"/>
                    <a:pt x="121" y="381"/>
                    <a:pt x="113" y="385"/>
                  </a:cubicBezTo>
                  <a:cubicBezTo>
                    <a:pt x="106" y="388"/>
                    <a:pt x="97" y="387"/>
                    <a:pt x="89" y="384"/>
                  </a:cubicBezTo>
                  <a:cubicBezTo>
                    <a:pt x="65" y="376"/>
                    <a:pt x="46" y="358"/>
                    <a:pt x="32" y="336"/>
                  </a:cubicBezTo>
                  <a:cubicBezTo>
                    <a:pt x="4" y="290"/>
                    <a:pt x="0" y="231"/>
                    <a:pt x="17" y="179"/>
                  </a:cubicBezTo>
                  <a:cubicBezTo>
                    <a:pt x="34" y="129"/>
                    <a:pt x="70" y="83"/>
                    <a:pt x="114" y="54"/>
                  </a:cubicBezTo>
                  <a:cubicBezTo>
                    <a:pt x="155" y="28"/>
                    <a:pt x="195" y="0"/>
                    <a:pt x="246" y="8"/>
                  </a:cubicBezTo>
                  <a:cubicBezTo>
                    <a:pt x="275" y="12"/>
                    <a:pt x="321" y="39"/>
                    <a:pt x="315" y="75"/>
                  </a:cubicBezTo>
                  <a:cubicBezTo>
                    <a:pt x="309" y="113"/>
                    <a:pt x="259" y="164"/>
                    <a:pt x="233" y="18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  <p:sp>
          <p:nvSpPr>
            <p:cNvPr id="45" name="Freeform 52">
              <a:extLst>
                <a:ext uri="{FF2B5EF4-FFF2-40B4-BE49-F238E27FC236}">
                  <a16:creationId xmlns:a16="http://schemas.microsoft.com/office/drawing/2014/main" id="{888965BF-2545-484B-A0F3-81A876AA1B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1846" y="3259138"/>
              <a:ext cx="266700" cy="469900"/>
            </a:xfrm>
            <a:custGeom>
              <a:avLst/>
              <a:gdLst>
                <a:gd name="T0" fmla="*/ 95 w 231"/>
                <a:gd name="T1" fmla="*/ 160 h 405"/>
                <a:gd name="T2" fmla="*/ 136 w 231"/>
                <a:gd name="T3" fmla="*/ 223 h 405"/>
                <a:gd name="T4" fmla="*/ 133 w 231"/>
                <a:gd name="T5" fmla="*/ 255 h 405"/>
                <a:gd name="T6" fmla="*/ 119 w 231"/>
                <a:gd name="T7" fmla="*/ 312 h 405"/>
                <a:gd name="T8" fmla="*/ 87 w 231"/>
                <a:gd name="T9" fmla="*/ 366 h 405"/>
                <a:gd name="T10" fmla="*/ 68 w 231"/>
                <a:gd name="T11" fmla="*/ 402 h 405"/>
                <a:gd name="T12" fmla="*/ 97 w 231"/>
                <a:gd name="T13" fmla="*/ 396 h 405"/>
                <a:gd name="T14" fmla="*/ 227 w 231"/>
                <a:gd name="T15" fmla="*/ 215 h 405"/>
                <a:gd name="T16" fmla="*/ 191 w 231"/>
                <a:gd name="T17" fmla="*/ 82 h 405"/>
                <a:gd name="T18" fmla="*/ 65 w 231"/>
                <a:gd name="T19" fmla="*/ 16 h 405"/>
                <a:gd name="T20" fmla="*/ 95 w 231"/>
                <a:gd name="T21" fmla="*/ 160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1" h="405">
                  <a:moveTo>
                    <a:pt x="95" y="160"/>
                  </a:moveTo>
                  <a:cubicBezTo>
                    <a:pt x="112" y="179"/>
                    <a:pt x="132" y="198"/>
                    <a:pt x="136" y="223"/>
                  </a:cubicBezTo>
                  <a:cubicBezTo>
                    <a:pt x="137" y="234"/>
                    <a:pt x="136" y="245"/>
                    <a:pt x="133" y="255"/>
                  </a:cubicBezTo>
                  <a:cubicBezTo>
                    <a:pt x="129" y="274"/>
                    <a:pt x="124" y="293"/>
                    <a:pt x="119" y="312"/>
                  </a:cubicBezTo>
                  <a:cubicBezTo>
                    <a:pt x="112" y="331"/>
                    <a:pt x="104" y="353"/>
                    <a:pt x="87" y="366"/>
                  </a:cubicBezTo>
                  <a:cubicBezTo>
                    <a:pt x="80" y="371"/>
                    <a:pt x="35" y="390"/>
                    <a:pt x="68" y="402"/>
                  </a:cubicBezTo>
                  <a:cubicBezTo>
                    <a:pt x="77" y="405"/>
                    <a:pt x="88" y="401"/>
                    <a:pt x="97" y="396"/>
                  </a:cubicBezTo>
                  <a:cubicBezTo>
                    <a:pt x="167" y="360"/>
                    <a:pt x="220" y="291"/>
                    <a:pt x="227" y="215"/>
                  </a:cubicBezTo>
                  <a:cubicBezTo>
                    <a:pt x="231" y="168"/>
                    <a:pt x="218" y="120"/>
                    <a:pt x="191" y="82"/>
                  </a:cubicBezTo>
                  <a:cubicBezTo>
                    <a:pt x="166" y="46"/>
                    <a:pt x="113" y="0"/>
                    <a:pt x="65" y="16"/>
                  </a:cubicBezTo>
                  <a:cubicBezTo>
                    <a:pt x="0" y="38"/>
                    <a:pt x="70" y="132"/>
                    <a:pt x="95" y="160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" name="Freeform 53">
              <a:extLst>
                <a:ext uri="{FF2B5EF4-FFF2-40B4-BE49-F238E27FC236}">
                  <a16:creationId xmlns:a16="http://schemas.microsoft.com/office/drawing/2014/main" id="{31939457-97FF-4105-A5F2-9351923997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10183" y="4057650"/>
              <a:ext cx="0" cy="1588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7A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" name="Freeform 54">
              <a:extLst>
                <a:ext uri="{FF2B5EF4-FFF2-40B4-BE49-F238E27FC236}">
                  <a16:creationId xmlns:a16="http://schemas.microsoft.com/office/drawing/2014/main" id="{4A7E34D2-21F8-4C28-8656-B05F5E4C44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92733" y="3716338"/>
              <a:ext cx="627063" cy="1368425"/>
            </a:xfrm>
            <a:custGeom>
              <a:avLst/>
              <a:gdLst>
                <a:gd name="T0" fmla="*/ 232 w 541"/>
                <a:gd name="T1" fmla="*/ 389 h 1183"/>
                <a:gd name="T2" fmla="*/ 211 w 541"/>
                <a:gd name="T3" fmla="*/ 503 h 1183"/>
                <a:gd name="T4" fmla="*/ 0 w 541"/>
                <a:gd name="T5" fmla="*/ 1183 h 1183"/>
                <a:gd name="T6" fmla="*/ 521 w 541"/>
                <a:gd name="T7" fmla="*/ 1150 h 1183"/>
                <a:gd name="T8" fmla="*/ 535 w 541"/>
                <a:gd name="T9" fmla="*/ 979 h 1183"/>
                <a:gd name="T10" fmla="*/ 537 w 541"/>
                <a:gd name="T11" fmla="*/ 810 h 1183"/>
                <a:gd name="T12" fmla="*/ 483 w 541"/>
                <a:gd name="T13" fmla="*/ 545 h 1183"/>
                <a:gd name="T14" fmla="*/ 352 w 541"/>
                <a:gd name="T15" fmla="*/ 67 h 1183"/>
                <a:gd name="T16" fmla="*/ 342 w 541"/>
                <a:gd name="T17" fmla="*/ 43 h 1183"/>
                <a:gd name="T18" fmla="*/ 317 w 541"/>
                <a:gd name="T19" fmla="*/ 28 h 1183"/>
                <a:gd name="T20" fmla="*/ 174 w 541"/>
                <a:gd name="T21" fmla="*/ 3 h 1183"/>
                <a:gd name="T22" fmla="*/ 201 w 541"/>
                <a:gd name="T23" fmla="*/ 183 h 1183"/>
                <a:gd name="T24" fmla="*/ 232 w 541"/>
                <a:gd name="T25" fmla="*/ 389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1" h="1183">
                  <a:moveTo>
                    <a:pt x="232" y="389"/>
                  </a:moveTo>
                  <a:cubicBezTo>
                    <a:pt x="229" y="427"/>
                    <a:pt x="220" y="465"/>
                    <a:pt x="211" y="503"/>
                  </a:cubicBezTo>
                  <a:cubicBezTo>
                    <a:pt x="155" y="732"/>
                    <a:pt x="57" y="954"/>
                    <a:pt x="0" y="1183"/>
                  </a:cubicBezTo>
                  <a:cubicBezTo>
                    <a:pt x="154" y="1183"/>
                    <a:pt x="133" y="1059"/>
                    <a:pt x="521" y="1150"/>
                  </a:cubicBezTo>
                  <a:cubicBezTo>
                    <a:pt x="526" y="1062"/>
                    <a:pt x="531" y="1066"/>
                    <a:pt x="535" y="979"/>
                  </a:cubicBezTo>
                  <a:cubicBezTo>
                    <a:pt x="538" y="922"/>
                    <a:pt x="541" y="866"/>
                    <a:pt x="537" y="810"/>
                  </a:cubicBezTo>
                  <a:cubicBezTo>
                    <a:pt x="531" y="719"/>
                    <a:pt x="507" y="632"/>
                    <a:pt x="483" y="545"/>
                  </a:cubicBezTo>
                  <a:cubicBezTo>
                    <a:pt x="439" y="386"/>
                    <a:pt x="396" y="226"/>
                    <a:pt x="352" y="67"/>
                  </a:cubicBezTo>
                  <a:cubicBezTo>
                    <a:pt x="350" y="58"/>
                    <a:pt x="347" y="49"/>
                    <a:pt x="342" y="43"/>
                  </a:cubicBezTo>
                  <a:cubicBezTo>
                    <a:pt x="335" y="35"/>
                    <a:pt x="326" y="31"/>
                    <a:pt x="317" y="28"/>
                  </a:cubicBezTo>
                  <a:cubicBezTo>
                    <a:pt x="272" y="14"/>
                    <a:pt x="221" y="0"/>
                    <a:pt x="174" y="3"/>
                  </a:cubicBezTo>
                  <a:cubicBezTo>
                    <a:pt x="157" y="49"/>
                    <a:pt x="190" y="137"/>
                    <a:pt x="201" y="183"/>
                  </a:cubicBezTo>
                  <a:cubicBezTo>
                    <a:pt x="216" y="250"/>
                    <a:pt x="236" y="318"/>
                    <a:pt x="232" y="38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" name="Freeform 55">
              <a:extLst>
                <a:ext uri="{FF2B5EF4-FFF2-40B4-BE49-F238E27FC236}">
                  <a16:creationId xmlns:a16="http://schemas.microsoft.com/office/drawing/2014/main" id="{FBFBD66C-2C0B-4581-A346-397D9EA506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13408" y="3254375"/>
              <a:ext cx="158750" cy="239713"/>
            </a:xfrm>
            <a:custGeom>
              <a:avLst/>
              <a:gdLst>
                <a:gd name="T0" fmla="*/ 69 w 137"/>
                <a:gd name="T1" fmla="*/ 75 h 206"/>
                <a:gd name="T2" fmla="*/ 96 w 137"/>
                <a:gd name="T3" fmla="*/ 166 h 206"/>
                <a:gd name="T4" fmla="*/ 105 w 137"/>
                <a:gd name="T5" fmla="*/ 189 h 206"/>
                <a:gd name="T6" fmla="*/ 112 w 137"/>
                <a:gd name="T7" fmla="*/ 199 h 206"/>
                <a:gd name="T8" fmla="*/ 136 w 137"/>
                <a:gd name="T9" fmla="*/ 157 h 206"/>
                <a:gd name="T10" fmla="*/ 134 w 137"/>
                <a:gd name="T11" fmla="*/ 93 h 206"/>
                <a:gd name="T12" fmla="*/ 115 w 137"/>
                <a:gd name="T13" fmla="*/ 41 h 206"/>
                <a:gd name="T14" fmla="*/ 88 w 137"/>
                <a:gd name="T15" fmla="*/ 22 h 206"/>
                <a:gd name="T16" fmla="*/ 44 w 137"/>
                <a:gd name="T17" fmla="*/ 4 h 206"/>
                <a:gd name="T18" fmla="*/ 25 w 137"/>
                <a:gd name="T19" fmla="*/ 28 h 206"/>
                <a:gd name="T20" fmla="*/ 69 w 137"/>
                <a:gd name="T21" fmla="*/ 75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206">
                  <a:moveTo>
                    <a:pt x="69" y="75"/>
                  </a:moveTo>
                  <a:cubicBezTo>
                    <a:pt x="85" y="102"/>
                    <a:pt x="94" y="134"/>
                    <a:pt x="96" y="166"/>
                  </a:cubicBezTo>
                  <a:cubicBezTo>
                    <a:pt x="97" y="174"/>
                    <a:pt x="98" y="184"/>
                    <a:pt x="105" y="189"/>
                  </a:cubicBezTo>
                  <a:cubicBezTo>
                    <a:pt x="112" y="194"/>
                    <a:pt x="106" y="206"/>
                    <a:pt x="112" y="199"/>
                  </a:cubicBezTo>
                  <a:cubicBezTo>
                    <a:pt x="117" y="191"/>
                    <a:pt x="135" y="166"/>
                    <a:pt x="136" y="157"/>
                  </a:cubicBezTo>
                  <a:cubicBezTo>
                    <a:pt x="137" y="135"/>
                    <a:pt x="137" y="114"/>
                    <a:pt x="134" y="93"/>
                  </a:cubicBezTo>
                  <a:cubicBezTo>
                    <a:pt x="132" y="74"/>
                    <a:pt x="127" y="55"/>
                    <a:pt x="115" y="41"/>
                  </a:cubicBezTo>
                  <a:cubicBezTo>
                    <a:pt x="107" y="33"/>
                    <a:pt x="97" y="27"/>
                    <a:pt x="88" y="22"/>
                  </a:cubicBezTo>
                  <a:cubicBezTo>
                    <a:pt x="74" y="14"/>
                    <a:pt x="60" y="6"/>
                    <a:pt x="44" y="4"/>
                  </a:cubicBezTo>
                  <a:cubicBezTo>
                    <a:pt x="17" y="0"/>
                    <a:pt x="0" y="10"/>
                    <a:pt x="25" y="28"/>
                  </a:cubicBezTo>
                  <a:cubicBezTo>
                    <a:pt x="42" y="41"/>
                    <a:pt x="57" y="56"/>
                    <a:pt x="69" y="75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" name="Freeform 56">
              <a:extLst>
                <a:ext uri="{FF2B5EF4-FFF2-40B4-BE49-F238E27FC236}">
                  <a16:creationId xmlns:a16="http://schemas.microsoft.com/office/drawing/2014/main" id="{B5C4A400-E3D9-45E0-8609-24824D7B7C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1633" y="3257550"/>
              <a:ext cx="363538" cy="515938"/>
            </a:xfrm>
            <a:custGeom>
              <a:avLst/>
              <a:gdLst>
                <a:gd name="T0" fmla="*/ 110 w 313"/>
                <a:gd name="T1" fmla="*/ 441 h 446"/>
                <a:gd name="T2" fmla="*/ 177 w 313"/>
                <a:gd name="T3" fmla="*/ 445 h 446"/>
                <a:gd name="T4" fmla="*/ 227 w 313"/>
                <a:gd name="T5" fmla="*/ 401 h 446"/>
                <a:gd name="T6" fmla="*/ 229 w 313"/>
                <a:gd name="T7" fmla="*/ 350 h 446"/>
                <a:gd name="T8" fmla="*/ 309 w 313"/>
                <a:gd name="T9" fmla="*/ 297 h 446"/>
                <a:gd name="T10" fmla="*/ 312 w 313"/>
                <a:gd name="T11" fmla="*/ 264 h 446"/>
                <a:gd name="T12" fmla="*/ 309 w 313"/>
                <a:gd name="T13" fmla="*/ 122 h 446"/>
                <a:gd name="T14" fmla="*/ 302 w 313"/>
                <a:gd name="T15" fmla="*/ 74 h 446"/>
                <a:gd name="T16" fmla="*/ 242 w 313"/>
                <a:gd name="T17" fmla="*/ 24 h 446"/>
                <a:gd name="T18" fmla="*/ 50 w 313"/>
                <a:gd name="T19" fmla="*/ 41 h 446"/>
                <a:gd name="T20" fmla="*/ 13 w 313"/>
                <a:gd name="T21" fmla="*/ 81 h 446"/>
                <a:gd name="T22" fmla="*/ 5 w 313"/>
                <a:gd name="T23" fmla="*/ 169 h 446"/>
                <a:gd name="T24" fmla="*/ 14 w 313"/>
                <a:gd name="T25" fmla="*/ 251 h 446"/>
                <a:gd name="T26" fmla="*/ 48 w 313"/>
                <a:gd name="T27" fmla="*/ 335 h 446"/>
                <a:gd name="T28" fmla="*/ 90 w 313"/>
                <a:gd name="T29" fmla="*/ 356 h 446"/>
                <a:gd name="T30" fmla="*/ 110 w 313"/>
                <a:gd name="T31" fmla="*/ 441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3" h="446">
                  <a:moveTo>
                    <a:pt x="110" y="441"/>
                  </a:moveTo>
                  <a:cubicBezTo>
                    <a:pt x="177" y="445"/>
                    <a:pt x="177" y="445"/>
                    <a:pt x="177" y="445"/>
                  </a:cubicBezTo>
                  <a:cubicBezTo>
                    <a:pt x="203" y="446"/>
                    <a:pt x="226" y="427"/>
                    <a:pt x="227" y="401"/>
                  </a:cubicBezTo>
                  <a:cubicBezTo>
                    <a:pt x="229" y="384"/>
                    <a:pt x="229" y="367"/>
                    <a:pt x="229" y="350"/>
                  </a:cubicBezTo>
                  <a:cubicBezTo>
                    <a:pt x="262" y="343"/>
                    <a:pt x="299" y="332"/>
                    <a:pt x="309" y="297"/>
                  </a:cubicBezTo>
                  <a:cubicBezTo>
                    <a:pt x="313" y="287"/>
                    <a:pt x="312" y="275"/>
                    <a:pt x="312" y="264"/>
                  </a:cubicBezTo>
                  <a:cubicBezTo>
                    <a:pt x="311" y="216"/>
                    <a:pt x="310" y="169"/>
                    <a:pt x="309" y="122"/>
                  </a:cubicBezTo>
                  <a:cubicBezTo>
                    <a:pt x="309" y="106"/>
                    <a:pt x="308" y="89"/>
                    <a:pt x="302" y="74"/>
                  </a:cubicBezTo>
                  <a:cubicBezTo>
                    <a:pt x="292" y="48"/>
                    <a:pt x="266" y="33"/>
                    <a:pt x="242" y="24"/>
                  </a:cubicBezTo>
                  <a:cubicBezTo>
                    <a:pt x="179" y="0"/>
                    <a:pt x="106" y="4"/>
                    <a:pt x="50" y="41"/>
                  </a:cubicBezTo>
                  <a:cubicBezTo>
                    <a:pt x="35" y="51"/>
                    <a:pt x="21" y="64"/>
                    <a:pt x="13" y="81"/>
                  </a:cubicBezTo>
                  <a:cubicBezTo>
                    <a:pt x="0" y="107"/>
                    <a:pt x="2" y="139"/>
                    <a:pt x="5" y="169"/>
                  </a:cubicBezTo>
                  <a:cubicBezTo>
                    <a:pt x="8" y="197"/>
                    <a:pt x="11" y="224"/>
                    <a:pt x="14" y="251"/>
                  </a:cubicBezTo>
                  <a:cubicBezTo>
                    <a:pt x="17" y="283"/>
                    <a:pt x="23" y="319"/>
                    <a:pt x="48" y="335"/>
                  </a:cubicBezTo>
                  <a:cubicBezTo>
                    <a:pt x="61" y="344"/>
                    <a:pt x="78" y="345"/>
                    <a:pt x="90" y="356"/>
                  </a:cubicBezTo>
                  <a:cubicBezTo>
                    <a:pt x="110" y="376"/>
                    <a:pt x="102" y="412"/>
                    <a:pt x="110" y="44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" name="Freeform 57">
              <a:extLst>
                <a:ext uri="{FF2B5EF4-FFF2-40B4-BE49-F238E27FC236}">
                  <a16:creationId xmlns:a16="http://schemas.microsoft.com/office/drawing/2014/main" id="{E70D92A9-99AB-4B9C-8D53-CBFF26B0CE4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89571" y="3500438"/>
              <a:ext cx="368300" cy="212725"/>
            </a:xfrm>
            <a:custGeom>
              <a:avLst/>
              <a:gdLst>
                <a:gd name="T0" fmla="*/ 316 w 317"/>
                <a:gd name="T1" fmla="*/ 34 h 184"/>
                <a:gd name="T2" fmla="*/ 298 w 317"/>
                <a:gd name="T3" fmla="*/ 17 h 184"/>
                <a:gd name="T4" fmla="*/ 294 w 317"/>
                <a:gd name="T5" fmla="*/ 33 h 184"/>
                <a:gd name="T6" fmla="*/ 293 w 317"/>
                <a:gd name="T7" fmla="*/ 49 h 184"/>
                <a:gd name="T8" fmla="*/ 264 w 317"/>
                <a:gd name="T9" fmla="*/ 68 h 184"/>
                <a:gd name="T10" fmla="*/ 250 w 317"/>
                <a:gd name="T11" fmla="*/ 65 h 184"/>
                <a:gd name="T12" fmla="*/ 239 w 317"/>
                <a:gd name="T13" fmla="*/ 55 h 184"/>
                <a:gd name="T14" fmla="*/ 216 w 317"/>
                <a:gd name="T15" fmla="*/ 30 h 184"/>
                <a:gd name="T16" fmla="*/ 158 w 317"/>
                <a:gd name="T17" fmla="*/ 25 h 184"/>
                <a:gd name="T18" fmla="*/ 102 w 317"/>
                <a:gd name="T19" fmla="*/ 49 h 184"/>
                <a:gd name="T20" fmla="*/ 97 w 317"/>
                <a:gd name="T21" fmla="*/ 54 h 184"/>
                <a:gd name="T22" fmla="*/ 84 w 317"/>
                <a:gd name="T23" fmla="*/ 63 h 184"/>
                <a:gd name="T24" fmla="*/ 37 w 317"/>
                <a:gd name="T25" fmla="*/ 50 h 184"/>
                <a:gd name="T26" fmla="*/ 19 w 317"/>
                <a:gd name="T27" fmla="*/ 34 h 184"/>
                <a:gd name="T28" fmla="*/ 4 w 317"/>
                <a:gd name="T29" fmla="*/ 44 h 184"/>
                <a:gd name="T30" fmla="*/ 0 w 317"/>
                <a:gd name="T31" fmla="*/ 63 h 184"/>
                <a:gd name="T32" fmla="*/ 15 w 317"/>
                <a:gd name="T33" fmla="*/ 134 h 184"/>
                <a:gd name="T34" fmla="*/ 128 w 317"/>
                <a:gd name="T35" fmla="*/ 182 h 184"/>
                <a:gd name="T36" fmla="*/ 180 w 317"/>
                <a:gd name="T37" fmla="*/ 179 h 184"/>
                <a:gd name="T38" fmla="*/ 273 w 317"/>
                <a:gd name="T39" fmla="*/ 156 h 184"/>
                <a:gd name="T40" fmla="*/ 314 w 317"/>
                <a:gd name="T41" fmla="*/ 81 h 184"/>
                <a:gd name="T42" fmla="*/ 316 w 317"/>
                <a:gd name="T43" fmla="*/ 34 h 184"/>
                <a:gd name="T44" fmla="*/ 221 w 317"/>
                <a:gd name="T45" fmla="*/ 117 h 184"/>
                <a:gd name="T46" fmla="*/ 167 w 317"/>
                <a:gd name="T47" fmla="*/ 125 h 184"/>
                <a:gd name="T48" fmla="*/ 170 w 317"/>
                <a:gd name="T49" fmla="*/ 111 h 184"/>
                <a:gd name="T50" fmla="*/ 214 w 317"/>
                <a:gd name="T51" fmla="*/ 105 h 184"/>
                <a:gd name="T52" fmla="*/ 221 w 317"/>
                <a:gd name="T53" fmla="*/ 11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7" h="184">
                  <a:moveTo>
                    <a:pt x="316" y="34"/>
                  </a:moveTo>
                  <a:cubicBezTo>
                    <a:pt x="315" y="26"/>
                    <a:pt x="311" y="0"/>
                    <a:pt x="298" y="17"/>
                  </a:cubicBezTo>
                  <a:cubicBezTo>
                    <a:pt x="295" y="21"/>
                    <a:pt x="294" y="27"/>
                    <a:pt x="294" y="33"/>
                  </a:cubicBezTo>
                  <a:cubicBezTo>
                    <a:pt x="294" y="38"/>
                    <a:pt x="294" y="44"/>
                    <a:pt x="293" y="49"/>
                  </a:cubicBezTo>
                  <a:cubicBezTo>
                    <a:pt x="289" y="61"/>
                    <a:pt x="276" y="67"/>
                    <a:pt x="264" y="68"/>
                  </a:cubicBezTo>
                  <a:cubicBezTo>
                    <a:pt x="259" y="68"/>
                    <a:pt x="254" y="67"/>
                    <a:pt x="250" y="65"/>
                  </a:cubicBezTo>
                  <a:cubicBezTo>
                    <a:pt x="246" y="63"/>
                    <a:pt x="243" y="59"/>
                    <a:pt x="239" y="55"/>
                  </a:cubicBezTo>
                  <a:cubicBezTo>
                    <a:pt x="231" y="47"/>
                    <a:pt x="224" y="38"/>
                    <a:pt x="216" y="30"/>
                  </a:cubicBezTo>
                  <a:cubicBezTo>
                    <a:pt x="202" y="15"/>
                    <a:pt x="176" y="22"/>
                    <a:pt x="158" y="25"/>
                  </a:cubicBezTo>
                  <a:cubicBezTo>
                    <a:pt x="138" y="28"/>
                    <a:pt x="118" y="35"/>
                    <a:pt x="102" y="49"/>
                  </a:cubicBezTo>
                  <a:cubicBezTo>
                    <a:pt x="100" y="51"/>
                    <a:pt x="98" y="52"/>
                    <a:pt x="97" y="54"/>
                  </a:cubicBezTo>
                  <a:cubicBezTo>
                    <a:pt x="93" y="57"/>
                    <a:pt x="89" y="61"/>
                    <a:pt x="84" y="63"/>
                  </a:cubicBezTo>
                  <a:cubicBezTo>
                    <a:pt x="69" y="71"/>
                    <a:pt x="49" y="64"/>
                    <a:pt x="37" y="50"/>
                  </a:cubicBezTo>
                  <a:cubicBezTo>
                    <a:pt x="32" y="43"/>
                    <a:pt x="27" y="35"/>
                    <a:pt x="19" y="34"/>
                  </a:cubicBezTo>
                  <a:cubicBezTo>
                    <a:pt x="13" y="33"/>
                    <a:pt x="7" y="38"/>
                    <a:pt x="4" y="44"/>
                  </a:cubicBezTo>
                  <a:cubicBezTo>
                    <a:pt x="1" y="50"/>
                    <a:pt x="1" y="57"/>
                    <a:pt x="0" y="63"/>
                  </a:cubicBezTo>
                  <a:cubicBezTo>
                    <a:pt x="0" y="88"/>
                    <a:pt x="4" y="113"/>
                    <a:pt x="15" y="134"/>
                  </a:cubicBezTo>
                  <a:cubicBezTo>
                    <a:pt x="39" y="180"/>
                    <a:pt x="83" y="184"/>
                    <a:pt x="128" y="182"/>
                  </a:cubicBezTo>
                  <a:cubicBezTo>
                    <a:pt x="145" y="181"/>
                    <a:pt x="163" y="180"/>
                    <a:pt x="180" y="179"/>
                  </a:cubicBezTo>
                  <a:cubicBezTo>
                    <a:pt x="212" y="177"/>
                    <a:pt x="246" y="175"/>
                    <a:pt x="273" y="156"/>
                  </a:cubicBezTo>
                  <a:cubicBezTo>
                    <a:pt x="296" y="139"/>
                    <a:pt x="309" y="110"/>
                    <a:pt x="314" y="81"/>
                  </a:cubicBezTo>
                  <a:cubicBezTo>
                    <a:pt x="317" y="65"/>
                    <a:pt x="317" y="50"/>
                    <a:pt x="316" y="34"/>
                  </a:cubicBezTo>
                  <a:close/>
                  <a:moveTo>
                    <a:pt x="221" y="117"/>
                  </a:moveTo>
                  <a:cubicBezTo>
                    <a:pt x="205" y="128"/>
                    <a:pt x="186" y="130"/>
                    <a:pt x="167" y="125"/>
                  </a:cubicBezTo>
                  <a:cubicBezTo>
                    <a:pt x="159" y="122"/>
                    <a:pt x="162" y="109"/>
                    <a:pt x="170" y="111"/>
                  </a:cubicBezTo>
                  <a:cubicBezTo>
                    <a:pt x="186" y="115"/>
                    <a:pt x="201" y="115"/>
                    <a:pt x="214" y="105"/>
                  </a:cubicBezTo>
                  <a:cubicBezTo>
                    <a:pt x="221" y="100"/>
                    <a:pt x="228" y="112"/>
                    <a:pt x="221" y="11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1" name="Freeform 58">
              <a:extLst>
                <a:ext uri="{FF2B5EF4-FFF2-40B4-BE49-F238E27FC236}">
                  <a16:creationId xmlns:a16="http://schemas.microsoft.com/office/drawing/2014/main" id="{7B84D7E6-B548-4E89-8715-1677568823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3533" y="3168650"/>
              <a:ext cx="434975" cy="355600"/>
            </a:xfrm>
            <a:custGeom>
              <a:avLst/>
              <a:gdLst>
                <a:gd name="T0" fmla="*/ 356 w 376"/>
                <a:gd name="T1" fmla="*/ 65 h 307"/>
                <a:gd name="T2" fmla="*/ 362 w 376"/>
                <a:gd name="T3" fmla="*/ 30 h 307"/>
                <a:gd name="T4" fmla="*/ 328 w 376"/>
                <a:gd name="T5" fmla="*/ 34 h 307"/>
                <a:gd name="T6" fmla="*/ 327 w 376"/>
                <a:gd name="T7" fmla="*/ 14 h 307"/>
                <a:gd name="T8" fmla="*/ 245 w 376"/>
                <a:gd name="T9" fmla="*/ 6 h 307"/>
                <a:gd name="T10" fmla="*/ 82 w 376"/>
                <a:gd name="T11" fmla="*/ 33 h 307"/>
                <a:gd name="T12" fmla="*/ 5 w 376"/>
                <a:gd name="T13" fmla="*/ 153 h 307"/>
                <a:gd name="T14" fmla="*/ 48 w 376"/>
                <a:gd name="T15" fmla="*/ 307 h 307"/>
                <a:gd name="T16" fmla="*/ 42 w 376"/>
                <a:gd name="T17" fmla="*/ 250 h 307"/>
                <a:gd name="T18" fmla="*/ 53 w 376"/>
                <a:gd name="T19" fmla="*/ 214 h 307"/>
                <a:gd name="T20" fmla="*/ 103 w 376"/>
                <a:gd name="T21" fmla="*/ 158 h 307"/>
                <a:gd name="T22" fmla="*/ 214 w 376"/>
                <a:gd name="T23" fmla="*/ 117 h 307"/>
                <a:gd name="T24" fmla="*/ 330 w 376"/>
                <a:gd name="T25" fmla="*/ 114 h 307"/>
                <a:gd name="T26" fmla="*/ 360 w 376"/>
                <a:gd name="T27" fmla="*/ 104 h 307"/>
                <a:gd name="T28" fmla="*/ 374 w 376"/>
                <a:gd name="T29" fmla="*/ 65 h 307"/>
                <a:gd name="T30" fmla="*/ 356 w 376"/>
                <a:gd name="T31" fmla="*/ 65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6" h="307">
                  <a:moveTo>
                    <a:pt x="356" y="65"/>
                  </a:moveTo>
                  <a:cubicBezTo>
                    <a:pt x="359" y="54"/>
                    <a:pt x="361" y="42"/>
                    <a:pt x="362" y="30"/>
                  </a:cubicBezTo>
                  <a:cubicBezTo>
                    <a:pt x="351" y="34"/>
                    <a:pt x="339" y="36"/>
                    <a:pt x="328" y="34"/>
                  </a:cubicBezTo>
                  <a:cubicBezTo>
                    <a:pt x="328" y="28"/>
                    <a:pt x="328" y="21"/>
                    <a:pt x="327" y="14"/>
                  </a:cubicBezTo>
                  <a:cubicBezTo>
                    <a:pt x="327" y="8"/>
                    <a:pt x="251" y="7"/>
                    <a:pt x="245" y="6"/>
                  </a:cubicBezTo>
                  <a:cubicBezTo>
                    <a:pt x="187" y="3"/>
                    <a:pt x="134" y="0"/>
                    <a:pt x="82" y="33"/>
                  </a:cubicBezTo>
                  <a:cubicBezTo>
                    <a:pt x="38" y="61"/>
                    <a:pt x="11" y="101"/>
                    <a:pt x="5" y="153"/>
                  </a:cubicBezTo>
                  <a:cubicBezTo>
                    <a:pt x="0" y="203"/>
                    <a:pt x="18" y="267"/>
                    <a:pt x="48" y="307"/>
                  </a:cubicBezTo>
                  <a:cubicBezTo>
                    <a:pt x="47" y="294"/>
                    <a:pt x="39" y="263"/>
                    <a:pt x="42" y="250"/>
                  </a:cubicBezTo>
                  <a:cubicBezTo>
                    <a:pt x="43" y="238"/>
                    <a:pt x="47" y="225"/>
                    <a:pt x="53" y="214"/>
                  </a:cubicBezTo>
                  <a:cubicBezTo>
                    <a:pt x="64" y="192"/>
                    <a:pt x="82" y="172"/>
                    <a:pt x="103" y="158"/>
                  </a:cubicBezTo>
                  <a:cubicBezTo>
                    <a:pt x="136" y="136"/>
                    <a:pt x="175" y="124"/>
                    <a:pt x="214" y="117"/>
                  </a:cubicBezTo>
                  <a:cubicBezTo>
                    <a:pt x="250" y="111"/>
                    <a:pt x="294" y="105"/>
                    <a:pt x="330" y="114"/>
                  </a:cubicBezTo>
                  <a:cubicBezTo>
                    <a:pt x="348" y="118"/>
                    <a:pt x="351" y="122"/>
                    <a:pt x="360" y="104"/>
                  </a:cubicBezTo>
                  <a:cubicBezTo>
                    <a:pt x="362" y="101"/>
                    <a:pt x="376" y="65"/>
                    <a:pt x="374" y="65"/>
                  </a:cubicBezTo>
                  <a:cubicBezTo>
                    <a:pt x="368" y="65"/>
                    <a:pt x="362" y="65"/>
                    <a:pt x="356" y="65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" name="Freeform 59">
              <a:extLst>
                <a:ext uri="{FF2B5EF4-FFF2-40B4-BE49-F238E27FC236}">
                  <a16:creationId xmlns:a16="http://schemas.microsoft.com/office/drawing/2014/main" id="{D2A837F7-8F9F-4B1B-B658-8CDA379BDB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19771" y="5889625"/>
              <a:ext cx="139700" cy="246063"/>
            </a:xfrm>
            <a:custGeom>
              <a:avLst/>
              <a:gdLst>
                <a:gd name="T0" fmla="*/ 65 w 88"/>
                <a:gd name="T1" fmla="*/ 33 h 155"/>
                <a:gd name="T2" fmla="*/ 88 w 88"/>
                <a:gd name="T3" fmla="*/ 120 h 155"/>
                <a:gd name="T4" fmla="*/ 63 w 88"/>
                <a:gd name="T5" fmla="*/ 155 h 155"/>
                <a:gd name="T6" fmla="*/ 24 w 88"/>
                <a:gd name="T7" fmla="*/ 132 h 155"/>
                <a:gd name="T8" fmla="*/ 0 w 88"/>
                <a:gd name="T9" fmla="*/ 56 h 155"/>
                <a:gd name="T10" fmla="*/ 18 w 88"/>
                <a:gd name="T11" fmla="*/ 0 h 155"/>
                <a:gd name="T12" fmla="*/ 65 w 88"/>
                <a:gd name="T13" fmla="*/ 3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155">
                  <a:moveTo>
                    <a:pt x="65" y="33"/>
                  </a:moveTo>
                  <a:lnTo>
                    <a:pt x="88" y="120"/>
                  </a:lnTo>
                  <a:lnTo>
                    <a:pt x="63" y="155"/>
                  </a:lnTo>
                  <a:lnTo>
                    <a:pt x="24" y="132"/>
                  </a:lnTo>
                  <a:lnTo>
                    <a:pt x="0" y="56"/>
                  </a:lnTo>
                  <a:lnTo>
                    <a:pt x="18" y="0"/>
                  </a:lnTo>
                  <a:lnTo>
                    <a:pt x="65" y="33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" name="Freeform 60">
              <a:extLst>
                <a:ext uri="{FF2B5EF4-FFF2-40B4-BE49-F238E27FC236}">
                  <a16:creationId xmlns:a16="http://schemas.microsoft.com/office/drawing/2014/main" id="{D3F65C99-A4F7-46A8-9D8B-851F8F740B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37196" y="5862638"/>
              <a:ext cx="138113" cy="247650"/>
            </a:xfrm>
            <a:custGeom>
              <a:avLst/>
              <a:gdLst>
                <a:gd name="T0" fmla="*/ 65 w 87"/>
                <a:gd name="T1" fmla="*/ 33 h 156"/>
                <a:gd name="T2" fmla="*/ 87 w 87"/>
                <a:gd name="T3" fmla="*/ 121 h 156"/>
                <a:gd name="T4" fmla="*/ 62 w 87"/>
                <a:gd name="T5" fmla="*/ 156 h 156"/>
                <a:gd name="T6" fmla="*/ 23 w 87"/>
                <a:gd name="T7" fmla="*/ 132 h 156"/>
                <a:gd name="T8" fmla="*/ 0 w 87"/>
                <a:gd name="T9" fmla="*/ 57 h 156"/>
                <a:gd name="T10" fmla="*/ 17 w 87"/>
                <a:gd name="T11" fmla="*/ 0 h 156"/>
                <a:gd name="T12" fmla="*/ 65 w 87"/>
                <a:gd name="T13" fmla="*/ 33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56">
                  <a:moveTo>
                    <a:pt x="65" y="33"/>
                  </a:moveTo>
                  <a:lnTo>
                    <a:pt x="87" y="121"/>
                  </a:lnTo>
                  <a:lnTo>
                    <a:pt x="62" y="156"/>
                  </a:lnTo>
                  <a:lnTo>
                    <a:pt x="23" y="132"/>
                  </a:lnTo>
                  <a:lnTo>
                    <a:pt x="0" y="57"/>
                  </a:lnTo>
                  <a:lnTo>
                    <a:pt x="17" y="0"/>
                  </a:lnTo>
                  <a:lnTo>
                    <a:pt x="65" y="33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" name="Freeform 61">
              <a:extLst>
                <a:ext uri="{FF2B5EF4-FFF2-40B4-BE49-F238E27FC236}">
                  <a16:creationId xmlns:a16="http://schemas.microsoft.com/office/drawing/2014/main" id="{C8BEFAA8-2454-4D19-95CF-4573C3F60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721" y="4859338"/>
              <a:ext cx="466725" cy="1112838"/>
            </a:xfrm>
            <a:custGeom>
              <a:avLst/>
              <a:gdLst>
                <a:gd name="T0" fmla="*/ 19 w 402"/>
                <a:gd name="T1" fmla="*/ 137 h 961"/>
                <a:gd name="T2" fmla="*/ 72 w 402"/>
                <a:gd name="T3" fmla="*/ 48 h 961"/>
                <a:gd name="T4" fmla="*/ 267 w 402"/>
                <a:gd name="T5" fmla="*/ 20 h 961"/>
                <a:gd name="T6" fmla="*/ 374 w 402"/>
                <a:gd name="T7" fmla="*/ 109 h 961"/>
                <a:gd name="T8" fmla="*/ 402 w 402"/>
                <a:gd name="T9" fmla="*/ 218 h 961"/>
                <a:gd name="T10" fmla="*/ 376 w 402"/>
                <a:gd name="T11" fmla="*/ 321 h 961"/>
                <a:gd name="T12" fmla="*/ 220 w 402"/>
                <a:gd name="T13" fmla="*/ 961 h 961"/>
                <a:gd name="T14" fmla="*/ 132 w 402"/>
                <a:gd name="T15" fmla="*/ 948 h 961"/>
                <a:gd name="T16" fmla="*/ 126 w 402"/>
                <a:gd name="T17" fmla="*/ 294 h 961"/>
                <a:gd name="T18" fmla="*/ 19 w 402"/>
                <a:gd name="T19" fmla="*/ 137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2" h="961">
                  <a:moveTo>
                    <a:pt x="19" y="137"/>
                  </a:moveTo>
                  <a:cubicBezTo>
                    <a:pt x="28" y="107"/>
                    <a:pt x="43" y="61"/>
                    <a:pt x="72" y="48"/>
                  </a:cubicBezTo>
                  <a:cubicBezTo>
                    <a:pt x="135" y="22"/>
                    <a:pt x="203" y="0"/>
                    <a:pt x="267" y="20"/>
                  </a:cubicBezTo>
                  <a:cubicBezTo>
                    <a:pt x="311" y="33"/>
                    <a:pt x="350" y="65"/>
                    <a:pt x="374" y="109"/>
                  </a:cubicBezTo>
                  <a:cubicBezTo>
                    <a:pt x="392" y="141"/>
                    <a:pt x="402" y="180"/>
                    <a:pt x="402" y="218"/>
                  </a:cubicBezTo>
                  <a:cubicBezTo>
                    <a:pt x="402" y="255"/>
                    <a:pt x="384" y="286"/>
                    <a:pt x="376" y="321"/>
                  </a:cubicBezTo>
                  <a:cubicBezTo>
                    <a:pt x="324" y="534"/>
                    <a:pt x="272" y="748"/>
                    <a:pt x="220" y="961"/>
                  </a:cubicBezTo>
                  <a:cubicBezTo>
                    <a:pt x="132" y="948"/>
                    <a:pt x="132" y="948"/>
                    <a:pt x="132" y="948"/>
                  </a:cubicBezTo>
                  <a:cubicBezTo>
                    <a:pt x="126" y="294"/>
                    <a:pt x="126" y="294"/>
                    <a:pt x="126" y="294"/>
                  </a:cubicBezTo>
                  <a:cubicBezTo>
                    <a:pt x="90" y="257"/>
                    <a:pt x="0" y="198"/>
                    <a:pt x="19" y="13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" name="Freeform 62">
              <a:extLst>
                <a:ext uri="{FF2B5EF4-FFF2-40B4-BE49-F238E27FC236}">
                  <a16:creationId xmlns:a16="http://schemas.microsoft.com/office/drawing/2014/main" id="{17148E15-32C2-422F-905F-C7FA8D26DC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78446" y="4860925"/>
              <a:ext cx="422275" cy="1098550"/>
            </a:xfrm>
            <a:custGeom>
              <a:avLst/>
              <a:gdLst>
                <a:gd name="T0" fmla="*/ 6 w 365"/>
                <a:gd name="T1" fmla="*/ 235 h 949"/>
                <a:gd name="T2" fmla="*/ 0 w 365"/>
                <a:gd name="T3" fmla="*/ 166 h 949"/>
                <a:gd name="T4" fmla="*/ 7 w 365"/>
                <a:gd name="T5" fmla="*/ 113 h 949"/>
                <a:gd name="T6" fmla="*/ 39 w 365"/>
                <a:gd name="T7" fmla="*/ 67 h 949"/>
                <a:gd name="T8" fmla="*/ 211 w 365"/>
                <a:gd name="T9" fmla="*/ 15 h 949"/>
                <a:gd name="T10" fmla="*/ 288 w 365"/>
                <a:gd name="T11" fmla="*/ 53 h 949"/>
                <a:gd name="T12" fmla="*/ 361 w 365"/>
                <a:gd name="T13" fmla="*/ 124 h 949"/>
                <a:gd name="T14" fmla="*/ 365 w 365"/>
                <a:gd name="T15" fmla="*/ 133 h 949"/>
                <a:gd name="T16" fmla="*/ 360 w 365"/>
                <a:gd name="T17" fmla="*/ 139 h 949"/>
                <a:gd name="T18" fmla="*/ 283 w 365"/>
                <a:gd name="T19" fmla="*/ 260 h 949"/>
                <a:gd name="T20" fmla="*/ 261 w 365"/>
                <a:gd name="T21" fmla="*/ 433 h 949"/>
                <a:gd name="T22" fmla="*/ 254 w 365"/>
                <a:gd name="T23" fmla="*/ 644 h 949"/>
                <a:gd name="T24" fmla="*/ 243 w 365"/>
                <a:gd name="T25" fmla="*/ 936 h 949"/>
                <a:gd name="T26" fmla="*/ 143 w 365"/>
                <a:gd name="T27" fmla="*/ 949 h 949"/>
                <a:gd name="T28" fmla="*/ 91 w 365"/>
                <a:gd name="T29" fmla="*/ 680 h 949"/>
                <a:gd name="T30" fmla="*/ 17 w 365"/>
                <a:gd name="T31" fmla="*/ 302 h 949"/>
                <a:gd name="T32" fmla="*/ 6 w 365"/>
                <a:gd name="T33" fmla="*/ 235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5" h="949">
                  <a:moveTo>
                    <a:pt x="6" y="235"/>
                  </a:moveTo>
                  <a:cubicBezTo>
                    <a:pt x="3" y="212"/>
                    <a:pt x="1" y="189"/>
                    <a:pt x="0" y="166"/>
                  </a:cubicBezTo>
                  <a:cubicBezTo>
                    <a:pt x="0" y="148"/>
                    <a:pt x="1" y="130"/>
                    <a:pt x="7" y="113"/>
                  </a:cubicBezTo>
                  <a:cubicBezTo>
                    <a:pt x="13" y="94"/>
                    <a:pt x="26" y="80"/>
                    <a:pt x="39" y="67"/>
                  </a:cubicBezTo>
                  <a:cubicBezTo>
                    <a:pt x="87" y="22"/>
                    <a:pt x="149" y="0"/>
                    <a:pt x="211" y="15"/>
                  </a:cubicBezTo>
                  <a:cubicBezTo>
                    <a:pt x="238" y="22"/>
                    <a:pt x="264" y="36"/>
                    <a:pt x="288" y="53"/>
                  </a:cubicBezTo>
                  <a:cubicBezTo>
                    <a:pt x="315" y="72"/>
                    <a:pt x="341" y="95"/>
                    <a:pt x="361" y="124"/>
                  </a:cubicBezTo>
                  <a:cubicBezTo>
                    <a:pt x="363" y="126"/>
                    <a:pt x="365" y="130"/>
                    <a:pt x="365" y="133"/>
                  </a:cubicBezTo>
                  <a:cubicBezTo>
                    <a:pt x="364" y="136"/>
                    <a:pt x="362" y="137"/>
                    <a:pt x="360" y="139"/>
                  </a:cubicBezTo>
                  <a:cubicBezTo>
                    <a:pt x="326" y="171"/>
                    <a:pt x="300" y="214"/>
                    <a:pt x="283" y="260"/>
                  </a:cubicBezTo>
                  <a:cubicBezTo>
                    <a:pt x="263" y="317"/>
                    <a:pt x="264" y="373"/>
                    <a:pt x="261" y="433"/>
                  </a:cubicBezTo>
                  <a:cubicBezTo>
                    <a:pt x="259" y="503"/>
                    <a:pt x="256" y="573"/>
                    <a:pt x="254" y="644"/>
                  </a:cubicBezTo>
                  <a:cubicBezTo>
                    <a:pt x="250" y="741"/>
                    <a:pt x="246" y="839"/>
                    <a:pt x="243" y="936"/>
                  </a:cubicBezTo>
                  <a:cubicBezTo>
                    <a:pt x="143" y="949"/>
                    <a:pt x="143" y="949"/>
                    <a:pt x="143" y="949"/>
                  </a:cubicBezTo>
                  <a:cubicBezTo>
                    <a:pt x="126" y="859"/>
                    <a:pt x="108" y="770"/>
                    <a:pt x="91" y="680"/>
                  </a:cubicBezTo>
                  <a:cubicBezTo>
                    <a:pt x="66" y="554"/>
                    <a:pt x="42" y="428"/>
                    <a:pt x="17" y="302"/>
                  </a:cubicBezTo>
                  <a:cubicBezTo>
                    <a:pt x="13" y="280"/>
                    <a:pt x="9" y="258"/>
                    <a:pt x="6" y="235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" name="Freeform 63">
              <a:extLst>
                <a:ext uri="{FF2B5EF4-FFF2-40B4-BE49-F238E27FC236}">
                  <a16:creationId xmlns:a16="http://schemas.microsoft.com/office/drawing/2014/main" id="{CF1DBF65-D34D-4539-84FA-83CFA9ADBF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1158" y="3589338"/>
              <a:ext cx="1495425" cy="1450975"/>
            </a:xfrm>
            <a:custGeom>
              <a:avLst/>
              <a:gdLst>
                <a:gd name="T0" fmla="*/ 777 w 1291"/>
                <a:gd name="T1" fmla="*/ 88 h 1254"/>
                <a:gd name="T2" fmla="*/ 585 w 1291"/>
                <a:gd name="T3" fmla="*/ 331 h 1254"/>
                <a:gd name="T4" fmla="*/ 249 w 1291"/>
                <a:gd name="T5" fmla="*/ 315 h 1254"/>
                <a:gd name="T6" fmla="*/ 241 w 1291"/>
                <a:gd name="T7" fmla="*/ 951 h 1254"/>
                <a:gd name="T8" fmla="*/ 603 w 1291"/>
                <a:gd name="T9" fmla="*/ 1145 h 1254"/>
                <a:gd name="T10" fmla="*/ 978 w 1291"/>
                <a:gd name="T11" fmla="*/ 1253 h 1254"/>
                <a:gd name="T12" fmla="*/ 1159 w 1291"/>
                <a:gd name="T13" fmla="*/ 907 h 1254"/>
                <a:gd name="T14" fmla="*/ 1270 w 1291"/>
                <a:gd name="T15" fmla="*/ 511 h 1254"/>
                <a:gd name="T16" fmla="*/ 777 w 1291"/>
                <a:gd name="T17" fmla="*/ 88 h 1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1" h="1254">
                  <a:moveTo>
                    <a:pt x="777" y="88"/>
                  </a:moveTo>
                  <a:cubicBezTo>
                    <a:pt x="676" y="122"/>
                    <a:pt x="576" y="230"/>
                    <a:pt x="585" y="331"/>
                  </a:cubicBezTo>
                  <a:cubicBezTo>
                    <a:pt x="517" y="255"/>
                    <a:pt x="343" y="265"/>
                    <a:pt x="249" y="315"/>
                  </a:cubicBezTo>
                  <a:cubicBezTo>
                    <a:pt x="0" y="448"/>
                    <a:pt x="43" y="792"/>
                    <a:pt x="241" y="951"/>
                  </a:cubicBezTo>
                  <a:cubicBezTo>
                    <a:pt x="347" y="1037"/>
                    <a:pt x="474" y="1097"/>
                    <a:pt x="603" y="1145"/>
                  </a:cubicBezTo>
                  <a:cubicBezTo>
                    <a:pt x="712" y="1185"/>
                    <a:pt x="978" y="1254"/>
                    <a:pt x="978" y="1253"/>
                  </a:cubicBezTo>
                  <a:cubicBezTo>
                    <a:pt x="979" y="1254"/>
                    <a:pt x="1113" y="1013"/>
                    <a:pt x="1159" y="907"/>
                  </a:cubicBezTo>
                  <a:cubicBezTo>
                    <a:pt x="1215" y="781"/>
                    <a:pt x="1258" y="648"/>
                    <a:pt x="1270" y="511"/>
                  </a:cubicBezTo>
                  <a:cubicBezTo>
                    <a:pt x="1291" y="258"/>
                    <a:pt x="1045" y="0"/>
                    <a:pt x="777" y="88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" name="Freeform 64">
              <a:extLst>
                <a:ext uri="{FF2B5EF4-FFF2-40B4-BE49-F238E27FC236}">
                  <a16:creationId xmlns:a16="http://schemas.microsoft.com/office/drawing/2014/main" id="{949EFF7B-4708-4B47-A39B-5A711A0042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76833" y="4994275"/>
              <a:ext cx="96838" cy="25400"/>
            </a:xfrm>
            <a:custGeom>
              <a:avLst/>
              <a:gdLst>
                <a:gd name="T0" fmla="*/ 0 w 83"/>
                <a:gd name="T1" fmla="*/ 0 h 23"/>
                <a:gd name="T2" fmla="*/ 1 w 83"/>
                <a:gd name="T3" fmla="*/ 0 h 23"/>
                <a:gd name="T4" fmla="*/ 83 w 83"/>
                <a:gd name="T5" fmla="*/ 23 h 23"/>
                <a:gd name="T6" fmla="*/ 83 w 83"/>
                <a:gd name="T7" fmla="*/ 22 h 23"/>
                <a:gd name="T8" fmla="*/ 0 w 83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23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31" y="9"/>
                    <a:pt x="59" y="16"/>
                    <a:pt x="83" y="23"/>
                  </a:cubicBezTo>
                  <a:cubicBezTo>
                    <a:pt x="83" y="23"/>
                    <a:pt x="83" y="22"/>
                    <a:pt x="83" y="22"/>
                  </a:cubicBezTo>
                  <a:cubicBezTo>
                    <a:pt x="59" y="16"/>
                    <a:pt x="30" y="8"/>
                    <a:pt x="0" y="0"/>
                  </a:cubicBezTo>
                </a:path>
              </a:pathLst>
            </a:custGeom>
            <a:solidFill>
              <a:srgbClr val="0D55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" name="Freeform 65">
              <a:extLst>
                <a:ext uri="{FF2B5EF4-FFF2-40B4-BE49-F238E27FC236}">
                  <a16:creationId xmlns:a16="http://schemas.microsoft.com/office/drawing/2014/main" id="{1865C777-96FA-4521-880E-9B5CAEE6CB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3671" y="5019675"/>
              <a:ext cx="79375" cy="20638"/>
            </a:xfrm>
            <a:custGeom>
              <a:avLst/>
              <a:gdLst>
                <a:gd name="T0" fmla="*/ 0 w 68"/>
                <a:gd name="T1" fmla="*/ 0 h 18"/>
                <a:gd name="T2" fmla="*/ 0 w 68"/>
                <a:gd name="T3" fmla="*/ 1 h 18"/>
                <a:gd name="T4" fmla="*/ 68 w 68"/>
                <a:gd name="T5" fmla="*/ 18 h 18"/>
                <a:gd name="T6" fmla="*/ 68 w 68"/>
                <a:gd name="T7" fmla="*/ 18 h 18"/>
                <a:gd name="T8" fmla="*/ 68 w 68"/>
                <a:gd name="T9" fmla="*/ 18 h 18"/>
                <a:gd name="T10" fmla="*/ 68 w 68"/>
                <a:gd name="T11" fmla="*/ 18 h 18"/>
                <a:gd name="T12" fmla="*/ 0 w 68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18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40" y="11"/>
                    <a:pt x="67" y="18"/>
                    <a:pt x="68" y="18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1" y="17"/>
                    <a:pt x="35" y="10"/>
                    <a:pt x="0" y="0"/>
                  </a:cubicBezTo>
                </a:path>
              </a:pathLst>
            </a:custGeom>
            <a:solidFill>
              <a:srgbClr val="33A3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" name="Freeform 66">
              <a:extLst>
                <a:ext uri="{FF2B5EF4-FFF2-40B4-BE49-F238E27FC236}">
                  <a16:creationId xmlns:a16="http://schemas.microsoft.com/office/drawing/2014/main" id="{A303D9DA-A660-488C-8212-D1EF13D6C6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84758" y="4967288"/>
              <a:ext cx="93663" cy="26988"/>
            </a:xfrm>
            <a:custGeom>
              <a:avLst/>
              <a:gdLst>
                <a:gd name="T0" fmla="*/ 1 w 81"/>
                <a:gd name="T1" fmla="*/ 0 h 23"/>
                <a:gd name="T2" fmla="*/ 0 w 81"/>
                <a:gd name="T3" fmla="*/ 0 h 23"/>
                <a:gd name="T4" fmla="*/ 81 w 81"/>
                <a:gd name="T5" fmla="*/ 23 h 23"/>
                <a:gd name="T6" fmla="*/ 80 w 81"/>
                <a:gd name="T7" fmla="*/ 23 h 23"/>
                <a:gd name="T8" fmla="*/ 1 w 81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23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7" y="8"/>
                    <a:pt x="54" y="16"/>
                    <a:pt x="81" y="23"/>
                  </a:cubicBezTo>
                  <a:cubicBezTo>
                    <a:pt x="81" y="23"/>
                    <a:pt x="81" y="23"/>
                    <a:pt x="80" y="23"/>
                  </a:cubicBezTo>
                  <a:cubicBezTo>
                    <a:pt x="55" y="16"/>
                    <a:pt x="27" y="8"/>
                    <a:pt x="1" y="0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" name="Freeform 67">
              <a:extLst>
                <a:ext uri="{FF2B5EF4-FFF2-40B4-BE49-F238E27FC236}">
                  <a16:creationId xmlns:a16="http://schemas.microsoft.com/office/drawing/2014/main" id="{CEC10C55-E724-48B8-B92B-3C85902857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86346" y="4029075"/>
              <a:ext cx="608013" cy="1011238"/>
            </a:xfrm>
            <a:custGeom>
              <a:avLst/>
              <a:gdLst>
                <a:gd name="T0" fmla="*/ 509 w 525"/>
                <a:gd name="T1" fmla="*/ 0 h 873"/>
                <a:gd name="T2" fmla="*/ 476 w 525"/>
                <a:gd name="T3" fmla="*/ 177 h 873"/>
                <a:gd name="T4" fmla="*/ 353 w 525"/>
                <a:gd name="T5" fmla="*/ 498 h 873"/>
                <a:gd name="T6" fmla="*/ 141 w 525"/>
                <a:gd name="T7" fmla="*/ 753 h 873"/>
                <a:gd name="T8" fmla="*/ 0 w 525"/>
                <a:gd name="T9" fmla="*/ 810 h 873"/>
                <a:gd name="T10" fmla="*/ 79 w 525"/>
                <a:gd name="T11" fmla="*/ 833 h 873"/>
                <a:gd name="T12" fmla="*/ 162 w 525"/>
                <a:gd name="T13" fmla="*/ 855 h 873"/>
                <a:gd name="T14" fmla="*/ 230 w 525"/>
                <a:gd name="T15" fmla="*/ 873 h 873"/>
                <a:gd name="T16" fmla="*/ 411 w 525"/>
                <a:gd name="T17" fmla="*/ 527 h 873"/>
                <a:gd name="T18" fmla="*/ 521 w 525"/>
                <a:gd name="T19" fmla="*/ 131 h 873"/>
                <a:gd name="T20" fmla="*/ 509 w 525"/>
                <a:gd name="T21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5" h="873">
                  <a:moveTo>
                    <a:pt x="509" y="0"/>
                  </a:moveTo>
                  <a:cubicBezTo>
                    <a:pt x="503" y="60"/>
                    <a:pt x="491" y="119"/>
                    <a:pt x="476" y="177"/>
                  </a:cubicBezTo>
                  <a:cubicBezTo>
                    <a:pt x="447" y="287"/>
                    <a:pt x="406" y="397"/>
                    <a:pt x="353" y="498"/>
                  </a:cubicBezTo>
                  <a:cubicBezTo>
                    <a:pt x="302" y="596"/>
                    <a:pt x="234" y="691"/>
                    <a:pt x="141" y="753"/>
                  </a:cubicBezTo>
                  <a:cubicBezTo>
                    <a:pt x="97" y="783"/>
                    <a:pt x="49" y="802"/>
                    <a:pt x="0" y="810"/>
                  </a:cubicBezTo>
                  <a:cubicBezTo>
                    <a:pt x="26" y="818"/>
                    <a:pt x="54" y="826"/>
                    <a:pt x="79" y="833"/>
                  </a:cubicBezTo>
                  <a:cubicBezTo>
                    <a:pt x="109" y="841"/>
                    <a:pt x="138" y="849"/>
                    <a:pt x="162" y="855"/>
                  </a:cubicBezTo>
                  <a:cubicBezTo>
                    <a:pt x="197" y="865"/>
                    <a:pt x="223" y="872"/>
                    <a:pt x="230" y="873"/>
                  </a:cubicBezTo>
                  <a:cubicBezTo>
                    <a:pt x="234" y="866"/>
                    <a:pt x="365" y="632"/>
                    <a:pt x="411" y="527"/>
                  </a:cubicBezTo>
                  <a:cubicBezTo>
                    <a:pt x="466" y="401"/>
                    <a:pt x="509" y="267"/>
                    <a:pt x="521" y="131"/>
                  </a:cubicBezTo>
                  <a:cubicBezTo>
                    <a:pt x="525" y="87"/>
                    <a:pt x="520" y="43"/>
                    <a:pt x="509" y="0"/>
                  </a:cubicBezTo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" name="Freeform 68">
              <a:extLst>
                <a:ext uri="{FF2B5EF4-FFF2-40B4-BE49-F238E27FC236}">
                  <a16:creationId xmlns:a16="http://schemas.microsoft.com/office/drawing/2014/main" id="{3EE1B152-0A9F-45C1-B2FA-3ABDF7D180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6433" y="3938588"/>
              <a:ext cx="1114425" cy="790575"/>
            </a:xfrm>
            <a:custGeom>
              <a:avLst/>
              <a:gdLst>
                <a:gd name="T0" fmla="*/ 933 w 962"/>
                <a:gd name="T1" fmla="*/ 172 h 682"/>
                <a:gd name="T2" fmla="*/ 732 w 962"/>
                <a:gd name="T3" fmla="*/ 264 h 682"/>
                <a:gd name="T4" fmla="*/ 538 w 962"/>
                <a:gd name="T5" fmla="*/ 12 h 682"/>
                <a:gd name="T6" fmla="*/ 511 w 962"/>
                <a:gd name="T7" fmla="*/ 23 h 682"/>
                <a:gd name="T8" fmla="*/ 564 w 962"/>
                <a:gd name="T9" fmla="*/ 584 h 682"/>
                <a:gd name="T10" fmla="*/ 567 w 962"/>
                <a:gd name="T11" fmla="*/ 616 h 682"/>
                <a:gd name="T12" fmla="*/ 322 w 962"/>
                <a:gd name="T13" fmla="*/ 337 h 682"/>
                <a:gd name="T14" fmla="*/ 282 w 962"/>
                <a:gd name="T15" fmla="*/ 293 h 682"/>
                <a:gd name="T16" fmla="*/ 256 w 962"/>
                <a:gd name="T17" fmla="*/ 300 h 682"/>
                <a:gd name="T18" fmla="*/ 245 w 962"/>
                <a:gd name="T19" fmla="*/ 491 h 682"/>
                <a:gd name="T20" fmla="*/ 18 w 962"/>
                <a:gd name="T21" fmla="*/ 588 h 682"/>
                <a:gd name="T22" fmla="*/ 30 w 962"/>
                <a:gd name="T23" fmla="*/ 616 h 682"/>
                <a:gd name="T24" fmla="*/ 266 w 962"/>
                <a:gd name="T25" fmla="*/ 515 h 682"/>
                <a:gd name="T26" fmla="*/ 275 w 962"/>
                <a:gd name="T27" fmla="*/ 503 h 682"/>
                <a:gd name="T28" fmla="*/ 284 w 962"/>
                <a:gd name="T29" fmla="*/ 339 h 682"/>
                <a:gd name="T30" fmla="*/ 536 w 962"/>
                <a:gd name="T31" fmla="*/ 626 h 682"/>
                <a:gd name="T32" fmla="*/ 575 w 962"/>
                <a:gd name="T33" fmla="*/ 671 h 682"/>
                <a:gd name="T34" fmla="*/ 602 w 962"/>
                <a:gd name="T35" fmla="*/ 659 h 682"/>
                <a:gd name="T36" fmla="*/ 548 w 962"/>
                <a:gd name="T37" fmla="*/ 99 h 682"/>
                <a:gd name="T38" fmla="*/ 546 w 962"/>
                <a:gd name="T39" fmla="*/ 72 h 682"/>
                <a:gd name="T40" fmla="*/ 716 w 962"/>
                <a:gd name="T41" fmla="*/ 292 h 682"/>
                <a:gd name="T42" fmla="*/ 734 w 962"/>
                <a:gd name="T43" fmla="*/ 296 h 682"/>
                <a:gd name="T44" fmla="*/ 945 w 962"/>
                <a:gd name="T45" fmla="*/ 199 h 682"/>
                <a:gd name="T46" fmla="*/ 933 w 962"/>
                <a:gd name="T47" fmla="*/ 172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2" h="682">
                  <a:moveTo>
                    <a:pt x="933" y="172"/>
                  </a:moveTo>
                  <a:cubicBezTo>
                    <a:pt x="866" y="202"/>
                    <a:pt x="799" y="233"/>
                    <a:pt x="732" y="264"/>
                  </a:cubicBezTo>
                  <a:cubicBezTo>
                    <a:pt x="667" y="180"/>
                    <a:pt x="602" y="96"/>
                    <a:pt x="538" y="12"/>
                  </a:cubicBezTo>
                  <a:cubicBezTo>
                    <a:pt x="528" y="0"/>
                    <a:pt x="510" y="9"/>
                    <a:pt x="511" y="23"/>
                  </a:cubicBezTo>
                  <a:cubicBezTo>
                    <a:pt x="529" y="210"/>
                    <a:pt x="547" y="397"/>
                    <a:pt x="564" y="584"/>
                  </a:cubicBezTo>
                  <a:cubicBezTo>
                    <a:pt x="565" y="595"/>
                    <a:pt x="566" y="606"/>
                    <a:pt x="567" y="616"/>
                  </a:cubicBezTo>
                  <a:cubicBezTo>
                    <a:pt x="486" y="523"/>
                    <a:pt x="404" y="430"/>
                    <a:pt x="322" y="337"/>
                  </a:cubicBezTo>
                  <a:cubicBezTo>
                    <a:pt x="309" y="322"/>
                    <a:pt x="295" y="308"/>
                    <a:pt x="282" y="293"/>
                  </a:cubicBezTo>
                  <a:cubicBezTo>
                    <a:pt x="274" y="284"/>
                    <a:pt x="256" y="286"/>
                    <a:pt x="256" y="300"/>
                  </a:cubicBezTo>
                  <a:cubicBezTo>
                    <a:pt x="252" y="364"/>
                    <a:pt x="249" y="427"/>
                    <a:pt x="245" y="491"/>
                  </a:cubicBezTo>
                  <a:cubicBezTo>
                    <a:pt x="169" y="524"/>
                    <a:pt x="94" y="556"/>
                    <a:pt x="18" y="588"/>
                  </a:cubicBezTo>
                  <a:cubicBezTo>
                    <a:pt x="0" y="596"/>
                    <a:pt x="12" y="624"/>
                    <a:pt x="30" y="616"/>
                  </a:cubicBezTo>
                  <a:cubicBezTo>
                    <a:pt x="108" y="582"/>
                    <a:pt x="187" y="549"/>
                    <a:pt x="266" y="515"/>
                  </a:cubicBezTo>
                  <a:cubicBezTo>
                    <a:pt x="270" y="513"/>
                    <a:pt x="274" y="508"/>
                    <a:pt x="275" y="503"/>
                  </a:cubicBezTo>
                  <a:cubicBezTo>
                    <a:pt x="278" y="449"/>
                    <a:pt x="281" y="394"/>
                    <a:pt x="284" y="339"/>
                  </a:cubicBezTo>
                  <a:cubicBezTo>
                    <a:pt x="368" y="435"/>
                    <a:pt x="452" y="530"/>
                    <a:pt x="536" y="626"/>
                  </a:cubicBezTo>
                  <a:cubicBezTo>
                    <a:pt x="549" y="641"/>
                    <a:pt x="562" y="656"/>
                    <a:pt x="575" y="671"/>
                  </a:cubicBezTo>
                  <a:cubicBezTo>
                    <a:pt x="585" y="682"/>
                    <a:pt x="603" y="674"/>
                    <a:pt x="602" y="659"/>
                  </a:cubicBezTo>
                  <a:cubicBezTo>
                    <a:pt x="584" y="472"/>
                    <a:pt x="566" y="285"/>
                    <a:pt x="548" y="99"/>
                  </a:cubicBezTo>
                  <a:cubicBezTo>
                    <a:pt x="547" y="90"/>
                    <a:pt x="547" y="81"/>
                    <a:pt x="546" y="72"/>
                  </a:cubicBezTo>
                  <a:cubicBezTo>
                    <a:pt x="602" y="145"/>
                    <a:pt x="659" y="219"/>
                    <a:pt x="716" y="292"/>
                  </a:cubicBezTo>
                  <a:cubicBezTo>
                    <a:pt x="720" y="297"/>
                    <a:pt x="728" y="299"/>
                    <a:pt x="734" y="296"/>
                  </a:cubicBezTo>
                  <a:cubicBezTo>
                    <a:pt x="804" y="264"/>
                    <a:pt x="874" y="232"/>
                    <a:pt x="945" y="199"/>
                  </a:cubicBezTo>
                  <a:cubicBezTo>
                    <a:pt x="962" y="191"/>
                    <a:pt x="951" y="164"/>
                    <a:pt x="933" y="17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" name="Freeform 69">
              <a:extLst>
                <a:ext uri="{FF2B5EF4-FFF2-40B4-BE49-F238E27FC236}">
                  <a16:creationId xmlns:a16="http://schemas.microsoft.com/office/drawing/2014/main" id="{082C4229-4761-4FDA-81EB-FAD18BD733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5108" y="3816350"/>
              <a:ext cx="468313" cy="690563"/>
            </a:xfrm>
            <a:custGeom>
              <a:avLst/>
              <a:gdLst>
                <a:gd name="T0" fmla="*/ 211 w 295"/>
                <a:gd name="T1" fmla="*/ 0 h 435"/>
                <a:gd name="T2" fmla="*/ 135 w 295"/>
                <a:gd name="T3" fmla="*/ 32 h 435"/>
                <a:gd name="T4" fmla="*/ 0 w 295"/>
                <a:gd name="T5" fmla="*/ 333 h 435"/>
                <a:gd name="T6" fmla="*/ 47 w 295"/>
                <a:gd name="T7" fmla="*/ 400 h 435"/>
                <a:gd name="T8" fmla="*/ 289 w 295"/>
                <a:gd name="T9" fmla="*/ 435 h 435"/>
                <a:gd name="T10" fmla="*/ 295 w 295"/>
                <a:gd name="T11" fmla="*/ 379 h 435"/>
                <a:gd name="T12" fmla="*/ 108 w 295"/>
                <a:gd name="T13" fmla="*/ 321 h 435"/>
                <a:gd name="T14" fmla="*/ 167 w 295"/>
                <a:gd name="T15" fmla="*/ 193 h 435"/>
                <a:gd name="T16" fmla="*/ 211 w 295"/>
                <a:gd name="T17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5" h="435">
                  <a:moveTo>
                    <a:pt x="211" y="0"/>
                  </a:moveTo>
                  <a:lnTo>
                    <a:pt x="135" y="32"/>
                  </a:lnTo>
                  <a:lnTo>
                    <a:pt x="0" y="333"/>
                  </a:lnTo>
                  <a:lnTo>
                    <a:pt x="47" y="400"/>
                  </a:lnTo>
                  <a:lnTo>
                    <a:pt x="289" y="435"/>
                  </a:lnTo>
                  <a:lnTo>
                    <a:pt x="295" y="379"/>
                  </a:lnTo>
                  <a:lnTo>
                    <a:pt x="108" y="321"/>
                  </a:lnTo>
                  <a:lnTo>
                    <a:pt x="167" y="193"/>
                  </a:lnTo>
                  <a:lnTo>
                    <a:pt x="21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" name="Freeform 70">
              <a:extLst>
                <a:ext uri="{FF2B5EF4-FFF2-40B4-BE49-F238E27FC236}">
                  <a16:creationId xmlns:a16="http://schemas.microsoft.com/office/drawing/2014/main" id="{4F3D4723-B16A-48F8-8792-0C595644D9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5483" y="4425950"/>
              <a:ext cx="142875" cy="88900"/>
            </a:xfrm>
            <a:custGeom>
              <a:avLst/>
              <a:gdLst>
                <a:gd name="T0" fmla="*/ 5 w 90"/>
                <a:gd name="T1" fmla="*/ 0 h 56"/>
                <a:gd name="T2" fmla="*/ 52 w 90"/>
                <a:gd name="T3" fmla="*/ 1 h 56"/>
                <a:gd name="T4" fmla="*/ 90 w 90"/>
                <a:gd name="T5" fmla="*/ 30 h 56"/>
                <a:gd name="T6" fmla="*/ 84 w 90"/>
                <a:gd name="T7" fmla="*/ 56 h 56"/>
                <a:gd name="T8" fmla="*/ 0 w 90"/>
                <a:gd name="T9" fmla="*/ 44 h 56"/>
                <a:gd name="T10" fmla="*/ 5 w 90"/>
                <a:gd name="T11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" h="56">
                  <a:moveTo>
                    <a:pt x="5" y="0"/>
                  </a:moveTo>
                  <a:lnTo>
                    <a:pt x="52" y="1"/>
                  </a:lnTo>
                  <a:lnTo>
                    <a:pt x="90" y="30"/>
                  </a:lnTo>
                  <a:lnTo>
                    <a:pt x="84" y="56"/>
                  </a:lnTo>
                  <a:lnTo>
                    <a:pt x="0" y="44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" name="Freeform 71">
              <a:extLst>
                <a:ext uri="{FF2B5EF4-FFF2-40B4-BE49-F238E27FC236}">
                  <a16:creationId xmlns:a16="http://schemas.microsoft.com/office/drawing/2014/main" id="{5280341B-3483-4505-97C9-687E3E85A4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4296" y="3890963"/>
              <a:ext cx="196850" cy="127000"/>
            </a:xfrm>
            <a:custGeom>
              <a:avLst/>
              <a:gdLst>
                <a:gd name="T0" fmla="*/ 0 w 124"/>
                <a:gd name="T1" fmla="*/ 57 h 80"/>
                <a:gd name="T2" fmla="*/ 16 w 124"/>
                <a:gd name="T3" fmla="*/ 20 h 80"/>
                <a:gd name="T4" fmla="*/ 54 w 124"/>
                <a:gd name="T5" fmla="*/ 0 h 80"/>
                <a:gd name="T6" fmla="*/ 60 w 124"/>
                <a:gd name="T7" fmla="*/ 11 h 80"/>
                <a:gd name="T8" fmla="*/ 110 w 124"/>
                <a:gd name="T9" fmla="*/ 0 h 80"/>
                <a:gd name="T10" fmla="*/ 124 w 124"/>
                <a:gd name="T11" fmla="*/ 29 h 80"/>
                <a:gd name="T12" fmla="*/ 63 w 124"/>
                <a:gd name="T13" fmla="*/ 70 h 80"/>
                <a:gd name="T14" fmla="*/ 26 w 124"/>
                <a:gd name="T15" fmla="*/ 80 h 80"/>
                <a:gd name="T16" fmla="*/ 0 w 124"/>
                <a:gd name="T17" fmla="*/ 5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4" h="80">
                  <a:moveTo>
                    <a:pt x="0" y="57"/>
                  </a:moveTo>
                  <a:lnTo>
                    <a:pt x="16" y="20"/>
                  </a:lnTo>
                  <a:lnTo>
                    <a:pt x="54" y="0"/>
                  </a:lnTo>
                  <a:lnTo>
                    <a:pt x="60" y="11"/>
                  </a:lnTo>
                  <a:lnTo>
                    <a:pt x="110" y="0"/>
                  </a:lnTo>
                  <a:lnTo>
                    <a:pt x="124" y="29"/>
                  </a:lnTo>
                  <a:lnTo>
                    <a:pt x="63" y="70"/>
                  </a:lnTo>
                  <a:lnTo>
                    <a:pt x="26" y="80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" name="Freeform 72">
              <a:extLst>
                <a:ext uri="{FF2B5EF4-FFF2-40B4-BE49-F238E27FC236}">
                  <a16:creationId xmlns:a16="http://schemas.microsoft.com/office/drawing/2014/main" id="{D10989BA-317D-4F2C-B964-D1AFCB7646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2908" y="4057650"/>
              <a:ext cx="0" cy="1588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7A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" name="Freeform 73">
              <a:extLst>
                <a:ext uri="{FF2B5EF4-FFF2-40B4-BE49-F238E27FC236}">
                  <a16:creationId xmlns:a16="http://schemas.microsoft.com/office/drawing/2014/main" id="{BF4A852E-04AA-4180-93D4-5C41E8168E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21533" y="3719513"/>
              <a:ext cx="1085850" cy="1354138"/>
            </a:xfrm>
            <a:custGeom>
              <a:avLst/>
              <a:gdLst>
                <a:gd name="T0" fmla="*/ 726 w 937"/>
                <a:gd name="T1" fmla="*/ 294 h 1170"/>
                <a:gd name="T2" fmla="*/ 726 w 937"/>
                <a:gd name="T3" fmla="*/ 293 h 1170"/>
                <a:gd name="T4" fmla="*/ 609 w 937"/>
                <a:gd name="T5" fmla="*/ 73 h 1170"/>
                <a:gd name="T6" fmla="*/ 540 w 937"/>
                <a:gd name="T7" fmla="*/ 6 h 1170"/>
                <a:gd name="T8" fmla="*/ 475 w 937"/>
                <a:gd name="T9" fmla="*/ 6 h 1170"/>
                <a:gd name="T10" fmla="*/ 297 w 937"/>
                <a:gd name="T11" fmla="*/ 32 h 1170"/>
                <a:gd name="T12" fmla="*/ 275 w 937"/>
                <a:gd name="T13" fmla="*/ 35 h 1170"/>
                <a:gd name="T14" fmla="*/ 142 w 937"/>
                <a:gd name="T15" fmla="*/ 378 h 1170"/>
                <a:gd name="T16" fmla="*/ 0 w 937"/>
                <a:gd name="T17" fmla="*/ 909 h 1170"/>
                <a:gd name="T18" fmla="*/ 8 w 937"/>
                <a:gd name="T19" fmla="*/ 1034 h 1170"/>
                <a:gd name="T20" fmla="*/ 29 w 937"/>
                <a:gd name="T21" fmla="*/ 1103 h 1170"/>
                <a:gd name="T22" fmla="*/ 159 w 937"/>
                <a:gd name="T23" fmla="*/ 1147 h 1170"/>
                <a:gd name="T24" fmla="*/ 444 w 937"/>
                <a:gd name="T25" fmla="*/ 1114 h 1170"/>
                <a:gd name="T26" fmla="*/ 728 w 937"/>
                <a:gd name="T27" fmla="*/ 1166 h 1170"/>
                <a:gd name="T28" fmla="*/ 726 w 937"/>
                <a:gd name="T29" fmla="*/ 294 h 1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37" h="1170">
                  <a:moveTo>
                    <a:pt x="726" y="294"/>
                  </a:moveTo>
                  <a:cubicBezTo>
                    <a:pt x="726" y="293"/>
                    <a:pt x="726" y="293"/>
                    <a:pt x="726" y="293"/>
                  </a:cubicBezTo>
                  <a:cubicBezTo>
                    <a:pt x="694" y="217"/>
                    <a:pt x="655" y="143"/>
                    <a:pt x="609" y="73"/>
                  </a:cubicBezTo>
                  <a:cubicBezTo>
                    <a:pt x="591" y="45"/>
                    <a:pt x="571" y="16"/>
                    <a:pt x="540" y="6"/>
                  </a:cubicBezTo>
                  <a:cubicBezTo>
                    <a:pt x="519" y="0"/>
                    <a:pt x="496" y="3"/>
                    <a:pt x="475" y="6"/>
                  </a:cubicBezTo>
                  <a:cubicBezTo>
                    <a:pt x="415" y="15"/>
                    <a:pt x="356" y="23"/>
                    <a:pt x="297" y="32"/>
                  </a:cubicBezTo>
                  <a:cubicBezTo>
                    <a:pt x="289" y="33"/>
                    <a:pt x="282" y="34"/>
                    <a:pt x="275" y="35"/>
                  </a:cubicBezTo>
                  <a:cubicBezTo>
                    <a:pt x="146" y="55"/>
                    <a:pt x="162" y="247"/>
                    <a:pt x="142" y="378"/>
                  </a:cubicBezTo>
                  <a:cubicBezTo>
                    <a:pt x="124" y="490"/>
                    <a:pt x="21" y="726"/>
                    <a:pt x="0" y="909"/>
                  </a:cubicBezTo>
                  <a:cubicBezTo>
                    <a:pt x="2" y="951"/>
                    <a:pt x="4" y="992"/>
                    <a:pt x="8" y="1034"/>
                  </a:cubicBezTo>
                  <a:cubicBezTo>
                    <a:pt x="14" y="1062"/>
                    <a:pt x="21" y="1085"/>
                    <a:pt x="29" y="1103"/>
                  </a:cubicBezTo>
                  <a:cubicBezTo>
                    <a:pt x="77" y="1170"/>
                    <a:pt x="159" y="1147"/>
                    <a:pt x="159" y="1147"/>
                  </a:cubicBezTo>
                  <a:cubicBezTo>
                    <a:pt x="159" y="1147"/>
                    <a:pt x="299" y="1093"/>
                    <a:pt x="444" y="1114"/>
                  </a:cubicBezTo>
                  <a:cubicBezTo>
                    <a:pt x="549" y="1117"/>
                    <a:pt x="648" y="1157"/>
                    <a:pt x="728" y="1166"/>
                  </a:cubicBezTo>
                  <a:cubicBezTo>
                    <a:pt x="937" y="926"/>
                    <a:pt x="727" y="297"/>
                    <a:pt x="726" y="294"/>
                  </a:cubicBezTo>
                </a:path>
              </a:pathLst>
            </a:custGeom>
            <a:solidFill>
              <a:srgbClr val="D9D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" name="Freeform 74">
              <a:extLst>
                <a:ext uri="{FF2B5EF4-FFF2-40B4-BE49-F238E27FC236}">
                  <a16:creationId xmlns:a16="http://schemas.microsoft.com/office/drawing/2014/main" id="{FE1614C9-21C3-4B85-B99A-B5D9439FD8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54883" y="3716338"/>
              <a:ext cx="625475" cy="1368425"/>
            </a:xfrm>
            <a:custGeom>
              <a:avLst/>
              <a:gdLst>
                <a:gd name="T0" fmla="*/ 309 w 541"/>
                <a:gd name="T1" fmla="*/ 389 h 1183"/>
                <a:gd name="T2" fmla="*/ 330 w 541"/>
                <a:gd name="T3" fmla="*/ 503 h 1183"/>
                <a:gd name="T4" fmla="*/ 541 w 541"/>
                <a:gd name="T5" fmla="*/ 1183 h 1183"/>
                <a:gd name="T6" fmla="*/ 20 w 541"/>
                <a:gd name="T7" fmla="*/ 1150 h 1183"/>
                <a:gd name="T8" fmla="*/ 6 w 541"/>
                <a:gd name="T9" fmla="*/ 979 h 1183"/>
                <a:gd name="T10" fmla="*/ 4 w 541"/>
                <a:gd name="T11" fmla="*/ 810 h 1183"/>
                <a:gd name="T12" fmla="*/ 58 w 541"/>
                <a:gd name="T13" fmla="*/ 545 h 1183"/>
                <a:gd name="T14" fmla="*/ 189 w 541"/>
                <a:gd name="T15" fmla="*/ 67 h 1183"/>
                <a:gd name="T16" fmla="*/ 199 w 541"/>
                <a:gd name="T17" fmla="*/ 43 h 1183"/>
                <a:gd name="T18" fmla="*/ 224 w 541"/>
                <a:gd name="T19" fmla="*/ 28 h 1183"/>
                <a:gd name="T20" fmla="*/ 367 w 541"/>
                <a:gd name="T21" fmla="*/ 3 h 1183"/>
                <a:gd name="T22" fmla="*/ 340 w 541"/>
                <a:gd name="T23" fmla="*/ 183 h 1183"/>
                <a:gd name="T24" fmla="*/ 309 w 541"/>
                <a:gd name="T25" fmla="*/ 389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1" h="1183">
                  <a:moveTo>
                    <a:pt x="309" y="389"/>
                  </a:moveTo>
                  <a:cubicBezTo>
                    <a:pt x="312" y="427"/>
                    <a:pt x="321" y="465"/>
                    <a:pt x="330" y="503"/>
                  </a:cubicBezTo>
                  <a:cubicBezTo>
                    <a:pt x="386" y="732"/>
                    <a:pt x="484" y="954"/>
                    <a:pt x="541" y="1183"/>
                  </a:cubicBezTo>
                  <a:cubicBezTo>
                    <a:pt x="387" y="1183"/>
                    <a:pt x="408" y="1059"/>
                    <a:pt x="20" y="1150"/>
                  </a:cubicBezTo>
                  <a:cubicBezTo>
                    <a:pt x="15" y="1062"/>
                    <a:pt x="10" y="1066"/>
                    <a:pt x="6" y="979"/>
                  </a:cubicBezTo>
                  <a:cubicBezTo>
                    <a:pt x="3" y="922"/>
                    <a:pt x="0" y="866"/>
                    <a:pt x="4" y="810"/>
                  </a:cubicBezTo>
                  <a:cubicBezTo>
                    <a:pt x="10" y="719"/>
                    <a:pt x="34" y="632"/>
                    <a:pt x="58" y="545"/>
                  </a:cubicBezTo>
                  <a:cubicBezTo>
                    <a:pt x="102" y="386"/>
                    <a:pt x="145" y="226"/>
                    <a:pt x="189" y="67"/>
                  </a:cubicBezTo>
                  <a:cubicBezTo>
                    <a:pt x="191" y="58"/>
                    <a:pt x="194" y="49"/>
                    <a:pt x="199" y="43"/>
                  </a:cubicBezTo>
                  <a:cubicBezTo>
                    <a:pt x="206" y="35"/>
                    <a:pt x="215" y="31"/>
                    <a:pt x="224" y="28"/>
                  </a:cubicBezTo>
                  <a:cubicBezTo>
                    <a:pt x="269" y="14"/>
                    <a:pt x="320" y="0"/>
                    <a:pt x="367" y="3"/>
                  </a:cubicBezTo>
                  <a:cubicBezTo>
                    <a:pt x="384" y="49"/>
                    <a:pt x="351" y="137"/>
                    <a:pt x="340" y="183"/>
                  </a:cubicBezTo>
                  <a:cubicBezTo>
                    <a:pt x="325" y="250"/>
                    <a:pt x="305" y="318"/>
                    <a:pt x="309" y="38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" name="Freeform 75">
              <a:extLst>
                <a:ext uri="{FF2B5EF4-FFF2-40B4-BE49-F238E27FC236}">
                  <a16:creationId xmlns:a16="http://schemas.microsoft.com/office/drawing/2014/main" id="{447B4387-5802-4897-AB9A-8E940C74A7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02521" y="3268663"/>
              <a:ext cx="158750" cy="238125"/>
            </a:xfrm>
            <a:custGeom>
              <a:avLst/>
              <a:gdLst>
                <a:gd name="T0" fmla="*/ 68 w 137"/>
                <a:gd name="T1" fmla="*/ 75 h 206"/>
                <a:gd name="T2" fmla="*/ 41 w 137"/>
                <a:gd name="T3" fmla="*/ 166 h 206"/>
                <a:gd name="T4" fmla="*/ 32 w 137"/>
                <a:gd name="T5" fmla="*/ 189 h 206"/>
                <a:gd name="T6" fmla="*/ 25 w 137"/>
                <a:gd name="T7" fmla="*/ 199 h 206"/>
                <a:gd name="T8" fmla="*/ 1 w 137"/>
                <a:gd name="T9" fmla="*/ 157 h 206"/>
                <a:gd name="T10" fmla="*/ 3 w 137"/>
                <a:gd name="T11" fmla="*/ 93 h 206"/>
                <a:gd name="T12" fmla="*/ 22 w 137"/>
                <a:gd name="T13" fmla="*/ 41 h 206"/>
                <a:gd name="T14" fmla="*/ 49 w 137"/>
                <a:gd name="T15" fmla="*/ 22 h 206"/>
                <a:gd name="T16" fmla="*/ 93 w 137"/>
                <a:gd name="T17" fmla="*/ 4 h 206"/>
                <a:gd name="T18" fmla="*/ 112 w 137"/>
                <a:gd name="T19" fmla="*/ 28 h 206"/>
                <a:gd name="T20" fmla="*/ 68 w 137"/>
                <a:gd name="T21" fmla="*/ 75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206">
                  <a:moveTo>
                    <a:pt x="68" y="75"/>
                  </a:moveTo>
                  <a:cubicBezTo>
                    <a:pt x="52" y="102"/>
                    <a:pt x="43" y="134"/>
                    <a:pt x="41" y="166"/>
                  </a:cubicBezTo>
                  <a:cubicBezTo>
                    <a:pt x="40" y="174"/>
                    <a:pt x="39" y="184"/>
                    <a:pt x="32" y="189"/>
                  </a:cubicBezTo>
                  <a:cubicBezTo>
                    <a:pt x="25" y="194"/>
                    <a:pt x="31" y="206"/>
                    <a:pt x="25" y="199"/>
                  </a:cubicBezTo>
                  <a:cubicBezTo>
                    <a:pt x="20" y="191"/>
                    <a:pt x="2" y="166"/>
                    <a:pt x="1" y="157"/>
                  </a:cubicBezTo>
                  <a:cubicBezTo>
                    <a:pt x="0" y="135"/>
                    <a:pt x="0" y="114"/>
                    <a:pt x="3" y="93"/>
                  </a:cubicBezTo>
                  <a:cubicBezTo>
                    <a:pt x="5" y="74"/>
                    <a:pt x="10" y="55"/>
                    <a:pt x="22" y="41"/>
                  </a:cubicBezTo>
                  <a:cubicBezTo>
                    <a:pt x="30" y="33"/>
                    <a:pt x="40" y="27"/>
                    <a:pt x="49" y="22"/>
                  </a:cubicBezTo>
                  <a:cubicBezTo>
                    <a:pt x="63" y="14"/>
                    <a:pt x="77" y="6"/>
                    <a:pt x="93" y="4"/>
                  </a:cubicBezTo>
                  <a:cubicBezTo>
                    <a:pt x="120" y="0"/>
                    <a:pt x="137" y="10"/>
                    <a:pt x="112" y="28"/>
                  </a:cubicBezTo>
                  <a:cubicBezTo>
                    <a:pt x="95" y="41"/>
                    <a:pt x="80" y="56"/>
                    <a:pt x="68" y="75"/>
                  </a:cubicBezTo>
                  <a:close/>
                </a:path>
              </a:pathLst>
            </a:custGeom>
            <a:solidFill>
              <a:srgbClr val="1A3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" name="Freeform 76">
              <a:extLst>
                <a:ext uri="{FF2B5EF4-FFF2-40B4-BE49-F238E27FC236}">
                  <a16:creationId xmlns:a16="http://schemas.microsoft.com/office/drawing/2014/main" id="{97F15564-28FE-4F85-9948-C1EB621CB1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29508" y="3271838"/>
              <a:ext cx="361950" cy="515938"/>
            </a:xfrm>
            <a:custGeom>
              <a:avLst/>
              <a:gdLst>
                <a:gd name="T0" fmla="*/ 203 w 313"/>
                <a:gd name="T1" fmla="*/ 441 h 446"/>
                <a:gd name="T2" fmla="*/ 136 w 313"/>
                <a:gd name="T3" fmla="*/ 445 h 446"/>
                <a:gd name="T4" fmla="*/ 86 w 313"/>
                <a:gd name="T5" fmla="*/ 401 h 446"/>
                <a:gd name="T6" fmla="*/ 84 w 313"/>
                <a:gd name="T7" fmla="*/ 350 h 446"/>
                <a:gd name="T8" fmla="*/ 4 w 313"/>
                <a:gd name="T9" fmla="*/ 297 h 446"/>
                <a:gd name="T10" fmla="*/ 1 w 313"/>
                <a:gd name="T11" fmla="*/ 264 h 446"/>
                <a:gd name="T12" fmla="*/ 4 w 313"/>
                <a:gd name="T13" fmla="*/ 122 h 446"/>
                <a:gd name="T14" fmla="*/ 11 w 313"/>
                <a:gd name="T15" fmla="*/ 74 h 446"/>
                <a:gd name="T16" fmla="*/ 71 w 313"/>
                <a:gd name="T17" fmla="*/ 24 h 446"/>
                <a:gd name="T18" fmla="*/ 263 w 313"/>
                <a:gd name="T19" fmla="*/ 41 h 446"/>
                <a:gd name="T20" fmla="*/ 300 w 313"/>
                <a:gd name="T21" fmla="*/ 81 h 446"/>
                <a:gd name="T22" fmla="*/ 308 w 313"/>
                <a:gd name="T23" fmla="*/ 169 h 446"/>
                <a:gd name="T24" fmla="*/ 299 w 313"/>
                <a:gd name="T25" fmla="*/ 251 h 446"/>
                <a:gd name="T26" fmla="*/ 265 w 313"/>
                <a:gd name="T27" fmla="*/ 335 h 446"/>
                <a:gd name="T28" fmla="*/ 223 w 313"/>
                <a:gd name="T29" fmla="*/ 356 h 446"/>
                <a:gd name="T30" fmla="*/ 203 w 313"/>
                <a:gd name="T31" fmla="*/ 441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3" h="446">
                  <a:moveTo>
                    <a:pt x="203" y="441"/>
                  </a:moveTo>
                  <a:cubicBezTo>
                    <a:pt x="136" y="445"/>
                    <a:pt x="136" y="445"/>
                    <a:pt x="136" y="445"/>
                  </a:cubicBezTo>
                  <a:cubicBezTo>
                    <a:pt x="110" y="446"/>
                    <a:pt x="87" y="427"/>
                    <a:pt x="86" y="401"/>
                  </a:cubicBezTo>
                  <a:cubicBezTo>
                    <a:pt x="84" y="384"/>
                    <a:pt x="84" y="367"/>
                    <a:pt x="84" y="350"/>
                  </a:cubicBezTo>
                  <a:cubicBezTo>
                    <a:pt x="51" y="343"/>
                    <a:pt x="14" y="332"/>
                    <a:pt x="4" y="297"/>
                  </a:cubicBezTo>
                  <a:cubicBezTo>
                    <a:pt x="0" y="287"/>
                    <a:pt x="1" y="275"/>
                    <a:pt x="1" y="264"/>
                  </a:cubicBezTo>
                  <a:cubicBezTo>
                    <a:pt x="2" y="216"/>
                    <a:pt x="3" y="169"/>
                    <a:pt x="4" y="122"/>
                  </a:cubicBezTo>
                  <a:cubicBezTo>
                    <a:pt x="4" y="106"/>
                    <a:pt x="5" y="89"/>
                    <a:pt x="11" y="74"/>
                  </a:cubicBezTo>
                  <a:cubicBezTo>
                    <a:pt x="21" y="48"/>
                    <a:pt x="47" y="33"/>
                    <a:pt x="71" y="24"/>
                  </a:cubicBezTo>
                  <a:cubicBezTo>
                    <a:pt x="134" y="0"/>
                    <a:pt x="207" y="4"/>
                    <a:pt x="263" y="41"/>
                  </a:cubicBezTo>
                  <a:cubicBezTo>
                    <a:pt x="278" y="51"/>
                    <a:pt x="292" y="64"/>
                    <a:pt x="300" y="81"/>
                  </a:cubicBezTo>
                  <a:cubicBezTo>
                    <a:pt x="313" y="107"/>
                    <a:pt x="311" y="139"/>
                    <a:pt x="308" y="169"/>
                  </a:cubicBezTo>
                  <a:cubicBezTo>
                    <a:pt x="305" y="197"/>
                    <a:pt x="302" y="224"/>
                    <a:pt x="299" y="251"/>
                  </a:cubicBezTo>
                  <a:cubicBezTo>
                    <a:pt x="296" y="283"/>
                    <a:pt x="290" y="319"/>
                    <a:pt x="265" y="335"/>
                  </a:cubicBezTo>
                  <a:cubicBezTo>
                    <a:pt x="252" y="344"/>
                    <a:pt x="235" y="345"/>
                    <a:pt x="223" y="356"/>
                  </a:cubicBezTo>
                  <a:cubicBezTo>
                    <a:pt x="203" y="376"/>
                    <a:pt x="211" y="412"/>
                    <a:pt x="203" y="44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" name="Freeform 77">
              <a:extLst>
                <a:ext uri="{FF2B5EF4-FFF2-40B4-BE49-F238E27FC236}">
                  <a16:creationId xmlns:a16="http://schemas.microsoft.com/office/drawing/2014/main" id="{00522F6E-890D-4002-8F33-88D28DCDAA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96171" y="3182938"/>
              <a:ext cx="434975" cy="355600"/>
            </a:xfrm>
            <a:custGeom>
              <a:avLst/>
              <a:gdLst>
                <a:gd name="T0" fmla="*/ 20 w 376"/>
                <a:gd name="T1" fmla="*/ 65 h 307"/>
                <a:gd name="T2" fmla="*/ 14 w 376"/>
                <a:gd name="T3" fmla="*/ 30 h 307"/>
                <a:gd name="T4" fmla="*/ 48 w 376"/>
                <a:gd name="T5" fmla="*/ 34 h 307"/>
                <a:gd name="T6" fmla="*/ 49 w 376"/>
                <a:gd name="T7" fmla="*/ 14 h 307"/>
                <a:gd name="T8" fmla="*/ 131 w 376"/>
                <a:gd name="T9" fmla="*/ 6 h 307"/>
                <a:gd name="T10" fmla="*/ 294 w 376"/>
                <a:gd name="T11" fmla="*/ 33 h 307"/>
                <a:gd name="T12" fmla="*/ 371 w 376"/>
                <a:gd name="T13" fmla="*/ 153 h 307"/>
                <a:gd name="T14" fmla="*/ 328 w 376"/>
                <a:gd name="T15" fmla="*/ 307 h 307"/>
                <a:gd name="T16" fmla="*/ 334 w 376"/>
                <a:gd name="T17" fmla="*/ 250 h 307"/>
                <a:gd name="T18" fmla="*/ 323 w 376"/>
                <a:gd name="T19" fmla="*/ 214 h 307"/>
                <a:gd name="T20" fmla="*/ 273 w 376"/>
                <a:gd name="T21" fmla="*/ 158 h 307"/>
                <a:gd name="T22" fmla="*/ 162 w 376"/>
                <a:gd name="T23" fmla="*/ 117 h 307"/>
                <a:gd name="T24" fmla="*/ 46 w 376"/>
                <a:gd name="T25" fmla="*/ 114 h 307"/>
                <a:gd name="T26" fmla="*/ 16 w 376"/>
                <a:gd name="T27" fmla="*/ 104 h 307"/>
                <a:gd name="T28" fmla="*/ 2 w 376"/>
                <a:gd name="T29" fmla="*/ 65 h 307"/>
                <a:gd name="T30" fmla="*/ 20 w 376"/>
                <a:gd name="T31" fmla="*/ 65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6" h="307">
                  <a:moveTo>
                    <a:pt x="20" y="65"/>
                  </a:moveTo>
                  <a:cubicBezTo>
                    <a:pt x="17" y="54"/>
                    <a:pt x="15" y="42"/>
                    <a:pt x="14" y="30"/>
                  </a:cubicBezTo>
                  <a:cubicBezTo>
                    <a:pt x="25" y="34"/>
                    <a:pt x="37" y="36"/>
                    <a:pt x="48" y="34"/>
                  </a:cubicBezTo>
                  <a:cubicBezTo>
                    <a:pt x="48" y="28"/>
                    <a:pt x="48" y="21"/>
                    <a:pt x="49" y="14"/>
                  </a:cubicBezTo>
                  <a:cubicBezTo>
                    <a:pt x="49" y="8"/>
                    <a:pt x="125" y="7"/>
                    <a:pt x="131" y="6"/>
                  </a:cubicBezTo>
                  <a:cubicBezTo>
                    <a:pt x="189" y="3"/>
                    <a:pt x="242" y="0"/>
                    <a:pt x="294" y="33"/>
                  </a:cubicBezTo>
                  <a:cubicBezTo>
                    <a:pt x="338" y="61"/>
                    <a:pt x="365" y="101"/>
                    <a:pt x="371" y="153"/>
                  </a:cubicBezTo>
                  <a:cubicBezTo>
                    <a:pt x="376" y="203"/>
                    <a:pt x="358" y="267"/>
                    <a:pt x="328" y="307"/>
                  </a:cubicBezTo>
                  <a:cubicBezTo>
                    <a:pt x="329" y="294"/>
                    <a:pt x="337" y="263"/>
                    <a:pt x="334" y="250"/>
                  </a:cubicBezTo>
                  <a:cubicBezTo>
                    <a:pt x="333" y="238"/>
                    <a:pt x="329" y="225"/>
                    <a:pt x="323" y="214"/>
                  </a:cubicBezTo>
                  <a:cubicBezTo>
                    <a:pt x="312" y="192"/>
                    <a:pt x="294" y="172"/>
                    <a:pt x="273" y="158"/>
                  </a:cubicBezTo>
                  <a:cubicBezTo>
                    <a:pt x="240" y="136"/>
                    <a:pt x="201" y="124"/>
                    <a:pt x="162" y="117"/>
                  </a:cubicBezTo>
                  <a:cubicBezTo>
                    <a:pt x="126" y="111"/>
                    <a:pt x="82" y="105"/>
                    <a:pt x="46" y="114"/>
                  </a:cubicBezTo>
                  <a:cubicBezTo>
                    <a:pt x="28" y="118"/>
                    <a:pt x="25" y="122"/>
                    <a:pt x="16" y="104"/>
                  </a:cubicBezTo>
                  <a:cubicBezTo>
                    <a:pt x="14" y="101"/>
                    <a:pt x="0" y="65"/>
                    <a:pt x="2" y="65"/>
                  </a:cubicBezTo>
                  <a:cubicBezTo>
                    <a:pt x="8" y="65"/>
                    <a:pt x="14" y="65"/>
                    <a:pt x="20" y="65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" name="Freeform 78">
              <a:extLst>
                <a:ext uri="{FF2B5EF4-FFF2-40B4-BE49-F238E27FC236}">
                  <a16:creationId xmlns:a16="http://schemas.microsoft.com/office/drawing/2014/main" id="{450721FC-1BCF-4A82-BF28-C5409481F1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15208" y="5889625"/>
              <a:ext cx="138113" cy="246063"/>
            </a:xfrm>
            <a:custGeom>
              <a:avLst/>
              <a:gdLst>
                <a:gd name="T0" fmla="*/ 22 w 87"/>
                <a:gd name="T1" fmla="*/ 33 h 155"/>
                <a:gd name="T2" fmla="*/ 0 w 87"/>
                <a:gd name="T3" fmla="*/ 120 h 155"/>
                <a:gd name="T4" fmla="*/ 24 w 87"/>
                <a:gd name="T5" fmla="*/ 155 h 155"/>
                <a:gd name="T6" fmla="*/ 64 w 87"/>
                <a:gd name="T7" fmla="*/ 132 h 155"/>
                <a:gd name="T8" fmla="*/ 87 w 87"/>
                <a:gd name="T9" fmla="*/ 56 h 155"/>
                <a:gd name="T10" fmla="*/ 70 w 87"/>
                <a:gd name="T11" fmla="*/ 0 h 155"/>
                <a:gd name="T12" fmla="*/ 22 w 87"/>
                <a:gd name="T13" fmla="*/ 3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55">
                  <a:moveTo>
                    <a:pt x="22" y="33"/>
                  </a:moveTo>
                  <a:lnTo>
                    <a:pt x="0" y="120"/>
                  </a:lnTo>
                  <a:lnTo>
                    <a:pt x="24" y="155"/>
                  </a:lnTo>
                  <a:lnTo>
                    <a:pt x="64" y="132"/>
                  </a:lnTo>
                  <a:lnTo>
                    <a:pt x="87" y="56"/>
                  </a:lnTo>
                  <a:lnTo>
                    <a:pt x="70" y="0"/>
                  </a:lnTo>
                  <a:lnTo>
                    <a:pt x="22" y="33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" name="Freeform 79">
              <a:extLst>
                <a:ext uri="{FF2B5EF4-FFF2-40B4-BE49-F238E27FC236}">
                  <a16:creationId xmlns:a16="http://schemas.microsoft.com/office/drawing/2014/main" id="{4B5E8D22-EC35-41E4-9A43-6E5C4677F4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783" y="5862638"/>
              <a:ext cx="139700" cy="247650"/>
            </a:xfrm>
            <a:custGeom>
              <a:avLst/>
              <a:gdLst>
                <a:gd name="T0" fmla="*/ 23 w 88"/>
                <a:gd name="T1" fmla="*/ 33 h 156"/>
                <a:gd name="T2" fmla="*/ 0 w 88"/>
                <a:gd name="T3" fmla="*/ 121 h 156"/>
                <a:gd name="T4" fmla="*/ 25 w 88"/>
                <a:gd name="T5" fmla="*/ 156 h 156"/>
                <a:gd name="T6" fmla="*/ 65 w 88"/>
                <a:gd name="T7" fmla="*/ 132 h 156"/>
                <a:gd name="T8" fmla="*/ 88 w 88"/>
                <a:gd name="T9" fmla="*/ 57 h 156"/>
                <a:gd name="T10" fmla="*/ 70 w 88"/>
                <a:gd name="T11" fmla="*/ 0 h 156"/>
                <a:gd name="T12" fmla="*/ 23 w 88"/>
                <a:gd name="T13" fmla="*/ 33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156">
                  <a:moveTo>
                    <a:pt x="23" y="33"/>
                  </a:moveTo>
                  <a:lnTo>
                    <a:pt x="0" y="121"/>
                  </a:lnTo>
                  <a:lnTo>
                    <a:pt x="25" y="156"/>
                  </a:lnTo>
                  <a:lnTo>
                    <a:pt x="65" y="132"/>
                  </a:lnTo>
                  <a:lnTo>
                    <a:pt x="88" y="57"/>
                  </a:lnTo>
                  <a:lnTo>
                    <a:pt x="70" y="0"/>
                  </a:lnTo>
                  <a:lnTo>
                    <a:pt x="23" y="33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" name="Freeform 80">
              <a:extLst>
                <a:ext uri="{FF2B5EF4-FFF2-40B4-BE49-F238E27FC236}">
                  <a16:creationId xmlns:a16="http://schemas.microsoft.com/office/drawing/2014/main" id="{0A9D5A94-F1EC-4650-8656-F57621F375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34233" y="4859338"/>
              <a:ext cx="465138" cy="1112838"/>
            </a:xfrm>
            <a:custGeom>
              <a:avLst/>
              <a:gdLst>
                <a:gd name="T0" fmla="*/ 383 w 402"/>
                <a:gd name="T1" fmla="*/ 137 h 961"/>
                <a:gd name="T2" fmla="*/ 330 w 402"/>
                <a:gd name="T3" fmla="*/ 48 h 961"/>
                <a:gd name="T4" fmla="*/ 135 w 402"/>
                <a:gd name="T5" fmla="*/ 20 h 961"/>
                <a:gd name="T6" fmla="*/ 28 w 402"/>
                <a:gd name="T7" fmla="*/ 109 h 961"/>
                <a:gd name="T8" fmla="*/ 0 w 402"/>
                <a:gd name="T9" fmla="*/ 218 h 961"/>
                <a:gd name="T10" fmla="*/ 26 w 402"/>
                <a:gd name="T11" fmla="*/ 321 h 961"/>
                <a:gd name="T12" fmla="*/ 182 w 402"/>
                <a:gd name="T13" fmla="*/ 961 h 961"/>
                <a:gd name="T14" fmla="*/ 270 w 402"/>
                <a:gd name="T15" fmla="*/ 948 h 961"/>
                <a:gd name="T16" fmla="*/ 276 w 402"/>
                <a:gd name="T17" fmla="*/ 294 h 961"/>
                <a:gd name="T18" fmla="*/ 383 w 402"/>
                <a:gd name="T19" fmla="*/ 137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2" h="961">
                  <a:moveTo>
                    <a:pt x="383" y="137"/>
                  </a:moveTo>
                  <a:cubicBezTo>
                    <a:pt x="374" y="107"/>
                    <a:pt x="359" y="61"/>
                    <a:pt x="330" y="48"/>
                  </a:cubicBezTo>
                  <a:cubicBezTo>
                    <a:pt x="267" y="22"/>
                    <a:pt x="199" y="0"/>
                    <a:pt x="135" y="20"/>
                  </a:cubicBezTo>
                  <a:cubicBezTo>
                    <a:pt x="91" y="33"/>
                    <a:pt x="52" y="65"/>
                    <a:pt x="28" y="109"/>
                  </a:cubicBezTo>
                  <a:cubicBezTo>
                    <a:pt x="10" y="141"/>
                    <a:pt x="0" y="180"/>
                    <a:pt x="0" y="218"/>
                  </a:cubicBezTo>
                  <a:cubicBezTo>
                    <a:pt x="0" y="255"/>
                    <a:pt x="18" y="286"/>
                    <a:pt x="26" y="321"/>
                  </a:cubicBezTo>
                  <a:cubicBezTo>
                    <a:pt x="78" y="534"/>
                    <a:pt x="130" y="748"/>
                    <a:pt x="182" y="961"/>
                  </a:cubicBezTo>
                  <a:cubicBezTo>
                    <a:pt x="270" y="948"/>
                    <a:pt x="270" y="948"/>
                    <a:pt x="270" y="948"/>
                  </a:cubicBezTo>
                  <a:cubicBezTo>
                    <a:pt x="276" y="294"/>
                    <a:pt x="276" y="294"/>
                    <a:pt x="276" y="294"/>
                  </a:cubicBezTo>
                  <a:cubicBezTo>
                    <a:pt x="312" y="257"/>
                    <a:pt x="402" y="198"/>
                    <a:pt x="383" y="13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" name="Freeform 81">
              <a:extLst>
                <a:ext uri="{FF2B5EF4-FFF2-40B4-BE49-F238E27FC236}">
                  <a16:creationId xmlns:a16="http://schemas.microsoft.com/office/drawing/2014/main" id="{F00AF770-34D5-4D64-9B1C-92AADF821B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3958" y="4860925"/>
              <a:ext cx="422275" cy="1098550"/>
            </a:xfrm>
            <a:custGeom>
              <a:avLst/>
              <a:gdLst>
                <a:gd name="T0" fmla="*/ 359 w 365"/>
                <a:gd name="T1" fmla="*/ 235 h 949"/>
                <a:gd name="T2" fmla="*/ 365 w 365"/>
                <a:gd name="T3" fmla="*/ 166 h 949"/>
                <a:gd name="T4" fmla="*/ 358 w 365"/>
                <a:gd name="T5" fmla="*/ 113 h 949"/>
                <a:gd name="T6" fmla="*/ 326 w 365"/>
                <a:gd name="T7" fmla="*/ 67 h 949"/>
                <a:gd name="T8" fmla="*/ 154 w 365"/>
                <a:gd name="T9" fmla="*/ 15 h 949"/>
                <a:gd name="T10" fmla="*/ 77 w 365"/>
                <a:gd name="T11" fmla="*/ 53 h 949"/>
                <a:gd name="T12" fmla="*/ 4 w 365"/>
                <a:gd name="T13" fmla="*/ 124 h 949"/>
                <a:gd name="T14" fmla="*/ 0 w 365"/>
                <a:gd name="T15" fmla="*/ 133 h 949"/>
                <a:gd name="T16" fmla="*/ 5 w 365"/>
                <a:gd name="T17" fmla="*/ 139 h 949"/>
                <a:gd name="T18" fmla="*/ 82 w 365"/>
                <a:gd name="T19" fmla="*/ 260 h 949"/>
                <a:gd name="T20" fmla="*/ 104 w 365"/>
                <a:gd name="T21" fmla="*/ 433 h 949"/>
                <a:gd name="T22" fmla="*/ 111 w 365"/>
                <a:gd name="T23" fmla="*/ 644 h 949"/>
                <a:gd name="T24" fmla="*/ 122 w 365"/>
                <a:gd name="T25" fmla="*/ 936 h 949"/>
                <a:gd name="T26" fmla="*/ 222 w 365"/>
                <a:gd name="T27" fmla="*/ 949 h 949"/>
                <a:gd name="T28" fmla="*/ 274 w 365"/>
                <a:gd name="T29" fmla="*/ 680 h 949"/>
                <a:gd name="T30" fmla="*/ 348 w 365"/>
                <a:gd name="T31" fmla="*/ 302 h 949"/>
                <a:gd name="T32" fmla="*/ 359 w 365"/>
                <a:gd name="T33" fmla="*/ 235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5" h="949">
                  <a:moveTo>
                    <a:pt x="359" y="235"/>
                  </a:moveTo>
                  <a:cubicBezTo>
                    <a:pt x="362" y="212"/>
                    <a:pt x="364" y="189"/>
                    <a:pt x="365" y="166"/>
                  </a:cubicBezTo>
                  <a:cubicBezTo>
                    <a:pt x="365" y="148"/>
                    <a:pt x="364" y="130"/>
                    <a:pt x="358" y="113"/>
                  </a:cubicBezTo>
                  <a:cubicBezTo>
                    <a:pt x="352" y="94"/>
                    <a:pt x="339" y="80"/>
                    <a:pt x="326" y="67"/>
                  </a:cubicBezTo>
                  <a:cubicBezTo>
                    <a:pt x="278" y="22"/>
                    <a:pt x="216" y="0"/>
                    <a:pt x="154" y="15"/>
                  </a:cubicBezTo>
                  <a:cubicBezTo>
                    <a:pt x="127" y="22"/>
                    <a:pt x="101" y="36"/>
                    <a:pt x="77" y="53"/>
                  </a:cubicBezTo>
                  <a:cubicBezTo>
                    <a:pt x="50" y="72"/>
                    <a:pt x="24" y="95"/>
                    <a:pt x="4" y="124"/>
                  </a:cubicBezTo>
                  <a:cubicBezTo>
                    <a:pt x="2" y="126"/>
                    <a:pt x="0" y="130"/>
                    <a:pt x="0" y="133"/>
                  </a:cubicBezTo>
                  <a:cubicBezTo>
                    <a:pt x="1" y="136"/>
                    <a:pt x="3" y="137"/>
                    <a:pt x="5" y="139"/>
                  </a:cubicBezTo>
                  <a:cubicBezTo>
                    <a:pt x="39" y="171"/>
                    <a:pt x="65" y="214"/>
                    <a:pt x="82" y="260"/>
                  </a:cubicBezTo>
                  <a:cubicBezTo>
                    <a:pt x="102" y="317"/>
                    <a:pt x="101" y="373"/>
                    <a:pt x="104" y="433"/>
                  </a:cubicBezTo>
                  <a:cubicBezTo>
                    <a:pt x="106" y="503"/>
                    <a:pt x="109" y="573"/>
                    <a:pt x="111" y="644"/>
                  </a:cubicBezTo>
                  <a:cubicBezTo>
                    <a:pt x="115" y="741"/>
                    <a:pt x="119" y="839"/>
                    <a:pt x="122" y="936"/>
                  </a:cubicBezTo>
                  <a:cubicBezTo>
                    <a:pt x="222" y="949"/>
                    <a:pt x="222" y="949"/>
                    <a:pt x="222" y="949"/>
                  </a:cubicBezTo>
                  <a:cubicBezTo>
                    <a:pt x="239" y="859"/>
                    <a:pt x="257" y="770"/>
                    <a:pt x="274" y="680"/>
                  </a:cubicBezTo>
                  <a:cubicBezTo>
                    <a:pt x="299" y="554"/>
                    <a:pt x="323" y="428"/>
                    <a:pt x="348" y="302"/>
                  </a:cubicBezTo>
                  <a:cubicBezTo>
                    <a:pt x="352" y="280"/>
                    <a:pt x="356" y="258"/>
                    <a:pt x="359" y="235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" name="Freeform 82">
              <a:extLst>
                <a:ext uri="{FF2B5EF4-FFF2-40B4-BE49-F238E27FC236}">
                  <a16:creationId xmlns:a16="http://schemas.microsoft.com/office/drawing/2014/main" id="{EC5F2E3B-9FC4-4CF3-8064-F62963C455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2883" y="3733800"/>
              <a:ext cx="392113" cy="585788"/>
            </a:xfrm>
            <a:custGeom>
              <a:avLst/>
              <a:gdLst>
                <a:gd name="T0" fmla="*/ 0 w 247"/>
                <a:gd name="T1" fmla="*/ 0 h 369"/>
                <a:gd name="T2" fmla="*/ 93 w 247"/>
                <a:gd name="T3" fmla="*/ 49 h 369"/>
                <a:gd name="T4" fmla="*/ 247 w 247"/>
                <a:gd name="T5" fmla="*/ 309 h 369"/>
                <a:gd name="T6" fmla="*/ 147 w 247"/>
                <a:gd name="T7" fmla="*/ 369 h 369"/>
                <a:gd name="T8" fmla="*/ 84 w 247"/>
                <a:gd name="T9" fmla="*/ 239 h 369"/>
                <a:gd name="T10" fmla="*/ 0 w 247"/>
                <a:gd name="T11" fmla="*/ 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7" h="369">
                  <a:moveTo>
                    <a:pt x="0" y="0"/>
                  </a:moveTo>
                  <a:lnTo>
                    <a:pt x="93" y="49"/>
                  </a:lnTo>
                  <a:lnTo>
                    <a:pt x="247" y="309"/>
                  </a:lnTo>
                  <a:lnTo>
                    <a:pt x="147" y="369"/>
                  </a:lnTo>
                  <a:lnTo>
                    <a:pt x="84" y="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" name="Freeform 83">
              <a:extLst>
                <a:ext uri="{FF2B5EF4-FFF2-40B4-BE49-F238E27FC236}">
                  <a16:creationId xmlns:a16="http://schemas.microsoft.com/office/drawing/2014/main" id="{F1743E79-1525-424C-A6E8-51B294B453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65971" y="3765550"/>
              <a:ext cx="352425" cy="514350"/>
            </a:xfrm>
            <a:custGeom>
              <a:avLst/>
              <a:gdLst>
                <a:gd name="T0" fmla="*/ 222 w 222"/>
                <a:gd name="T1" fmla="*/ 0 h 324"/>
                <a:gd name="T2" fmla="*/ 143 w 222"/>
                <a:gd name="T3" fmla="*/ 29 h 324"/>
                <a:gd name="T4" fmla="*/ 0 w 222"/>
                <a:gd name="T5" fmla="*/ 260 h 324"/>
                <a:gd name="T6" fmla="*/ 164 w 222"/>
                <a:gd name="T7" fmla="*/ 324 h 324"/>
                <a:gd name="T8" fmla="*/ 222 w 222"/>
                <a:gd name="T9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324">
                  <a:moveTo>
                    <a:pt x="222" y="0"/>
                  </a:moveTo>
                  <a:lnTo>
                    <a:pt x="143" y="29"/>
                  </a:lnTo>
                  <a:lnTo>
                    <a:pt x="0" y="260"/>
                  </a:lnTo>
                  <a:lnTo>
                    <a:pt x="164" y="324"/>
                  </a:lnTo>
                  <a:lnTo>
                    <a:pt x="222" y="0"/>
                  </a:lnTo>
                  <a:close/>
                </a:path>
              </a:pathLst>
            </a:custGeom>
            <a:solidFill>
              <a:srgbClr val="D9D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" name="Freeform 84">
              <a:extLst>
                <a:ext uri="{FF2B5EF4-FFF2-40B4-BE49-F238E27FC236}">
                  <a16:creationId xmlns:a16="http://schemas.microsoft.com/office/drawing/2014/main" id="{A57A8AC1-A377-4CFF-A077-8A6049D020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96121" y="4198938"/>
              <a:ext cx="246063" cy="315913"/>
            </a:xfrm>
            <a:custGeom>
              <a:avLst/>
              <a:gdLst>
                <a:gd name="T0" fmla="*/ 18 w 155"/>
                <a:gd name="T1" fmla="*/ 199 h 199"/>
                <a:gd name="T2" fmla="*/ 79 w 155"/>
                <a:gd name="T3" fmla="*/ 182 h 199"/>
                <a:gd name="T4" fmla="*/ 155 w 155"/>
                <a:gd name="T5" fmla="*/ 34 h 199"/>
                <a:gd name="T6" fmla="*/ 76 w 155"/>
                <a:gd name="T7" fmla="*/ 0 h 199"/>
                <a:gd name="T8" fmla="*/ 0 w 155"/>
                <a:gd name="T9" fmla="*/ 146 h 199"/>
                <a:gd name="T10" fmla="*/ 18 w 155"/>
                <a:gd name="T11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5" h="199">
                  <a:moveTo>
                    <a:pt x="18" y="199"/>
                  </a:moveTo>
                  <a:lnTo>
                    <a:pt x="79" y="182"/>
                  </a:lnTo>
                  <a:lnTo>
                    <a:pt x="155" y="34"/>
                  </a:lnTo>
                  <a:lnTo>
                    <a:pt x="76" y="0"/>
                  </a:lnTo>
                  <a:lnTo>
                    <a:pt x="0" y="146"/>
                  </a:lnTo>
                  <a:lnTo>
                    <a:pt x="18" y="199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" name="Freeform 85">
              <a:extLst>
                <a:ext uri="{FF2B5EF4-FFF2-40B4-BE49-F238E27FC236}">
                  <a16:creationId xmlns:a16="http://schemas.microsoft.com/office/drawing/2014/main" id="{C5F9334A-9719-43B8-AFB1-A8A497DAE8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21646" y="4217377"/>
              <a:ext cx="287338" cy="365125"/>
            </a:xfrm>
            <a:custGeom>
              <a:avLst/>
              <a:gdLst>
                <a:gd name="T0" fmla="*/ 84 w 181"/>
                <a:gd name="T1" fmla="*/ 0 h 230"/>
                <a:gd name="T2" fmla="*/ 181 w 181"/>
                <a:gd name="T3" fmla="*/ 167 h 230"/>
                <a:gd name="T4" fmla="*/ 151 w 181"/>
                <a:gd name="T5" fmla="*/ 230 h 230"/>
                <a:gd name="T6" fmla="*/ 91 w 181"/>
                <a:gd name="T7" fmla="*/ 210 h 230"/>
                <a:gd name="T8" fmla="*/ 0 w 181"/>
                <a:gd name="T9" fmla="*/ 46 h 230"/>
                <a:gd name="T10" fmla="*/ 84 w 181"/>
                <a:gd name="T11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1" h="230">
                  <a:moveTo>
                    <a:pt x="84" y="0"/>
                  </a:moveTo>
                  <a:lnTo>
                    <a:pt x="181" y="167"/>
                  </a:lnTo>
                  <a:lnTo>
                    <a:pt x="151" y="230"/>
                  </a:lnTo>
                  <a:lnTo>
                    <a:pt x="91" y="210"/>
                  </a:lnTo>
                  <a:lnTo>
                    <a:pt x="0" y="46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" name="Freeform 86">
              <a:extLst>
                <a:ext uri="{FF2B5EF4-FFF2-40B4-BE49-F238E27FC236}">
                  <a16:creationId xmlns:a16="http://schemas.microsoft.com/office/drawing/2014/main" id="{4239E9EF-9C1C-4462-81C2-A9C902E8D6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8346" y="4011613"/>
              <a:ext cx="374650" cy="376238"/>
            </a:xfrm>
            <a:custGeom>
              <a:avLst/>
              <a:gdLst>
                <a:gd name="T0" fmla="*/ 312 w 324"/>
                <a:gd name="T1" fmla="*/ 184 h 325"/>
                <a:gd name="T2" fmla="*/ 141 w 324"/>
                <a:gd name="T3" fmla="*/ 313 h 325"/>
                <a:gd name="T4" fmla="*/ 12 w 324"/>
                <a:gd name="T5" fmla="*/ 141 h 325"/>
                <a:gd name="T6" fmla="*/ 184 w 324"/>
                <a:gd name="T7" fmla="*/ 12 h 325"/>
                <a:gd name="T8" fmla="*/ 312 w 324"/>
                <a:gd name="T9" fmla="*/ 184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325">
                  <a:moveTo>
                    <a:pt x="312" y="184"/>
                  </a:moveTo>
                  <a:cubicBezTo>
                    <a:pt x="300" y="267"/>
                    <a:pt x="224" y="325"/>
                    <a:pt x="141" y="313"/>
                  </a:cubicBezTo>
                  <a:cubicBezTo>
                    <a:pt x="58" y="301"/>
                    <a:pt x="0" y="224"/>
                    <a:pt x="12" y="141"/>
                  </a:cubicBezTo>
                  <a:cubicBezTo>
                    <a:pt x="24" y="58"/>
                    <a:pt x="101" y="0"/>
                    <a:pt x="184" y="12"/>
                  </a:cubicBezTo>
                  <a:cubicBezTo>
                    <a:pt x="267" y="24"/>
                    <a:pt x="324" y="101"/>
                    <a:pt x="312" y="184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" name="Freeform 87">
              <a:extLst>
                <a:ext uri="{FF2B5EF4-FFF2-40B4-BE49-F238E27FC236}">
                  <a16:creationId xmlns:a16="http://schemas.microsoft.com/office/drawing/2014/main" id="{A6AE5269-D27A-49C7-82D9-F112FD0C75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7083" y="4070350"/>
              <a:ext cx="258763" cy="257175"/>
            </a:xfrm>
            <a:custGeom>
              <a:avLst/>
              <a:gdLst>
                <a:gd name="T0" fmla="*/ 214 w 223"/>
                <a:gd name="T1" fmla="*/ 126 h 223"/>
                <a:gd name="T2" fmla="*/ 96 w 223"/>
                <a:gd name="T3" fmla="*/ 215 h 223"/>
                <a:gd name="T4" fmla="*/ 8 w 223"/>
                <a:gd name="T5" fmla="*/ 96 h 223"/>
                <a:gd name="T6" fmla="*/ 126 w 223"/>
                <a:gd name="T7" fmla="*/ 8 h 223"/>
                <a:gd name="T8" fmla="*/ 214 w 223"/>
                <a:gd name="T9" fmla="*/ 12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223">
                  <a:moveTo>
                    <a:pt x="214" y="126"/>
                  </a:moveTo>
                  <a:cubicBezTo>
                    <a:pt x="206" y="183"/>
                    <a:pt x="153" y="223"/>
                    <a:pt x="96" y="215"/>
                  </a:cubicBezTo>
                  <a:cubicBezTo>
                    <a:pt x="39" y="206"/>
                    <a:pt x="0" y="153"/>
                    <a:pt x="8" y="96"/>
                  </a:cubicBezTo>
                  <a:cubicBezTo>
                    <a:pt x="16" y="39"/>
                    <a:pt x="69" y="0"/>
                    <a:pt x="126" y="8"/>
                  </a:cubicBezTo>
                  <a:cubicBezTo>
                    <a:pt x="183" y="16"/>
                    <a:pt x="223" y="69"/>
                    <a:pt x="214" y="126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" name="Freeform 88">
              <a:extLst>
                <a:ext uri="{FF2B5EF4-FFF2-40B4-BE49-F238E27FC236}">
                  <a16:creationId xmlns:a16="http://schemas.microsoft.com/office/drawing/2014/main" id="{B4677896-6967-4631-B59F-8AD296580B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50258" y="4267200"/>
              <a:ext cx="138113" cy="642938"/>
            </a:xfrm>
            <a:custGeom>
              <a:avLst/>
              <a:gdLst>
                <a:gd name="T0" fmla="*/ 29 w 87"/>
                <a:gd name="T1" fmla="*/ 405 h 405"/>
                <a:gd name="T2" fmla="*/ 0 w 87"/>
                <a:gd name="T3" fmla="*/ 401 h 405"/>
                <a:gd name="T4" fmla="*/ 58 w 87"/>
                <a:gd name="T5" fmla="*/ 0 h 405"/>
                <a:gd name="T6" fmla="*/ 87 w 87"/>
                <a:gd name="T7" fmla="*/ 5 h 405"/>
                <a:gd name="T8" fmla="*/ 29 w 87"/>
                <a:gd name="T9" fmla="*/ 40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405">
                  <a:moveTo>
                    <a:pt x="29" y="405"/>
                  </a:moveTo>
                  <a:lnTo>
                    <a:pt x="0" y="401"/>
                  </a:lnTo>
                  <a:lnTo>
                    <a:pt x="58" y="0"/>
                  </a:lnTo>
                  <a:lnTo>
                    <a:pt x="87" y="5"/>
                  </a:lnTo>
                  <a:lnTo>
                    <a:pt x="29" y="40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" name="Freeform 89">
              <a:extLst>
                <a:ext uri="{FF2B5EF4-FFF2-40B4-BE49-F238E27FC236}">
                  <a16:creationId xmlns:a16="http://schemas.microsoft.com/office/drawing/2014/main" id="{B8D23343-80ED-4B0B-930E-B45DCEBA39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50258" y="4267200"/>
              <a:ext cx="138113" cy="642938"/>
            </a:xfrm>
            <a:custGeom>
              <a:avLst/>
              <a:gdLst>
                <a:gd name="T0" fmla="*/ 29 w 87"/>
                <a:gd name="T1" fmla="*/ 405 h 405"/>
                <a:gd name="T2" fmla="*/ 0 w 87"/>
                <a:gd name="T3" fmla="*/ 401 h 405"/>
                <a:gd name="T4" fmla="*/ 58 w 87"/>
                <a:gd name="T5" fmla="*/ 0 h 405"/>
                <a:gd name="T6" fmla="*/ 87 w 87"/>
                <a:gd name="T7" fmla="*/ 5 h 405"/>
                <a:gd name="T8" fmla="*/ 29 w 87"/>
                <a:gd name="T9" fmla="*/ 40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405">
                  <a:moveTo>
                    <a:pt x="29" y="405"/>
                  </a:moveTo>
                  <a:lnTo>
                    <a:pt x="0" y="401"/>
                  </a:lnTo>
                  <a:lnTo>
                    <a:pt x="58" y="0"/>
                  </a:lnTo>
                  <a:lnTo>
                    <a:pt x="87" y="5"/>
                  </a:lnTo>
                  <a:lnTo>
                    <a:pt x="29" y="405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" name="Freeform 90">
              <a:extLst>
                <a:ext uri="{FF2B5EF4-FFF2-40B4-BE49-F238E27FC236}">
                  <a16:creationId xmlns:a16="http://schemas.microsoft.com/office/drawing/2014/main" id="{253414E2-5402-4112-B6AB-6820996828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29633" y="4159250"/>
              <a:ext cx="88900" cy="87313"/>
            </a:xfrm>
            <a:custGeom>
              <a:avLst/>
              <a:gdLst>
                <a:gd name="T0" fmla="*/ 73 w 76"/>
                <a:gd name="T1" fmla="*/ 43 h 76"/>
                <a:gd name="T2" fmla="*/ 33 w 76"/>
                <a:gd name="T3" fmla="*/ 73 h 76"/>
                <a:gd name="T4" fmla="*/ 3 w 76"/>
                <a:gd name="T5" fmla="*/ 33 h 76"/>
                <a:gd name="T6" fmla="*/ 43 w 76"/>
                <a:gd name="T7" fmla="*/ 3 h 76"/>
                <a:gd name="T8" fmla="*/ 73 w 76"/>
                <a:gd name="T9" fmla="*/ 4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76">
                  <a:moveTo>
                    <a:pt x="73" y="43"/>
                  </a:moveTo>
                  <a:cubicBezTo>
                    <a:pt x="70" y="63"/>
                    <a:pt x="52" y="76"/>
                    <a:pt x="33" y="73"/>
                  </a:cubicBezTo>
                  <a:cubicBezTo>
                    <a:pt x="13" y="70"/>
                    <a:pt x="0" y="52"/>
                    <a:pt x="3" y="33"/>
                  </a:cubicBezTo>
                  <a:cubicBezTo>
                    <a:pt x="5" y="13"/>
                    <a:pt x="23" y="0"/>
                    <a:pt x="43" y="3"/>
                  </a:cubicBezTo>
                  <a:cubicBezTo>
                    <a:pt x="63" y="5"/>
                    <a:pt x="76" y="24"/>
                    <a:pt x="73" y="43"/>
                  </a:cubicBezTo>
                </a:path>
              </a:pathLst>
            </a:custGeom>
            <a:solidFill>
              <a:srgbClr val="1A3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4" name="Freeform 91">
              <a:extLst>
                <a:ext uri="{FF2B5EF4-FFF2-40B4-BE49-F238E27FC236}">
                  <a16:creationId xmlns:a16="http://schemas.microsoft.com/office/drawing/2014/main" id="{471F3DCE-1C95-4CD0-8855-665794EDD6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05833" y="4370388"/>
              <a:ext cx="9525" cy="1588"/>
            </a:xfrm>
            <a:custGeom>
              <a:avLst/>
              <a:gdLst>
                <a:gd name="T0" fmla="*/ 8 w 8"/>
                <a:gd name="T1" fmla="*/ 0 h 2"/>
                <a:gd name="T2" fmla="*/ 0 w 8"/>
                <a:gd name="T3" fmla="*/ 2 h 2"/>
                <a:gd name="T4" fmla="*/ 0 w 8"/>
                <a:gd name="T5" fmla="*/ 2 h 2"/>
                <a:gd name="T6" fmla="*/ 8 w 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">
                  <a:moveTo>
                    <a:pt x="8" y="0"/>
                  </a:moveTo>
                  <a:cubicBezTo>
                    <a:pt x="5" y="1"/>
                    <a:pt x="3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" y="1"/>
                    <a:pt x="6" y="1"/>
                    <a:pt x="8" y="0"/>
                  </a:cubicBezTo>
                </a:path>
              </a:pathLst>
            </a:custGeom>
            <a:solidFill>
              <a:srgbClr val="0D55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5" name="Freeform 92">
              <a:extLst>
                <a:ext uri="{FF2B5EF4-FFF2-40B4-BE49-F238E27FC236}">
                  <a16:creationId xmlns:a16="http://schemas.microsoft.com/office/drawing/2014/main" id="{3CCD9D21-EEA1-4FAA-B12D-744985A28A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02658" y="4371975"/>
              <a:ext cx="3175" cy="0"/>
            </a:xfrm>
            <a:custGeom>
              <a:avLst/>
              <a:gdLst>
                <a:gd name="T0" fmla="*/ 3 w 3"/>
                <a:gd name="T1" fmla="*/ 0 w 3"/>
                <a:gd name="T2" fmla="*/ 3 w 3"/>
                <a:gd name="T3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3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6" name="Freeform 93">
              <a:extLst>
                <a:ext uri="{FF2B5EF4-FFF2-40B4-BE49-F238E27FC236}">
                  <a16:creationId xmlns:a16="http://schemas.microsoft.com/office/drawing/2014/main" id="{11AC209E-1AC3-4B23-ABE1-7B4E3F4A84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4083" y="4314825"/>
              <a:ext cx="41275" cy="58738"/>
            </a:xfrm>
            <a:custGeom>
              <a:avLst/>
              <a:gdLst>
                <a:gd name="T0" fmla="*/ 31 w 36"/>
                <a:gd name="T1" fmla="*/ 0 h 52"/>
                <a:gd name="T2" fmla="*/ 7 w 36"/>
                <a:gd name="T3" fmla="*/ 5 h 52"/>
                <a:gd name="T4" fmla="*/ 0 w 36"/>
                <a:gd name="T5" fmla="*/ 52 h 52"/>
                <a:gd name="T6" fmla="*/ 25 w 36"/>
                <a:gd name="T7" fmla="*/ 50 h 52"/>
                <a:gd name="T8" fmla="*/ 28 w 36"/>
                <a:gd name="T9" fmla="*/ 50 h 52"/>
                <a:gd name="T10" fmla="*/ 36 w 36"/>
                <a:gd name="T11" fmla="*/ 48 h 52"/>
                <a:gd name="T12" fmla="*/ 36 w 36"/>
                <a:gd name="T13" fmla="*/ 48 h 52"/>
                <a:gd name="T14" fmla="*/ 31 w 36"/>
                <a:gd name="T1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52">
                  <a:moveTo>
                    <a:pt x="31" y="0"/>
                  </a:moveTo>
                  <a:cubicBezTo>
                    <a:pt x="23" y="3"/>
                    <a:pt x="15" y="4"/>
                    <a:pt x="7" y="5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13" y="52"/>
                    <a:pt x="25" y="50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31" y="49"/>
                    <a:pt x="33" y="49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1" y="0"/>
                    <a:pt x="31" y="0"/>
                    <a:pt x="31" y="0"/>
                  </a:cubicBezTo>
                </a:path>
              </a:pathLst>
            </a:custGeom>
            <a:solidFill>
              <a:srgbClr val="172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7" name="Freeform 94">
              <a:extLst>
                <a:ext uri="{FF2B5EF4-FFF2-40B4-BE49-F238E27FC236}">
                  <a16:creationId xmlns:a16="http://schemas.microsoft.com/office/drawing/2014/main" id="{35777D88-F4AF-4D63-8A15-B05BD34F91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82021" y="4233863"/>
              <a:ext cx="28575" cy="85725"/>
            </a:xfrm>
            <a:custGeom>
              <a:avLst/>
              <a:gdLst>
                <a:gd name="T0" fmla="*/ 16 w 24"/>
                <a:gd name="T1" fmla="*/ 0 h 74"/>
                <a:gd name="T2" fmla="*/ 10 w 24"/>
                <a:gd name="T3" fmla="*/ 4 h 74"/>
                <a:gd name="T4" fmla="*/ 5 w 24"/>
                <a:gd name="T5" fmla="*/ 35 h 74"/>
                <a:gd name="T6" fmla="*/ 5 w 24"/>
                <a:gd name="T7" fmla="*/ 35 h 74"/>
                <a:gd name="T8" fmla="*/ 0 w 24"/>
                <a:gd name="T9" fmla="*/ 74 h 74"/>
                <a:gd name="T10" fmla="*/ 24 w 24"/>
                <a:gd name="T11" fmla="*/ 69 h 74"/>
                <a:gd name="T12" fmla="*/ 16 w 24"/>
                <a:gd name="T13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74">
                  <a:moveTo>
                    <a:pt x="16" y="0"/>
                  </a:moveTo>
                  <a:cubicBezTo>
                    <a:pt x="14" y="2"/>
                    <a:pt x="12" y="3"/>
                    <a:pt x="10" y="4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8" y="73"/>
                    <a:pt x="16" y="72"/>
                    <a:pt x="24" y="69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C7C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8" name="Freeform 95">
              <a:extLst>
                <a:ext uri="{FF2B5EF4-FFF2-40B4-BE49-F238E27FC236}">
                  <a16:creationId xmlns:a16="http://schemas.microsoft.com/office/drawing/2014/main" id="{0DEEF8F1-7ABB-462A-9EE3-56B426B3EA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4083" y="4275138"/>
              <a:ext cx="14288" cy="98425"/>
            </a:xfrm>
            <a:custGeom>
              <a:avLst/>
              <a:gdLst>
                <a:gd name="T0" fmla="*/ 12 w 12"/>
                <a:gd name="T1" fmla="*/ 0 h 86"/>
                <a:gd name="T2" fmla="*/ 0 w 12"/>
                <a:gd name="T3" fmla="*/ 86 h 86"/>
                <a:gd name="T4" fmla="*/ 0 w 12"/>
                <a:gd name="T5" fmla="*/ 86 h 86"/>
                <a:gd name="T6" fmla="*/ 7 w 12"/>
                <a:gd name="T7" fmla="*/ 39 h 86"/>
                <a:gd name="T8" fmla="*/ 12 w 12"/>
                <a:gd name="T9" fmla="*/ 0 h 86"/>
                <a:gd name="T10" fmla="*/ 12 w 12"/>
                <a:gd name="T11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86">
                  <a:moveTo>
                    <a:pt x="12" y="0"/>
                  </a:moveTo>
                  <a:cubicBezTo>
                    <a:pt x="0" y="86"/>
                    <a:pt x="0" y="86"/>
                    <a:pt x="0" y="86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9" name="Freeform 96">
              <a:extLst>
                <a:ext uri="{FF2B5EF4-FFF2-40B4-BE49-F238E27FC236}">
                  <a16:creationId xmlns:a16="http://schemas.microsoft.com/office/drawing/2014/main" id="{E27D3186-9D9C-4712-888F-7B0554DA19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3133" y="4233863"/>
              <a:ext cx="7938" cy="4763"/>
            </a:xfrm>
            <a:custGeom>
              <a:avLst/>
              <a:gdLst>
                <a:gd name="T0" fmla="*/ 6 w 6"/>
                <a:gd name="T1" fmla="*/ 0 h 4"/>
                <a:gd name="T2" fmla="*/ 0 w 6"/>
                <a:gd name="T3" fmla="*/ 4 h 4"/>
                <a:gd name="T4" fmla="*/ 0 w 6"/>
                <a:gd name="T5" fmla="*/ 4 h 4"/>
                <a:gd name="T6" fmla="*/ 6 w 6"/>
                <a:gd name="T7" fmla="*/ 0 h 4"/>
                <a:gd name="T8" fmla="*/ 6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3"/>
                    <a:pt x="4" y="2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172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0" name="Freeform 97">
              <a:extLst>
                <a:ext uri="{FF2B5EF4-FFF2-40B4-BE49-F238E27FC236}">
                  <a16:creationId xmlns:a16="http://schemas.microsoft.com/office/drawing/2014/main" id="{967D98BE-64B0-4055-93C3-29C2915904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13633" y="4679950"/>
              <a:ext cx="1027113" cy="736600"/>
            </a:xfrm>
            <a:custGeom>
              <a:avLst/>
              <a:gdLst>
                <a:gd name="T0" fmla="*/ 3 w 886"/>
                <a:gd name="T1" fmla="*/ 163 h 636"/>
                <a:gd name="T2" fmla="*/ 562 w 886"/>
                <a:gd name="T3" fmla="*/ 582 h 636"/>
                <a:gd name="T4" fmla="*/ 865 w 886"/>
                <a:gd name="T5" fmla="*/ 160 h 636"/>
                <a:gd name="T6" fmla="*/ 882 w 886"/>
                <a:gd name="T7" fmla="*/ 75 h 636"/>
                <a:gd name="T8" fmla="*/ 800 w 886"/>
                <a:gd name="T9" fmla="*/ 120 h 636"/>
                <a:gd name="T10" fmla="*/ 781 w 886"/>
                <a:gd name="T11" fmla="*/ 195 h 636"/>
                <a:gd name="T12" fmla="*/ 780 w 886"/>
                <a:gd name="T13" fmla="*/ 197 h 636"/>
                <a:gd name="T14" fmla="*/ 765 w 886"/>
                <a:gd name="T15" fmla="*/ 243 h 636"/>
                <a:gd name="T16" fmla="*/ 684 w 886"/>
                <a:gd name="T17" fmla="*/ 403 h 636"/>
                <a:gd name="T18" fmla="*/ 666 w 886"/>
                <a:gd name="T19" fmla="*/ 426 h 636"/>
                <a:gd name="T20" fmla="*/ 620 w 886"/>
                <a:gd name="T21" fmla="*/ 474 h 636"/>
                <a:gd name="T22" fmla="*/ 607 w 886"/>
                <a:gd name="T23" fmla="*/ 485 h 636"/>
                <a:gd name="T24" fmla="*/ 569 w 886"/>
                <a:gd name="T25" fmla="*/ 511 h 636"/>
                <a:gd name="T26" fmla="*/ 540 w 886"/>
                <a:gd name="T27" fmla="*/ 526 h 636"/>
                <a:gd name="T28" fmla="*/ 487 w 886"/>
                <a:gd name="T29" fmla="*/ 543 h 636"/>
                <a:gd name="T30" fmla="*/ 482 w 886"/>
                <a:gd name="T31" fmla="*/ 544 h 636"/>
                <a:gd name="T32" fmla="*/ 470 w 886"/>
                <a:gd name="T33" fmla="*/ 546 h 636"/>
                <a:gd name="T34" fmla="*/ 418 w 886"/>
                <a:gd name="T35" fmla="*/ 550 h 636"/>
                <a:gd name="T36" fmla="*/ 418 w 886"/>
                <a:gd name="T37" fmla="*/ 550 h 636"/>
                <a:gd name="T38" fmla="*/ 413 w 886"/>
                <a:gd name="T39" fmla="*/ 550 h 636"/>
                <a:gd name="T40" fmla="*/ 395 w 886"/>
                <a:gd name="T41" fmla="*/ 549 h 636"/>
                <a:gd name="T42" fmla="*/ 336 w 886"/>
                <a:gd name="T43" fmla="*/ 540 h 636"/>
                <a:gd name="T44" fmla="*/ 318 w 886"/>
                <a:gd name="T45" fmla="*/ 536 h 636"/>
                <a:gd name="T46" fmla="*/ 268 w 886"/>
                <a:gd name="T47" fmla="*/ 518 h 636"/>
                <a:gd name="T48" fmla="*/ 267 w 886"/>
                <a:gd name="T49" fmla="*/ 517 h 636"/>
                <a:gd name="T50" fmla="*/ 249 w 886"/>
                <a:gd name="T51" fmla="*/ 508 h 636"/>
                <a:gd name="T52" fmla="*/ 221 w 886"/>
                <a:gd name="T53" fmla="*/ 491 h 636"/>
                <a:gd name="T54" fmla="*/ 181 w 886"/>
                <a:gd name="T55" fmla="*/ 456 h 636"/>
                <a:gd name="T56" fmla="*/ 163 w 886"/>
                <a:gd name="T57" fmla="*/ 435 h 636"/>
                <a:gd name="T58" fmla="*/ 114 w 886"/>
                <a:gd name="T59" fmla="*/ 351 h 636"/>
                <a:gd name="T60" fmla="*/ 112 w 886"/>
                <a:gd name="T61" fmla="*/ 347 h 636"/>
                <a:gd name="T62" fmla="*/ 102 w 886"/>
                <a:gd name="T63" fmla="*/ 317 h 636"/>
                <a:gd name="T64" fmla="*/ 78 w 886"/>
                <a:gd name="T65" fmla="*/ 195 h 636"/>
                <a:gd name="T66" fmla="*/ 75 w 886"/>
                <a:gd name="T67" fmla="*/ 166 h 636"/>
                <a:gd name="T68" fmla="*/ 74 w 886"/>
                <a:gd name="T69" fmla="*/ 124 h 636"/>
                <a:gd name="T70" fmla="*/ 82 w 886"/>
                <a:gd name="T71" fmla="*/ 12 h 636"/>
                <a:gd name="T72" fmla="*/ 9 w 886"/>
                <a:gd name="T73" fmla="*/ 0 h 636"/>
                <a:gd name="T74" fmla="*/ 335 w 886"/>
                <a:gd name="T75" fmla="*/ 540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86" h="636">
                  <a:moveTo>
                    <a:pt x="9" y="0"/>
                  </a:moveTo>
                  <a:cubicBezTo>
                    <a:pt x="1" y="54"/>
                    <a:pt x="0" y="109"/>
                    <a:pt x="3" y="163"/>
                  </a:cubicBezTo>
                  <a:cubicBezTo>
                    <a:pt x="9" y="276"/>
                    <a:pt x="35" y="401"/>
                    <a:pt x="131" y="495"/>
                  </a:cubicBezTo>
                  <a:cubicBezTo>
                    <a:pt x="233" y="595"/>
                    <a:pt x="421" y="636"/>
                    <a:pt x="562" y="582"/>
                  </a:cubicBezTo>
                  <a:cubicBezTo>
                    <a:pt x="696" y="530"/>
                    <a:pt x="770" y="416"/>
                    <a:pt x="816" y="310"/>
                  </a:cubicBezTo>
                  <a:cubicBezTo>
                    <a:pt x="837" y="261"/>
                    <a:pt x="853" y="211"/>
                    <a:pt x="865" y="160"/>
                  </a:cubicBezTo>
                  <a:cubicBezTo>
                    <a:pt x="872" y="133"/>
                    <a:pt x="878" y="106"/>
                    <a:pt x="881" y="79"/>
                  </a:cubicBezTo>
                  <a:cubicBezTo>
                    <a:pt x="881" y="78"/>
                    <a:pt x="881" y="76"/>
                    <a:pt x="882" y="75"/>
                  </a:cubicBezTo>
                  <a:cubicBezTo>
                    <a:pt x="886" y="39"/>
                    <a:pt x="813" y="31"/>
                    <a:pt x="809" y="66"/>
                  </a:cubicBezTo>
                  <a:cubicBezTo>
                    <a:pt x="807" y="85"/>
                    <a:pt x="804" y="103"/>
                    <a:pt x="800" y="120"/>
                  </a:cubicBezTo>
                  <a:cubicBezTo>
                    <a:pt x="796" y="140"/>
                    <a:pt x="791" y="159"/>
                    <a:pt x="786" y="178"/>
                  </a:cubicBezTo>
                  <a:cubicBezTo>
                    <a:pt x="784" y="184"/>
                    <a:pt x="783" y="190"/>
                    <a:pt x="781" y="195"/>
                  </a:cubicBezTo>
                  <a:cubicBezTo>
                    <a:pt x="781" y="196"/>
                    <a:pt x="781" y="196"/>
                    <a:pt x="781" y="197"/>
                  </a:cubicBezTo>
                  <a:cubicBezTo>
                    <a:pt x="780" y="197"/>
                    <a:pt x="780" y="197"/>
                    <a:pt x="780" y="197"/>
                  </a:cubicBezTo>
                  <a:cubicBezTo>
                    <a:pt x="779" y="201"/>
                    <a:pt x="778" y="204"/>
                    <a:pt x="777" y="207"/>
                  </a:cubicBezTo>
                  <a:cubicBezTo>
                    <a:pt x="774" y="219"/>
                    <a:pt x="769" y="231"/>
                    <a:pt x="765" y="243"/>
                  </a:cubicBezTo>
                  <a:cubicBezTo>
                    <a:pt x="746" y="296"/>
                    <a:pt x="722" y="347"/>
                    <a:pt x="689" y="395"/>
                  </a:cubicBezTo>
                  <a:cubicBezTo>
                    <a:pt x="687" y="398"/>
                    <a:pt x="685" y="401"/>
                    <a:pt x="684" y="403"/>
                  </a:cubicBezTo>
                  <a:cubicBezTo>
                    <a:pt x="686" y="400"/>
                    <a:pt x="681" y="406"/>
                    <a:pt x="680" y="408"/>
                  </a:cubicBezTo>
                  <a:cubicBezTo>
                    <a:pt x="676" y="414"/>
                    <a:pt x="671" y="420"/>
                    <a:pt x="666" y="426"/>
                  </a:cubicBezTo>
                  <a:cubicBezTo>
                    <a:pt x="656" y="438"/>
                    <a:pt x="646" y="449"/>
                    <a:pt x="636" y="459"/>
                  </a:cubicBezTo>
                  <a:cubicBezTo>
                    <a:pt x="631" y="464"/>
                    <a:pt x="626" y="469"/>
                    <a:pt x="620" y="474"/>
                  </a:cubicBezTo>
                  <a:cubicBezTo>
                    <a:pt x="618" y="476"/>
                    <a:pt x="615" y="478"/>
                    <a:pt x="613" y="481"/>
                  </a:cubicBezTo>
                  <a:cubicBezTo>
                    <a:pt x="611" y="482"/>
                    <a:pt x="609" y="483"/>
                    <a:pt x="607" y="485"/>
                  </a:cubicBezTo>
                  <a:cubicBezTo>
                    <a:pt x="607" y="485"/>
                    <a:pt x="606" y="486"/>
                    <a:pt x="605" y="487"/>
                  </a:cubicBezTo>
                  <a:cubicBezTo>
                    <a:pt x="593" y="495"/>
                    <a:pt x="582" y="503"/>
                    <a:pt x="569" y="511"/>
                  </a:cubicBezTo>
                  <a:cubicBezTo>
                    <a:pt x="563" y="514"/>
                    <a:pt x="556" y="518"/>
                    <a:pt x="550" y="521"/>
                  </a:cubicBezTo>
                  <a:cubicBezTo>
                    <a:pt x="547" y="523"/>
                    <a:pt x="544" y="524"/>
                    <a:pt x="540" y="526"/>
                  </a:cubicBezTo>
                  <a:cubicBezTo>
                    <a:pt x="549" y="522"/>
                    <a:pt x="535" y="528"/>
                    <a:pt x="533" y="529"/>
                  </a:cubicBezTo>
                  <a:cubicBezTo>
                    <a:pt x="518" y="534"/>
                    <a:pt x="503" y="539"/>
                    <a:pt x="487" y="543"/>
                  </a:cubicBezTo>
                  <a:cubicBezTo>
                    <a:pt x="486" y="543"/>
                    <a:pt x="484" y="543"/>
                    <a:pt x="482" y="544"/>
                  </a:cubicBezTo>
                  <a:cubicBezTo>
                    <a:pt x="482" y="544"/>
                    <a:pt x="482" y="544"/>
                    <a:pt x="482" y="544"/>
                  </a:cubicBezTo>
                  <a:cubicBezTo>
                    <a:pt x="482" y="544"/>
                    <a:pt x="482" y="544"/>
                    <a:pt x="482" y="544"/>
                  </a:cubicBezTo>
                  <a:cubicBezTo>
                    <a:pt x="478" y="545"/>
                    <a:pt x="474" y="545"/>
                    <a:pt x="470" y="546"/>
                  </a:cubicBezTo>
                  <a:cubicBezTo>
                    <a:pt x="461" y="547"/>
                    <a:pt x="452" y="548"/>
                    <a:pt x="443" y="549"/>
                  </a:cubicBezTo>
                  <a:cubicBezTo>
                    <a:pt x="435" y="549"/>
                    <a:pt x="426" y="550"/>
                    <a:pt x="418" y="550"/>
                  </a:cubicBezTo>
                  <a:cubicBezTo>
                    <a:pt x="417" y="550"/>
                    <a:pt x="416" y="550"/>
                    <a:pt x="415" y="550"/>
                  </a:cubicBezTo>
                  <a:cubicBezTo>
                    <a:pt x="416" y="550"/>
                    <a:pt x="417" y="550"/>
                    <a:pt x="418" y="550"/>
                  </a:cubicBezTo>
                  <a:cubicBezTo>
                    <a:pt x="416" y="550"/>
                    <a:pt x="415" y="550"/>
                    <a:pt x="414" y="550"/>
                  </a:cubicBezTo>
                  <a:cubicBezTo>
                    <a:pt x="413" y="550"/>
                    <a:pt x="413" y="550"/>
                    <a:pt x="413" y="550"/>
                  </a:cubicBezTo>
                  <a:cubicBezTo>
                    <a:pt x="413" y="550"/>
                    <a:pt x="412" y="550"/>
                    <a:pt x="412" y="550"/>
                  </a:cubicBezTo>
                  <a:cubicBezTo>
                    <a:pt x="406" y="549"/>
                    <a:pt x="401" y="549"/>
                    <a:pt x="395" y="549"/>
                  </a:cubicBezTo>
                  <a:cubicBezTo>
                    <a:pt x="375" y="547"/>
                    <a:pt x="356" y="544"/>
                    <a:pt x="336" y="540"/>
                  </a:cubicBezTo>
                  <a:cubicBezTo>
                    <a:pt x="336" y="540"/>
                    <a:pt x="336" y="540"/>
                    <a:pt x="336" y="540"/>
                  </a:cubicBezTo>
                  <a:cubicBezTo>
                    <a:pt x="334" y="540"/>
                    <a:pt x="332" y="539"/>
                    <a:pt x="330" y="539"/>
                  </a:cubicBezTo>
                  <a:cubicBezTo>
                    <a:pt x="326" y="538"/>
                    <a:pt x="322" y="537"/>
                    <a:pt x="318" y="536"/>
                  </a:cubicBezTo>
                  <a:cubicBezTo>
                    <a:pt x="308" y="533"/>
                    <a:pt x="299" y="530"/>
                    <a:pt x="290" y="526"/>
                  </a:cubicBezTo>
                  <a:cubicBezTo>
                    <a:pt x="282" y="524"/>
                    <a:pt x="275" y="521"/>
                    <a:pt x="268" y="518"/>
                  </a:cubicBezTo>
                  <a:cubicBezTo>
                    <a:pt x="268" y="518"/>
                    <a:pt x="268" y="518"/>
                    <a:pt x="268" y="518"/>
                  </a:cubicBezTo>
                  <a:cubicBezTo>
                    <a:pt x="267" y="517"/>
                    <a:pt x="267" y="517"/>
                    <a:pt x="267" y="517"/>
                  </a:cubicBezTo>
                  <a:cubicBezTo>
                    <a:pt x="266" y="517"/>
                    <a:pt x="264" y="516"/>
                    <a:pt x="263" y="515"/>
                  </a:cubicBezTo>
                  <a:cubicBezTo>
                    <a:pt x="258" y="513"/>
                    <a:pt x="254" y="511"/>
                    <a:pt x="249" y="508"/>
                  </a:cubicBezTo>
                  <a:cubicBezTo>
                    <a:pt x="243" y="505"/>
                    <a:pt x="237" y="501"/>
                    <a:pt x="231" y="497"/>
                  </a:cubicBezTo>
                  <a:cubicBezTo>
                    <a:pt x="227" y="495"/>
                    <a:pt x="224" y="493"/>
                    <a:pt x="221" y="491"/>
                  </a:cubicBezTo>
                  <a:cubicBezTo>
                    <a:pt x="219" y="489"/>
                    <a:pt x="210" y="483"/>
                    <a:pt x="213" y="484"/>
                  </a:cubicBezTo>
                  <a:cubicBezTo>
                    <a:pt x="201" y="475"/>
                    <a:pt x="191" y="466"/>
                    <a:pt x="181" y="456"/>
                  </a:cubicBezTo>
                  <a:cubicBezTo>
                    <a:pt x="176" y="451"/>
                    <a:pt x="172" y="446"/>
                    <a:pt x="167" y="441"/>
                  </a:cubicBezTo>
                  <a:cubicBezTo>
                    <a:pt x="166" y="440"/>
                    <a:pt x="160" y="432"/>
                    <a:pt x="163" y="435"/>
                  </a:cubicBezTo>
                  <a:cubicBezTo>
                    <a:pt x="160" y="432"/>
                    <a:pt x="158" y="429"/>
                    <a:pt x="156" y="426"/>
                  </a:cubicBezTo>
                  <a:cubicBezTo>
                    <a:pt x="139" y="402"/>
                    <a:pt x="125" y="377"/>
                    <a:pt x="114" y="351"/>
                  </a:cubicBezTo>
                  <a:cubicBezTo>
                    <a:pt x="114" y="350"/>
                    <a:pt x="113" y="350"/>
                    <a:pt x="113" y="349"/>
                  </a:cubicBezTo>
                  <a:cubicBezTo>
                    <a:pt x="113" y="349"/>
                    <a:pt x="113" y="348"/>
                    <a:pt x="112" y="347"/>
                  </a:cubicBezTo>
                  <a:cubicBezTo>
                    <a:pt x="111" y="344"/>
                    <a:pt x="110" y="341"/>
                    <a:pt x="109" y="338"/>
                  </a:cubicBezTo>
                  <a:cubicBezTo>
                    <a:pt x="106" y="331"/>
                    <a:pt x="104" y="324"/>
                    <a:pt x="102" y="317"/>
                  </a:cubicBezTo>
                  <a:cubicBezTo>
                    <a:pt x="97" y="303"/>
                    <a:pt x="94" y="290"/>
                    <a:pt x="91" y="276"/>
                  </a:cubicBezTo>
                  <a:cubicBezTo>
                    <a:pt x="84" y="249"/>
                    <a:pt x="80" y="222"/>
                    <a:pt x="78" y="195"/>
                  </a:cubicBezTo>
                  <a:cubicBezTo>
                    <a:pt x="77" y="188"/>
                    <a:pt x="76" y="182"/>
                    <a:pt x="76" y="176"/>
                  </a:cubicBezTo>
                  <a:cubicBezTo>
                    <a:pt x="76" y="173"/>
                    <a:pt x="76" y="169"/>
                    <a:pt x="75" y="166"/>
                  </a:cubicBezTo>
                  <a:cubicBezTo>
                    <a:pt x="76" y="175"/>
                    <a:pt x="75" y="163"/>
                    <a:pt x="75" y="161"/>
                  </a:cubicBezTo>
                  <a:cubicBezTo>
                    <a:pt x="75" y="149"/>
                    <a:pt x="74" y="137"/>
                    <a:pt x="74" y="124"/>
                  </a:cubicBezTo>
                  <a:cubicBezTo>
                    <a:pt x="74" y="103"/>
                    <a:pt x="75" y="81"/>
                    <a:pt x="77" y="60"/>
                  </a:cubicBezTo>
                  <a:cubicBezTo>
                    <a:pt x="78" y="44"/>
                    <a:pt x="80" y="28"/>
                    <a:pt x="82" y="12"/>
                  </a:cubicBezTo>
                  <a:cubicBezTo>
                    <a:pt x="71" y="13"/>
                    <a:pt x="59" y="12"/>
                    <a:pt x="49" y="10"/>
                  </a:cubicBezTo>
                  <a:cubicBezTo>
                    <a:pt x="36" y="8"/>
                    <a:pt x="22" y="5"/>
                    <a:pt x="9" y="0"/>
                  </a:cubicBezTo>
                  <a:moveTo>
                    <a:pt x="335" y="540"/>
                  </a:moveTo>
                  <a:cubicBezTo>
                    <a:pt x="334" y="540"/>
                    <a:pt x="330" y="539"/>
                    <a:pt x="335" y="540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1" name="Freeform 98">
              <a:extLst>
                <a:ext uri="{FF2B5EF4-FFF2-40B4-BE49-F238E27FC236}">
                  <a16:creationId xmlns:a16="http://schemas.microsoft.com/office/drawing/2014/main" id="{723EB21D-AB8F-4EEF-B2B4-1FDF0116DB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8371" y="3690938"/>
              <a:ext cx="241300" cy="409575"/>
            </a:xfrm>
            <a:custGeom>
              <a:avLst/>
              <a:gdLst>
                <a:gd name="T0" fmla="*/ 188 w 208"/>
                <a:gd name="T1" fmla="*/ 19 h 354"/>
                <a:gd name="T2" fmla="*/ 67 w 208"/>
                <a:gd name="T3" fmla="*/ 1 h 354"/>
                <a:gd name="T4" fmla="*/ 49 w 208"/>
                <a:gd name="T5" fmla="*/ 15 h 354"/>
                <a:gd name="T6" fmla="*/ 9 w 208"/>
                <a:gd name="T7" fmla="*/ 290 h 354"/>
                <a:gd name="T8" fmla="*/ 3 w 208"/>
                <a:gd name="T9" fmla="*/ 329 h 354"/>
                <a:gd name="T10" fmla="*/ 35 w 208"/>
                <a:gd name="T11" fmla="*/ 334 h 354"/>
                <a:gd name="T12" fmla="*/ 75 w 208"/>
                <a:gd name="T13" fmla="*/ 58 h 354"/>
                <a:gd name="T14" fmla="*/ 78 w 208"/>
                <a:gd name="T15" fmla="*/ 35 h 354"/>
                <a:gd name="T16" fmla="*/ 183 w 208"/>
                <a:gd name="T17" fmla="*/ 51 h 354"/>
                <a:gd name="T18" fmla="*/ 188 w 208"/>
                <a:gd name="T19" fmla="*/ 19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8" h="354">
                  <a:moveTo>
                    <a:pt x="188" y="19"/>
                  </a:moveTo>
                  <a:cubicBezTo>
                    <a:pt x="147" y="13"/>
                    <a:pt x="107" y="7"/>
                    <a:pt x="67" y="1"/>
                  </a:cubicBezTo>
                  <a:cubicBezTo>
                    <a:pt x="58" y="0"/>
                    <a:pt x="50" y="6"/>
                    <a:pt x="49" y="15"/>
                  </a:cubicBezTo>
                  <a:cubicBezTo>
                    <a:pt x="35" y="107"/>
                    <a:pt x="22" y="198"/>
                    <a:pt x="9" y="290"/>
                  </a:cubicBezTo>
                  <a:cubicBezTo>
                    <a:pt x="7" y="303"/>
                    <a:pt x="5" y="316"/>
                    <a:pt x="3" y="329"/>
                  </a:cubicBezTo>
                  <a:cubicBezTo>
                    <a:pt x="0" y="350"/>
                    <a:pt x="32" y="354"/>
                    <a:pt x="35" y="334"/>
                  </a:cubicBezTo>
                  <a:cubicBezTo>
                    <a:pt x="48" y="242"/>
                    <a:pt x="62" y="150"/>
                    <a:pt x="75" y="58"/>
                  </a:cubicBezTo>
                  <a:cubicBezTo>
                    <a:pt x="76" y="51"/>
                    <a:pt x="77" y="43"/>
                    <a:pt x="78" y="35"/>
                  </a:cubicBezTo>
                  <a:cubicBezTo>
                    <a:pt x="113" y="40"/>
                    <a:pt x="148" y="46"/>
                    <a:pt x="183" y="51"/>
                  </a:cubicBezTo>
                  <a:cubicBezTo>
                    <a:pt x="204" y="54"/>
                    <a:pt x="208" y="22"/>
                    <a:pt x="188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2" name="Freeform 99">
              <a:extLst>
                <a:ext uri="{FF2B5EF4-FFF2-40B4-BE49-F238E27FC236}">
                  <a16:creationId xmlns:a16="http://schemas.microsoft.com/office/drawing/2014/main" id="{4E07D7AC-ACC7-4CB5-B65E-B227D09EA5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39033" y="3694113"/>
              <a:ext cx="82550" cy="82550"/>
            </a:xfrm>
            <a:custGeom>
              <a:avLst/>
              <a:gdLst>
                <a:gd name="T0" fmla="*/ 41 w 71"/>
                <a:gd name="T1" fmla="*/ 70 h 71"/>
                <a:gd name="T2" fmla="*/ 0 w 71"/>
                <a:gd name="T3" fmla="*/ 64 h 71"/>
                <a:gd name="T4" fmla="*/ 9 w 71"/>
                <a:gd name="T5" fmla="*/ 0 h 71"/>
                <a:gd name="T6" fmla="*/ 50 w 71"/>
                <a:gd name="T7" fmla="*/ 6 h 71"/>
                <a:gd name="T8" fmla="*/ 70 w 71"/>
                <a:gd name="T9" fmla="*/ 32 h 71"/>
                <a:gd name="T10" fmla="*/ 67 w 71"/>
                <a:gd name="T11" fmla="*/ 50 h 71"/>
                <a:gd name="T12" fmla="*/ 41 w 71"/>
                <a:gd name="T13" fmla="*/ 7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71">
                  <a:moveTo>
                    <a:pt x="41" y="70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63" y="8"/>
                    <a:pt x="71" y="20"/>
                    <a:pt x="70" y="32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5" y="63"/>
                    <a:pt x="53" y="71"/>
                    <a:pt x="41" y="7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3" name="Freeform 100">
              <a:extLst>
                <a:ext uri="{FF2B5EF4-FFF2-40B4-BE49-F238E27FC236}">
                  <a16:creationId xmlns:a16="http://schemas.microsoft.com/office/drawing/2014/main" id="{1AAE20C1-F81C-443B-9174-8FE9F12AB9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73946" y="3681413"/>
              <a:ext cx="82550" cy="92075"/>
            </a:xfrm>
            <a:custGeom>
              <a:avLst/>
              <a:gdLst>
                <a:gd name="T0" fmla="*/ 60 w 71"/>
                <a:gd name="T1" fmla="*/ 80 h 80"/>
                <a:gd name="T2" fmla="*/ 25 w 71"/>
                <a:gd name="T3" fmla="*/ 75 h 80"/>
                <a:gd name="T4" fmla="*/ 2 w 71"/>
                <a:gd name="T5" fmla="*/ 45 h 80"/>
                <a:gd name="T6" fmla="*/ 5 w 71"/>
                <a:gd name="T7" fmla="*/ 25 h 80"/>
                <a:gd name="T8" fmla="*/ 35 w 71"/>
                <a:gd name="T9" fmla="*/ 2 h 80"/>
                <a:gd name="T10" fmla="*/ 71 w 71"/>
                <a:gd name="T11" fmla="*/ 7 h 80"/>
                <a:gd name="T12" fmla="*/ 60 w 71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80">
                  <a:moveTo>
                    <a:pt x="60" y="80"/>
                  </a:moveTo>
                  <a:cubicBezTo>
                    <a:pt x="25" y="75"/>
                    <a:pt x="25" y="75"/>
                    <a:pt x="25" y="75"/>
                  </a:cubicBezTo>
                  <a:cubicBezTo>
                    <a:pt x="10" y="73"/>
                    <a:pt x="0" y="60"/>
                    <a:pt x="2" y="4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7" y="10"/>
                    <a:pt x="21" y="0"/>
                    <a:pt x="35" y="2"/>
                  </a:cubicBezTo>
                  <a:cubicBezTo>
                    <a:pt x="71" y="7"/>
                    <a:pt x="71" y="7"/>
                    <a:pt x="71" y="7"/>
                  </a:cubicBezTo>
                  <a:lnTo>
                    <a:pt x="60" y="80"/>
                  </a:ln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4" name="Freeform 101">
              <a:extLst>
                <a:ext uri="{FF2B5EF4-FFF2-40B4-BE49-F238E27FC236}">
                  <a16:creationId xmlns:a16="http://schemas.microsoft.com/office/drawing/2014/main" id="{96D6AF43-3FFC-42BB-AE32-DA5BDA99DC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73996" y="3759200"/>
              <a:ext cx="184150" cy="431800"/>
            </a:xfrm>
            <a:custGeom>
              <a:avLst/>
              <a:gdLst>
                <a:gd name="T0" fmla="*/ 25 w 160"/>
                <a:gd name="T1" fmla="*/ 3 h 374"/>
                <a:gd name="T2" fmla="*/ 146 w 160"/>
                <a:gd name="T3" fmla="*/ 21 h 374"/>
                <a:gd name="T4" fmla="*/ 159 w 160"/>
                <a:gd name="T5" fmla="*/ 39 h 374"/>
                <a:gd name="T6" fmla="*/ 119 w 160"/>
                <a:gd name="T7" fmla="*/ 314 h 374"/>
                <a:gd name="T8" fmla="*/ 114 w 160"/>
                <a:gd name="T9" fmla="*/ 353 h 374"/>
                <a:gd name="T10" fmla="*/ 82 w 160"/>
                <a:gd name="T11" fmla="*/ 349 h 374"/>
                <a:gd name="T12" fmla="*/ 122 w 160"/>
                <a:gd name="T13" fmla="*/ 73 h 374"/>
                <a:gd name="T14" fmla="*/ 125 w 160"/>
                <a:gd name="T15" fmla="*/ 50 h 374"/>
                <a:gd name="T16" fmla="*/ 20 w 160"/>
                <a:gd name="T17" fmla="*/ 35 h 374"/>
                <a:gd name="T18" fmla="*/ 25 w 160"/>
                <a:gd name="T19" fmla="*/ 3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374">
                  <a:moveTo>
                    <a:pt x="25" y="3"/>
                  </a:moveTo>
                  <a:cubicBezTo>
                    <a:pt x="65" y="9"/>
                    <a:pt x="105" y="15"/>
                    <a:pt x="146" y="21"/>
                  </a:cubicBezTo>
                  <a:cubicBezTo>
                    <a:pt x="154" y="22"/>
                    <a:pt x="160" y="30"/>
                    <a:pt x="159" y="39"/>
                  </a:cubicBezTo>
                  <a:cubicBezTo>
                    <a:pt x="146" y="131"/>
                    <a:pt x="133" y="222"/>
                    <a:pt x="119" y="314"/>
                  </a:cubicBezTo>
                  <a:cubicBezTo>
                    <a:pt x="118" y="327"/>
                    <a:pt x="116" y="340"/>
                    <a:pt x="114" y="353"/>
                  </a:cubicBezTo>
                  <a:cubicBezTo>
                    <a:pt x="111" y="374"/>
                    <a:pt x="79" y="369"/>
                    <a:pt x="82" y="349"/>
                  </a:cubicBezTo>
                  <a:cubicBezTo>
                    <a:pt x="95" y="257"/>
                    <a:pt x="108" y="165"/>
                    <a:pt x="122" y="73"/>
                  </a:cubicBezTo>
                  <a:cubicBezTo>
                    <a:pt x="123" y="65"/>
                    <a:pt x="124" y="58"/>
                    <a:pt x="125" y="50"/>
                  </a:cubicBezTo>
                  <a:cubicBezTo>
                    <a:pt x="90" y="45"/>
                    <a:pt x="55" y="40"/>
                    <a:pt x="20" y="35"/>
                  </a:cubicBezTo>
                  <a:cubicBezTo>
                    <a:pt x="0" y="32"/>
                    <a:pt x="4" y="0"/>
                    <a:pt x="25" y="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5" name="Freeform 102">
              <a:extLst>
                <a:ext uri="{FF2B5EF4-FFF2-40B4-BE49-F238E27FC236}">
                  <a16:creationId xmlns:a16="http://schemas.microsoft.com/office/drawing/2014/main" id="{35746C1F-1C8B-487E-9B7C-ABD82F67C4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12083" y="3732213"/>
              <a:ext cx="82550" cy="82550"/>
            </a:xfrm>
            <a:custGeom>
              <a:avLst/>
              <a:gdLst>
                <a:gd name="T0" fmla="*/ 21 w 71"/>
                <a:gd name="T1" fmla="*/ 66 h 72"/>
                <a:gd name="T2" fmla="*/ 62 w 71"/>
                <a:gd name="T3" fmla="*/ 72 h 72"/>
                <a:gd name="T4" fmla="*/ 71 w 71"/>
                <a:gd name="T5" fmla="*/ 8 h 72"/>
                <a:gd name="T6" fmla="*/ 30 w 71"/>
                <a:gd name="T7" fmla="*/ 2 h 72"/>
                <a:gd name="T8" fmla="*/ 4 w 71"/>
                <a:gd name="T9" fmla="*/ 22 h 72"/>
                <a:gd name="T10" fmla="*/ 1 w 71"/>
                <a:gd name="T11" fmla="*/ 39 h 72"/>
                <a:gd name="T12" fmla="*/ 21 w 71"/>
                <a:gd name="T13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72">
                  <a:moveTo>
                    <a:pt x="21" y="66"/>
                  </a:moveTo>
                  <a:cubicBezTo>
                    <a:pt x="62" y="72"/>
                    <a:pt x="62" y="72"/>
                    <a:pt x="62" y="72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18" y="0"/>
                    <a:pt x="6" y="9"/>
                    <a:pt x="4" y="22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52"/>
                    <a:pt x="9" y="64"/>
                    <a:pt x="21" y="66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6" name="Freeform 103">
              <a:extLst>
                <a:ext uri="{FF2B5EF4-FFF2-40B4-BE49-F238E27FC236}">
                  <a16:creationId xmlns:a16="http://schemas.microsoft.com/office/drawing/2014/main" id="{70A259B1-60E7-45D5-82CF-B5A79CBBC6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77171" y="3733800"/>
              <a:ext cx="82550" cy="93663"/>
            </a:xfrm>
            <a:custGeom>
              <a:avLst/>
              <a:gdLst>
                <a:gd name="T0" fmla="*/ 0 w 71"/>
                <a:gd name="T1" fmla="*/ 74 h 81"/>
                <a:gd name="T2" fmla="*/ 36 w 71"/>
                <a:gd name="T3" fmla="*/ 79 h 81"/>
                <a:gd name="T4" fmla="*/ 66 w 71"/>
                <a:gd name="T5" fmla="*/ 56 h 81"/>
                <a:gd name="T6" fmla="*/ 69 w 71"/>
                <a:gd name="T7" fmla="*/ 36 h 81"/>
                <a:gd name="T8" fmla="*/ 46 w 71"/>
                <a:gd name="T9" fmla="*/ 5 h 81"/>
                <a:gd name="T10" fmla="*/ 11 w 71"/>
                <a:gd name="T11" fmla="*/ 0 h 81"/>
                <a:gd name="T12" fmla="*/ 0 w 71"/>
                <a:gd name="T13" fmla="*/ 7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81">
                  <a:moveTo>
                    <a:pt x="0" y="74"/>
                  </a:moveTo>
                  <a:cubicBezTo>
                    <a:pt x="36" y="79"/>
                    <a:pt x="36" y="79"/>
                    <a:pt x="36" y="79"/>
                  </a:cubicBezTo>
                  <a:cubicBezTo>
                    <a:pt x="50" y="81"/>
                    <a:pt x="64" y="71"/>
                    <a:pt x="66" y="56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71" y="21"/>
                    <a:pt x="61" y="8"/>
                    <a:pt x="46" y="5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0" y="74"/>
                  </a:ln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" name="Freeform 104">
              <a:extLst>
                <a:ext uri="{FF2B5EF4-FFF2-40B4-BE49-F238E27FC236}">
                  <a16:creationId xmlns:a16="http://schemas.microsoft.com/office/drawing/2014/main" id="{82F9C5B0-C283-4F91-8D35-42D604364E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0946" y="4745038"/>
              <a:ext cx="3175" cy="46038"/>
            </a:xfrm>
            <a:custGeom>
              <a:avLst/>
              <a:gdLst>
                <a:gd name="T0" fmla="*/ 2 w 2"/>
                <a:gd name="T1" fmla="*/ 0 h 40"/>
                <a:gd name="T2" fmla="*/ 2 w 2"/>
                <a:gd name="T3" fmla="*/ 4 h 40"/>
                <a:gd name="T4" fmla="*/ 0 w 2"/>
                <a:gd name="T5" fmla="*/ 40 h 40"/>
                <a:gd name="T6" fmla="*/ 0 w 2"/>
                <a:gd name="T7" fmla="*/ 40 h 40"/>
                <a:gd name="T8" fmla="*/ 2 w 2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0">
                  <a:moveTo>
                    <a:pt x="2" y="0"/>
                  </a:moveTo>
                  <a:cubicBezTo>
                    <a:pt x="2" y="1"/>
                    <a:pt x="2" y="2"/>
                    <a:pt x="2" y="4"/>
                  </a:cubicBezTo>
                  <a:cubicBezTo>
                    <a:pt x="1" y="16"/>
                    <a:pt x="0" y="28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24"/>
                    <a:pt x="1" y="9"/>
                    <a:pt x="2" y="0"/>
                  </a:cubicBezTo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" name="Freeform 105">
              <a:extLst>
                <a:ext uri="{FF2B5EF4-FFF2-40B4-BE49-F238E27FC236}">
                  <a16:creationId xmlns:a16="http://schemas.microsoft.com/office/drawing/2014/main" id="{E1F62113-9705-4BA1-8222-E2883F9FAF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18396" y="4711700"/>
              <a:ext cx="85725" cy="79375"/>
            </a:xfrm>
            <a:custGeom>
              <a:avLst/>
              <a:gdLst>
                <a:gd name="T0" fmla="*/ 4 w 74"/>
                <a:gd name="T1" fmla="*/ 0 h 69"/>
                <a:gd name="T2" fmla="*/ 0 w 74"/>
                <a:gd name="T3" fmla="*/ 28 h 69"/>
                <a:gd name="T4" fmla="*/ 71 w 74"/>
                <a:gd name="T5" fmla="*/ 69 h 69"/>
                <a:gd name="T6" fmla="*/ 73 w 74"/>
                <a:gd name="T7" fmla="*/ 33 h 69"/>
                <a:gd name="T8" fmla="*/ 73 w 74"/>
                <a:gd name="T9" fmla="*/ 29 h 69"/>
                <a:gd name="T10" fmla="*/ 74 w 74"/>
                <a:gd name="T11" fmla="*/ 18 h 69"/>
                <a:gd name="T12" fmla="*/ 4 w 74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9">
                  <a:moveTo>
                    <a:pt x="4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57"/>
                    <a:pt x="72" y="45"/>
                    <a:pt x="73" y="33"/>
                  </a:cubicBezTo>
                  <a:cubicBezTo>
                    <a:pt x="73" y="31"/>
                    <a:pt x="73" y="30"/>
                    <a:pt x="73" y="29"/>
                  </a:cubicBezTo>
                  <a:cubicBezTo>
                    <a:pt x="74" y="22"/>
                    <a:pt x="74" y="18"/>
                    <a:pt x="74" y="18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172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" name="Freeform 106">
              <a:extLst>
                <a:ext uri="{FF2B5EF4-FFF2-40B4-BE49-F238E27FC236}">
                  <a16:creationId xmlns:a16="http://schemas.microsoft.com/office/drawing/2014/main" id="{B142E586-AADD-49C1-BAE0-E1C808F847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8208" y="4044950"/>
              <a:ext cx="733425" cy="730250"/>
            </a:xfrm>
            <a:custGeom>
              <a:avLst/>
              <a:gdLst>
                <a:gd name="T0" fmla="*/ 1 w 633"/>
                <a:gd name="T1" fmla="*/ 199 h 631"/>
                <a:gd name="T2" fmla="*/ 377 w 633"/>
                <a:gd name="T3" fmla="*/ 580 h 631"/>
                <a:gd name="T4" fmla="*/ 613 w 633"/>
                <a:gd name="T5" fmla="*/ 190 h 631"/>
                <a:gd name="T6" fmla="*/ 628 w 633"/>
                <a:gd name="T7" fmla="*/ 112 h 631"/>
                <a:gd name="T8" fmla="*/ 568 w 633"/>
                <a:gd name="T9" fmla="*/ 154 h 631"/>
                <a:gd name="T10" fmla="*/ 551 w 633"/>
                <a:gd name="T11" fmla="*/ 223 h 631"/>
                <a:gd name="T12" fmla="*/ 548 w 633"/>
                <a:gd name="T13" fmla="*/ 234 h 631"/>
                <a:gd name="T14" fmla="*/ 476 w 633"/>
                <a:gd name="T15" fmla="*/ 408 h 631"/>
                <a:gd name="T16" fmla="*/ 469 w 633"/>
                <a:gd name="T17" fmla="*/ 419 h 631"/>
                <a:gd name="T18" fmla="*/ 435 w 633"/>
                <a:gd name="T19" fmla="*/ 467 h 631"/>
                <a:gd name="T20" fmla="*/ 418 w 633"/>
                <a:gd name="T21" fmla="*/ 487 h 631"/>
                <a:gd name="T22" fmla="*/ 413 w 633"/>
                <a:gd name="T23" fmla="*/ 491 h 631"/>
                <a:gd name="T24" fmla="*/ 371 w 633"/>
                <a:gd name="T25" fmla="*/ 524 h 631"/>
                <a:gd name="T26" fmla="*/ 359 w 633"/>
                <a:gd name="T27" fmla="*/ 531 h 631"/>
                <a:gd name="T28" fmla="*/ 322 w 633"/>
                <a:gd name="T29" fmla="*/ 546 h 631"/>
                <a:gd name="T30" fmla="*/ 314 w 633"/>
                <a:gd name="T31" fmla="*/ 548 h 631"/>
                <a:gd name="T32" fmla="*/ 276 w 633"/>
                <a:gd name="T33" fmla="*/ 552 h 631"/>
                <a:gd name="T34" fmla="*/ 272 w 633"/>
                <a:gd name="T35" fmla="*/ 551 h 631"/>
                <a:gd name="T36" fmla="*/ 218 w 633"/>
                <a:gd name="T37" fmla="*/ 543 h 631"/>
                <a:gd name="T38" fmla="*/ 214 w 633"/>
                <a:gd name="T39" fmla="*/ 542 h 631"/>
                <a:gd name="T40" fmla="*/ 186 w 633"/>
                <a:gd name="T41" fmla="*/ 531 h 631"/>
                <a:gd name="T42" fmla="*/ 171 w 633"/>
                <a:gd name="T43" fmla="*/ 523 h 631"/>
                <a:gd name="T44" fmla="*/ 159 w 633"/>
                <a:gd name="T45" fmla="*/ 515 h 631"/>
                <a:gd name="T46" fmla="*/ 139 w 633"/>
                <a:gd name="T47" fmla="*/ 499 h 631"/>
                <a:gd name="T48" fmla="*/ 113 w 633"/>
                <a:gd name="T49" fmla="*/ 467 h 631"/>
                <a:gd name="T50" fmla="*/ 102 w 633"/>
                <a:gd name="T51" fmla="*/ 450 h 631"/>
                <a:gd name="T52" fmla="*/ 70 w 633"/>
                <a:gd name="T53" fmla="*/ 371 h 631"/>
                <a:gd name="T54" fmla="*/ 69 w 633"/>
                <a:gd name="T55" fmla="*/ 367 h 631"/>
                <a:gd name="T56" fmla="*/ 63 w 633"/>
                <a:gd name="T57" fmla="*/ 340 h 631"/>
                <a:gd name="T58" fmla="*/ 52 w 633"/>
                <a:gd name="T59" fmla="*/ 228 h 631"/>
                <a:gd name="T60" fmla="*/ 52 w 633"/>
                <a:gd name="T61" fmla="*/ 202 h 631"/>
                <a:gd name="T62" fmla="*/ 53 w 633"/>
                <a:gd name="T63" fmla="*/ 163 h 631"/>
                <a:gd name="T64" fmla="*/ 68 w 633"/>
                <a:gd name="T65" fmla="*/ 35 h 631"/>
                <a:gd name="T66" fmla="*/ 47 w 633"/>
                <a:gd name="T67" fmla="*/ 2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33" h="631">
                  <a:moveTo>
                    <a:pt x="18" y="24"/>
                  </a:moveTo>
                  <a:cubicBezTo>
                    <a:pt x="6" y="81"/>
                    <a:pt x="1" y="141"/>
                    <a:pt x="1" y="199"/>
                  </a:cubicBezTo>
                  <a:cubicBezTo>
                    <a:pt x="0" y="303"/>
                    <a:pt x="12" y="418"/>
                    <a:pt x="75" y="503"/>
                  </a:cubicBezTo>
                  <a:cubicBezTo>
                    <a:pt x="143" y="594"/>
                    <a:pt x="274" y="631"/>
                    <a:pt x="377" y="580"/>
                  </a:cubicBezTo>
                  <a:cubicBezTo>
                    <a:pt x="475" y="531"/>
                    <a:pt x="532" y="426"/>
                    <a:pt x="570" y="328"/>
                  </a:cubicBezTo>
                  <a:cubicBezTo>
                    <a:pt x="587" y="283"/>
                    <a:pt x="601" y="237"/>
                    <a:pt x="613" y="190"/>
                  </a:cubicBezTo>
                  <a:cubicBezTo>
                    <a:pt x="618" y="165"/>
                    <a:pt x="624" y="140"/>
                    <a:pt x="628" y="115"/>
                  </a:cubicBezTo>
                  <a:cubicBezTo>
                    <a:pt x="628" y="114"/>
                    <a:pt x="628" y="113"/>
                    <a:pt x="628" y="112"/>
                  </a:cubicBezTo>
                  <a:cubicBezTo>
                    <a:pt x="633" y="79"/>
                    <a:pt x="582" y="72"/>
                    <a:pt x="577" y="104"/>
                  </a:cubicBezTo>
                  <a:cubicBezTo>
                    <a:pt x="575" y="121"/>
                    <a:pt x="572" y="138"/>
                    <a:pt x="568" y="154"/>
                  </a:cubicBezTo>
                  <a:cubicBezTo>
                    <a:pt x="564" y="172"/>
                    <a:pt x="560" y="190"/>
                    <a:pt x="555" y="208"/>
                  </a:cubicBezTo>
                  <a:cubicBezTo>
                    <a:pt x="554" y="213"/>
                    <a:pt x="552" y="218"/>
                    <a:pt x="551" y="223"/>
                  </a:cubicBezTo>
                  <a:cubicBezTo>
                    <a:pt x="549" y="230"/>
                    <a:pt x="552" y="219"/>
                    <a:pt x="550" y="225"/>
                  </a:cubicBezTo>
                  <a:cubicBezTo>
                    <a:pt x="550" y="228"/>
                    <a:pt x="549" y="231"/>
                    <a:pt x="548" y="234"/>
                  </a:cubicBezTo>
                  <a:cubicBezTo>
                    <a:pt x="545" y="245"/>
                    <a:pt x="541" y="256"/>
                    <a:pt x="537" y="267"/>
                  </a:cubicBezTo>
                  <a:cubicBezTo>
                    <a:pt x="521" y="316"/>
                    <a:pt x="502" y="363"/>
                    <a:pt x="476" y="408"/>
                  </a:cubicBezTo>
                  <a:cubicBezTo>
                    <a:pt x="475" y="410"/>
                    <a:pt x="473" y="413"/>
                    <a:pt x="471" y="416"/>
                  </a:cubicBezTo>
                  <a:cubicBezTo>
                    <a:pt x="474" y="411"/>
                    <a:pt x="470" y="418"/>
                    <a:pt x="469" y="419"/>
                  </a:cubicBezTo>
                  <a:cubicBezTo>
                    <a:pt x="465" y="425"/>
                    <a:pt x="462" y="431"/>
                    <a:pt x="458" y="436"/>
                  </a:cubicBezTo>
                  <a:cubicBezTo>
                    <a:pt x="451" y="447"/>
                    <a:pt x="443" y="457"/>
                    <a:pt x="435" y="467"/>
                  </a:cubicBezTo>
                  <a:cubicBezTo>
                    <a:pt x="431" y="472"/>
                    <a:pt x="427" y="476"/>
                    <a:pt x="423" y="480"/>
                  </a:cubicBezTo>
                  <a:cubicBezTo>
                    <a:pt x="421" y="483"/>
                    <a:pt x="420" y="485"/>
                    <a:pt x="418" y="487"/>
                  </a:cubicBezTo>
                  <a:cubicBezTo>
                    <a:pt x="416" y="488"/>
                    <a:pt x="415" y="489"/>
                    <a:pt x="414" y="491"/>
                  </a:cubicBezTo>
                  <a:cubicBezTo>
                    <a:pt x="413" y="492"/>
                    <a:pt x="408" y="496"/>
                    <a:pt x="413" y="491"/>
                  </a:cubicBezTo>
                  <a:cubicBezTo>
                    <a:pt x="404" y="500"/>
                    <a:pt x="395" y="507"/>
                    <a:pt x="385" y="515"/>
                  </a:cubicBezTo>
                  <a:cubicBezTo>
                    <a:pt x="381" y="518"/>
                    <a:pt x="376" y="521"/>
                    <a:pt x="371" y="524"/>
                  </a:cubicBezTo>
                  <a:cubicBezTo>
                    <a:pt x="369" y="526"/>
                    <a:pt x="366" y="527"/>
                    <a:pt x="364" y="528"/>
                  </a:cubicBezTo>
                  <a:cubicBezTo>
                    <a:pt x="370" y="525"/>
                    <a:pt x="361" y="530"/>
                    <a:pt x="359" y="531"/>
                  </a:cubicBezTo>
                  <a:cubicBezTo>
                    <a:pt x="348" y="537"/>
                    <a:pt x="337" y="541"/>
                    <a:pt x="326" y="545"/>
                  </a:cubicBezTo>
                  <a:cubicBezTo>
                    <a:pt x="324" y="545"/>
                    <a:pt x="323" y="545"/>
                    <a:pt x="322" y="546"/>
                  </a:cubicBezTo>
                  <a:cubicBezTo>
                    <a:pt x="316" y="548"/>
                    <a:pt x="328" y="544"/>
                    <a:pt x="322" y="546"/>
                  </a:cubicBezTo>
                  <a:cubicBezTo>
                    <a:pt x="319" y="546"/>
                    <a:pt x="316" y="547"/>
                    <a:pt x="314" y="548"/>
                  </a:cubicBezTo>
                  <a:cubicBezTo>
                    <a:pt x="307" y="549"/>
                    <a:pt x="301" y="550"/>
                    <a:pt x="294" y="551"/>
                  </a:cubicBezTo>
                  <a:cubicBezTo>
                    <a:pt x="288" y="551"/>
                    <a:pt x="282" y="551"/>
                    <a:pt x="276" y="552"/>
                  </a:cubicBezTo>
                  <a:cubicBezTo>
                    <a:pt x="274" y="552"/>
                    <a:pt x="270" y="551"/>
                    <a:pt x="276" y="552"/>
                  </a:cubicBezTo>
                  <a:cubicBezTo>
                    <a:pt x="275" y="552"/>
                    <a:pt x="273" y="552"/>
                    <a:pt x="272" y="551"/>
                  </a:cubicBezTo>
                  <a:cubicBezTo>
                    <a:pt x="268" y="551"/>
                    <a:pt x="264" y="551"/>
                    <a:pt x="260" y="551"/>
                  </a:cubicBezTo>
                  <a:cubicBezTo>
                    <a:pt x="246" y="549"/>
                    <a:pt x="232" y="547"/>
                    <a:pt x="218" y="543"/>
                  </a:cubicBezTo>
                  <a:cubicBezTo>
                    <a:pt x="217" y="543"/>
                    <a:pt x="214" y="542"/>
                    <a:pt x="219" y="544"/>
                  </a:cubicBezTo>
                  <a:cubicBezTo>
                    <a:pt x="218" y="543"/>
                    <a:pt x="216" y="543"/>
                    <a:pt x="214" y="542"/>
                  </a:cubicBezTo>
                  <a:cubicBezTo>
                    <a:pt x="212" y="541"/>
                    <a:pt x="209" y="540"/>
                    <a:pt x="206" y="539"/>
                  </a:cubicBezTo>
                  <a:cubicBezTo>
                    <a:pt x="199" y="537"/>
                    <a:pt x="193" y="534"/>
                    <a:pt x="186" y="531"/>
                  </a:cubicBezTo>
                  <a:cubicBezTo>
                    <a:pt x="181" y="529"/>
                    <a:pt x="176" y="526"/>
                    <a:pt x="171" y="523"/>
                  </a:cubicBezTo>
                  <a:cubicBezTo>
                    <a:pt x="166" y="520"/>
                    <a:pt x="176" y="526"/>
                    <a:pt x="171" y="523"/>
                  </a:cubicBezTo>
                  <a:cubicBezTo>
                    <a:pt x="170" y="522"/>
                    <a:pt x="169" y="522"/>
                    <a:pt x="168" y="521"/>
                  </a:cubicBezTo>
                  <a:cubicBezTo>
                    <a:pt x="165" y="519"/>
                    <a:pt x="162" y="517"/>
                    <a:pt x="159" y="515"/>
                  </a:cubicBezTo>
                  <a:cubicBezTo>
                    <a:pt x="154" y="511"/>
                    <a:pt x="150" y="508"/>
                    <a:pt x="146" y="505"/>
                  </a:cubicBezTo>
                  <a:cubicBezTo>
                    <a:pt x="144" y="503"/>
                    <a:pt x="141" y="501"/>
                    <a:pt x="139" y="499"/>
                  </a:cubicBezTo>
                  <a:cubicBezTo>
                    <a:pt x="138" y="497"/>
                    <a:pt x="130" y="489"/>
                    <a:pt x="135" y="494"/>
                  </a:cubicBezTo>
                  <a:cubicBezTo>
                    <a:pt x="127" y="486"/>
                    <a:pt x="119" y="477"/>
                    <a:pt x="113" y="467"/>
                  </a:cubicBezTo>
                  <a:cubicBezTo>
                    <a:pt x="109" y="462"/>
                    <a:pt x="107" y="458"/>
                    <a:pt x="104" y="453"/>
                  </a:cubicBezTo>
                  <a:cubicBezTo>
                    <a:pt x="103" y="452"/>
                    <a:pt x="98" y="443"/>
                    <a:pt x="102" y="450"/>
                  </a:cubicBezTo>
                  <a:cubicBezTo>
                    <a:pt x="100" y="447"/>
                    <a:pt x="98" y="443"/>
                    <a:pt x="96" y="440"/>
                  </a:cubicBezTo>
                  <a:cubicBezTo>
                    <a:pt x="85" y="418"/>
                    <a:pt x="77" y="395"/>
                    <a:pt x="70" y="371"/>
                  </a:cubicBezTo>
                  <a:cubicBezTo>
                    <a:pt x="70" y="370"/>
                    <a:pt x="70" y="369"/>
                    <a:pt x="69" y="367"/>
                  </a:cubicBezTo>
                  <a:cubicBezTo>
                    <a:pt x="71" y="373"/>
                    <a:pt x="70" y="369"/>
                    <a:pt x="69" y="367"/>
                  </a:cubicBezTo>
                  <a:cubicBezTo>
                    <a:pt x="69" y="365"/>
                    <a:pt x="68" y="362"/>
                    <a:pt x="67" y="359"/>
                  </a:cubicBezTo>
                  <a:cubicBezTo>
                    <a:pt x="66" y="353"/>
                    <a:pt x="64" y="346"/>
                    <a:pt x="63" y="340"/>
                  </a:cubicBezTo>
                  <a:cubicBezTo>
                    <a:pt x="61" y="327"/>
                    <a:pt x="59" y="315"/>
                    <a:pt x="57" y="302"/>
                  </a:cubicBezTo>
                  <a:cubicBezTo>
                    <a:pt x="54" y="277"/>
                    <a:pt x="53" y="253"/>
                    <a:pt x="52" y="228"/>
                  </a:cubicBezTo>
                  <a:cubicBezTo>
                    <a:pt x="52" y="222"/>
                    <a:pt x="52" y="216"/>
                    <a:pt x="52" y="210"/>
                  </a:cubicBezTo>
                  <a:cubicBezTo>
                    <a:pt x="52" y="207"/>
                    <a:pt x="52" y="204"/>
                    <a:pt x="52" y="202"/>
                  </a:cubicBezTo>
                  <a:cubicBezTo>
                    <a:pt x="52" y="209"/>
                    <a:pt x="52" y="199"/>
                    <a:pt x="52" y="197"/>
                  </a:cubicBezTo>
                  <a:cubicBezTo>
                    <a:pt x="52" y="186"/>
                    <a:pt x="53" y="174"/>
                    <a:pt x="53" y="163"/>
                  </a:cubicBezTo>
                  <a:cubicBezTo>
                    <a:pt x="54" y="143"/>
                    <a:pt x="56" y="123"/>
                    <a:pt x="58" y="104"/>
                  </a:cubicBezTo>
                  <a:cubicBezTo>
                    <a:pt x="61" y="80"/>
                    <a:pt x="64" y="58"/>
                    <a:pt x="68" y="35"/>
                  </a:cubicBezTo>
                  <a:cubicBezTo>
                    <a:pt x="68" y="34"/>
                    <a:pt x="68" y="33"/>
                    <a:pt x="69" y="31"/>
                  </a:cubicBezTo>
                  <a:cubicBezTo>
                    <a:pt x="71" y="18"/>
                    <a:pt x="60" y="4"/>
                    <a:pt x="47" y="2"/>
                  </a:cubicBezTo>
                  <a:cubicBezTo>
                    <a:pt x="32" y="0"/>
                    <a:pt x="21" y="10"/>
                    <a:pt x="18" y="2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" name="Freeform 107">
              <a:extLst>
                <a:ext uri="{FF2B5EF4-FFF2-40B4-BE49-F238E27FC236}">
                  <a16:creationId xmlns:a16="http://schemas.microsoft.com/office/drawing/2014/main" id="{D662C23F-F131-422F-9262-6B8E5E0E4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93058" y="4262438"/>
              <a:ext cx="415925" cy="342900"/>
            </a:xfrm>
            <a:custGeom>
              <a:avLst/>
              <a:gdLst>
                <a:gd name="T0" fmla="*/ 360 w 360"/>
                <a:gd name="T1" fmla="*/ 197 h 296"/>
                <a:gd name="T2" fmla="*/ 239 w 360"/>
                <a:gd name="T3" fmla="*/ 118 h 296"/>
                <a:gd name="T4" fmla="*/ 30 w 360"/>
                <a:gd name="T5" fmla="*/ 0 h 296"/>
                <a:gd name="T6" fmla="*/ 0 w 360"/>
                <a:gd name="T7" fmla="*/ 48 h 296"/>
                <a:gd name="T8" fmla="*/ 198 w 360"/>
                <a:gd name="T9" fmla="*/ 273 h 296"/>
                <a:gd name="T10" fmla="*/ 318 w 360"/>
                <a:gd name="T11" fmla="*/ 284 h 296"/>
                <a:gd name="T12" fmla="*/ 360 w 360"/>
                <a:gd name="T13" fmla="*/ 197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0" h="296">
                  <a:moveTo>
                    <a:pt x="360" y="197"/>
                  </a:moveTo>
                  <a:cubicBezTo>
                    <a:pt x="239" y="118"/>
                    <a:pt x="239" y="118"/>
                    <a:pt x="239" y="118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98" y="273"/>
                    <a:pt x="198" y="273"/>
                    <a:pt x="198" y="273"/>
                  </a:cubicBezTo>
                  <a:cubicBezTo>
                    <a:pt x="198" y="273"/>
                    <a:pt x="314" y="296"/>
                    <a:pt x="318" y="284"/>
                  </a:cubicBezTo>
                  <a:cubicBezTo>
                    <a:pt x="322" y="272"/>
                    <a:pt x="360" y="197"/>
                    <a:pt x="360" y="197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" name="Freeform 108">
              <a:extLst>
                <a:ext uri="{FF2B5EF4-FFF2-40B4-BE49-F238E27FC236}">
                  <a16:creationId xmlns:a16="http://schemas.microsoft.com/office/drawing/2014/main" id="{C9833D61-DF53-4EBE-8D85-55D959A54F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4633" y="4181475"/>
              <a:ext cx="158750" cy="158750"/>
            </a:xfrm>
            <a:custGeom>
              <a:avLst/>
              <a:gdLst>
                <a:gd name="T0" fmla="*/ 90 w 100"/>
                <a:gd name="T1" fmla="*/ 59 h 100"/>
                <a:gd name="T2" fmla="*/ 58 w 100"/>
                <a:gd name="T3" fmla="*/ 0 h 100"/>
                <a:gd name="T4" fmla="*/ 0 w 100"/>
                <a:gd name="T5" fmla="*/ 8 h 100"/>
                <a:gd name="T6" fmla="*/ 0 w 100"/>
                <a:gd name="T7" fmla="*/ 92 h 100"/>
                <a:gd name="T8" fmla="*/ 11 w 100"/>
                <a:gd name="T9" fmla="*/ 99 h 100"/>
                <a:gd name="T10" fmla="*/ 17 w 100"/>
                <a:gd name="T11" fmla="*/ 83 h 100"/>
                <a:gd name="T12" fmla="*/ 56 w 100"/>
                <a:gd name="T13" fmla="*/ 100 h 100"/>
                <a:gd name="T14" fmla="*/ 100 w 100"/>
                <a:gd name="T15" fmla="*/ 78 h 100"/>
                <a:gd name="T16" fmla="*/ 90 w 100"/>
                <a:gd name="T17" fmla="*/ 5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" h="100">
                  <a:moveTo>
                    <a:pt x="90" y="59"/>
                  </a:moveTo>
                  <a:lnTo>
                    <a:pt x="58" y="0"/>
                  </a:lnTo>
                  <a:lnTo>
                    <a:pt x="0" y="8"/>
                  </a:lnTo>
                  <a:lnTo>
                    <a:pt x="0" y="92"/>
                  </a:lnTo>
                  <a:lnTo>
                    <a:pt x="11" y="99"/>
                  </a:lnTo>
                  <a:lnTo>
                    <a:pt x="17" y="83"/>
                  </a:lnTo>
                  <a:lnTo>
                    <a:pt x="56" y="100"/>
                  </a:lnTo>
                  <a:lnTo>
                    <a:pt x="100" y="78"/>
                  </a:lnTo>
                  <a:lnTo>
                    <a:pt x="90" y="59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" name="Freeform 109">
              <a:extLst>
                <a:ext uri="{FF2B5EF4-FFF2-40B4-BE49-F238E27FC236}">
                  <a16:creationId xmlns:a16="http://schemas.microsoft.com/office/drawing/2014/main" id="{995BE346-CFE2-4F0F-8128-4F9F988E2E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83421" y="4024313"/>
              <a:ext cx="328613" cy="490538"/>
            </a:xfrm>
            <a:custGeom>
              <a:avLst/>
              <a:gdLst>
                <a:gd name="T0" fmla="*/ 0 w 284"/>
                <a:gd name="T1" fmla="*/ 320 h 424"/>
                <a:gd name="T2" fmla="*/ 20 w 284"/>
                <a:gd name="T3" fmla="*/ 232 h 424"/>
                <a:gd name="T4" fmla="*/ 192 w 284"/>
                <a:gd name="T5" fmla="*/ 20 h 424"/>
                <a:gd name="T6" fmla="*/ 268 w 284"/>
                <a:gd name="T7" fmla="*/ 0 h 424"/>
                <a:gd name="T8" fmla="*/ 284 w 284"/>
                <a:gd name="T9" fmla="*/ 60 h 424"/>
                <a:gd name="T10" fmla="*/ 232 w 284"/>
                <a:gd name="T11" fmla="*/ 150 h 424"/>
                <a:gd name="T12" fmla="*/ 224 w 284"/>
                <a:gd name="T13" fmla="*/ 136 h 424"/>
                <a:gd name="T14" fmla="*/ 182 w 284"/>
                <a:gd name="T15" fmla="*/ 134 h 424"/>
                <a:gd name="T16" fmla="*/ 176 w 284"/>
                <a:gd name="T17" fmla="*/ 160 h 424"/>
                <a:gd name="T18" fmla="*/ 142 w 284"/>
                <a:gd name="T19" fmla="*/ 162 h 424"/>
                <a:gd name="T20" fmla="*/ 120 w 284"/>
                <a:gd name="T21" fmla="*/ 372 h 424"/>
                <a:gd name="T22" fmla="*/ 36 w 284"/>
                <a:gd name="T23" fmla="*/ 424 h 424"/>
                <a:gd name="T24" fmla="*/ 0 w 284"/>
                <a:gd name="T25" fmla="*/ 32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4" h="424">
                  <a:moveTo>
                    <a:pt x="0" y="320"/>
                  </a:moveTo>
                  <a:cubicBezTo>
                    <a:pt x="0" y="316"/>
                    <a:pt x="20" y="232"/>
                    <a:pt x="20" y="232"/>
                  </a:cubicBezTo>
                  <a:cubicBezTo>
                    <a:pt x="192" y="20"/>
                    <a:pt x="192" y="20"/>
                    <a:pt x="192" y="20"/>
                  </a:cubicBezTo>
                  <a:cubicBezTo>
                    <a:pt x="192" y="20"/>
                    <a:pt x="260" y="0"/>
                    <a:pt x="268" y="0"/>
                  </a:cubicBezTo>
                  <a:cubicBezTo>
                    <a:pt x="276" y="0"/>
                    <a:pt x="284" y="60"/>
                    <a:pt x="284" y="60"/>
                  </a:cubicBezTo>
                  <a:cubicBezTo>
                    <a:pt x="232" y="150"/>
                    <a:pt x="232" y="150"/>
                    <a:pt x="232" y="150"/>
                  </a:cubicBezTo>
                  <a:cubicBezTo>
                    <a:pt x="224" y="136"/>
                    <a:pt x="224" y="136"/>
                    <a:pt x="224" y="136"/>
                  </a:cubicBezTo>
                  <a:cubicBezTo>
                    <a:pt x="182" y="134"/>
                    <a:pt x="182" y="134"/>
                    <a:pt x="182" y="134"/>
                  </a:cubicBezTo>
                  <a:cubicBezTo>
                    <a:pt x="176" y="160"/>
                    <a:pt x="176" y="160"/>
                    <a:pt x="176" y="160"/>
                  </a:cubicBezTo>
                  <a:cubicBezTo>
                    <a:pt x="142" y="162"/>
                    <a:pt x="142" y="162"/>
                    <a:pt x="142" y="162"/>
                  </a:cubicBezTo>
                  <a:cubicBezTo>
                    <a:pt x="120" y="372"/>
                    <a:pt x="120" y="372"/>
                    <a:pt x="120" y="372"/>
                  </a:cubicBezTo>
                  <a:cubicBezTo>
                    <a:pt x="36" y="424"/>
                    <a:pt x="36" y="424"/>
                    <a:pt x="36" y="424"/>
                  </a:cubicBezTo>
                  <a:lnTo>
                    <a:pt x="0" y="320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03" name="Freeform 5">
            <a:extLst>
              <a:ext uri="{FF2B5EF4-FFF2-40B4-BE49-F238E27FC236}">
                <a16:creationId xmlns:a16="http://schemas.microsoft.com/office/drawing/2014/main" id="{C54F0AF4-9847-4F3F-ABAF-92163C52D011}"/>
              </a:ext>
            </a:extLst>
          </p:cNvPr>
          <p:cNvSpPr>
            <a:spLocks/>
          </p:cNvSpPr>
          <p:nvPr userDrawn="1"/>
        </p:nvSpPr>
        <p:spPr bwMode="auto">
          <a:xfrm>
            <a:off x="10292080" y="162561"/>
            <a:ext cx="1595120" cy="1523999"/>
          </a:xfrm>
          <a:custGeom>
            <a:avLst/>
            <a:gdLst>
              <a:gd name="T0" fmla="*/ 0 w 3262"/>
              <a:gd name="T1" fmla="*/ 1106 h 3252"/>
              <a:gd name="T2" fmla="*/ 1108 w 3262"/>
              <a:gd name="T3" fmla="*/ 1106 h 3252"/>
              <a:gd name="T4" fmla="*/ 1108 w 3262"/>
              <a:gd name="T5" fmla="*/ 0 h 3252"/>
              <a:gd name="T6" fmla="*/ 2154 w 3262"/>
              <a:gd name="T7" fmla="*/ 0 h 3252"/>
              <a:gd name="T8" fmla="*/ 2154 w 3262"/>
              <a:gd name="T9" fmla="*/ 1106 h 3252"/>
              <a:gd name="T10" fmla="*/ 3262 w 3262"/>
              <a:gd name="T11" fmla="*/ 1106 h 3252"/>
              <a:gd name="T12" fmla="*/ 3262 w 3262"/>
              <a:gd name="T13" fmla="*/ 2146 h 3252"/>
              <a:gd name="T14" fmla="*/ 2154 w 3262"/>
              <a:gd name="T15" fmla="*/ 2146 h 3252"/>
              <a:gd name="T16" fmla="*/ 2154 w 3262"/>
              <a:gd name="T17" fmla="*/ 3252 h 3252"/>
              <a:gd name="T18" fmla="*/ 1108 w 3262"/>
              <a:gd name="T19" fmla="*/ 3252 h 3252"/>
              <a:gd name="T20" fmla="*/ 1108 w 3262"/>
              <a:gd name="T21" fmla="*/ 2146 h 3252"/>
              <a:gd name="T22" fmla="*/ 0 w 3262"/>
              <a:gd name="T23" fmla="*/ 2146 h 3252"/>
              <a:gd name="T24" fmla="*/ 0 w 3262"/>
              <a:gd name="T25" fmla="*/ 1106 h 3252"/>
              <a:gd name="T26" fmla="*/ 0 w 3262"/>
              <a:gd name="T27" fmla="*/ 1106 h 3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262" h="3252">
                <a:moveTo>
                  <a:pt x="0" y="1106"/>
                </a:moveTo>
                <a:lnTo>
                  <a:pt x="1108" y="1106"/>
                </a:lnTo>
                <a:lnTo>
                  <a:pt x="1108" y="0"/>
                </a:lnTo>
                <a:lnTo>
                  <a:pt x="2154" y="0"/>
                </a:lnTo>
                <a:lnTo>
                  <a:pt x="2154" y="1106"/>
                </a:lnTo>
                <a:lnTo>
                  <a:pt x="3262" y="1106"/>
                </a:lnTo>
                <a:lnTo>
                  <a:pt x="3262" y="2146"/>
                </a:lnTo>
                <a:lnTo>
                  <a:pt x="2154" y="2146"/>
                </a:lnTo>
                <a:lnTo>
                  <a:pt x="2154" y="3252"/>
                </a:lnTo>
                <a:lnTo>
                  <a:pt x="1108" y="3252"/>
                </a:lnTo>
                <a:lnTo>
                  <a:pt x="1108" y="2146"/>
                </a:lnTo>
                <a:lnTo>
                  <a:pt x="0" y="2146"/>
                </a:lnTo>
                <a:lnTo>
                  <a:pt x="0" y="1106"/>
                </a:lnTo>
                <a:lnTo>
                  <a:pt x="0" y="110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5" name="Freeform 5">
            <a:extLst>
              <a:ext uri="{FF2B5EF4-FFF2-40B4-BE49-F238E27FC236}">
                <a16:creationId xmlns:a16="http://schemas.microsoft.com/office/drawing/2014/main" id="{1C307779-F254-4E81-A352-1AB2848255D0}"/>
              </a:ext>
            </a:extLst>
          </p:cNvPr>
          <p:cNvSpPr>
            <a:spLocks/>
          </p:cNvSpPr>
          <p:nvPr userDrawn="1"/>
        </p:nvSpPr>
        <p:spPr bwMode="auto">
          <a:xfrm>
            <a:off x="11216640" y="0"/>
            <a:ext cx="897870" cy="944881"/>
          </a:xfrm>
          <a:custGeom>
            <a:avLst/>
            <a:gdLst>
              <a:gd name="T0" fmla="*/ 0 w 3262"/>
              <a:gd name="T1" fmla="*/ 1106 h 3252"/>
              <a:gd name="T2" fmla="*/ 1108 w 3262"/>
              <a:gd name="T3" fmla="*/ 1106 h 3252"/>
              <a:gd name="T4" fmla="*/ 1108 w 3262"/>
              <a:gd name="T5" fmla="*/ 0 h 3252"/>
              <a:gd name="T6" fmla="*/ 2154 w 3262"/>
              <a:gd name="T7" fmla="*/ 0 h 3252"/>
              <a:gd name="T8" fmla="*/ 2154 w 3262"/>
              <a:gd name="T9" fmla="*/ 1106 h 3252"/>
              <a:gd name="T10" fmla="*/ 3262 w 3262"/>
              <a:gd name="T11" fmla="*/ 1106 h 3252"/>
              <a:gd name="T12" fmla="*/ 3262 w 3262"/>
              <a:gd name="T13" fmla="*/ 2146 h 3252"/>
              <a:gd name="T14" fmla="*/ 2154 w 3262"/>
              <a:gd name="T15" fmla="*/ 2146 h 3252"/>
              <a:gd name="T16" fmla="*/ 2154 w 3262"/>
              <a:gd name="T17" fmla="*/ 3252 h 3252"/>
              <a:gd name="T18" fmla="*/ 1108 w 3262"/>
              <a:gd name="T19" fmla="*/ 3252 h 3252"/>
              <a:gd name="T20" fmla="*/ 1108 w 3262"/>
              <a:gd name="T21" fmla="*/ 2146 h 3252"/>
              <a:gd name="T22" fmla="*/ 0 w 3262"/>
              <a:gd name="T23" fmla="*/ 2146 h 3252"/>
              <a:gd name="T24" fmla="*/ 0 w 3262"/>
              <a:gd name="T25" fmla="*/ 1106 h 3252"/>
              <a:gd name="T26" fmla="*/ 0 w 3262"/>
              <a:gd name="T27" fmla="*/ 1106 h 3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262" h="3252">
                <a:moveTo>
                  <a:pt x="0" y="1106"/>
                </a:moveTo>
                <a:lnTo>
                  <a:pt x="1108" y="1106"/>
                </a:lnTo>
                <a:lnTo>
                  <a:pt x="1108" y="0"/>
                </a:lnTo>
                <a:lnTo>
                  <a:pt x="2154" y="0"/>
                </a:lnTo>
                <a:lnTo>
                  <a:pt x="2154" y="1106"/>
                </a:lnTo>
                <a:lnTo>
                  <a:pt x="3262" y="1106"/>
                </a:lnTo>
                <a:lnTo>
                  <a:pt x="3262" y="2146"/>
                </a:lnTo>
                <a:lnTo>
                  <a:pt x="2154" y="2146"/>
                </a:lnTo>
                <a:lnTo>
                  <a:pt x="2154" y="3252"/>
                </a:lnTo>
                <a:lnTo>
                  <a:pt x="1108" y="3252"/>
                </a:lnTo>
                <a:lnTo>
                  <a:pt x="1108" y="2146"/>
                </a:lnTo>
                <a:lnTo>
                  <a:pt x="0" y="2146"/>
                </a:lnTo>
                <a:lnTo>
                  <a:pt x="0" y="1106"/>
                </a:lnTo>
                <a:lnTo>
                  <a:pt x="0" y="110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矩形 108">
            <a:extLst>
              <a:ext uri="{FF2B5EF4-FFF2-40B4-BE49-F238E27FC236}">
                <a16:creationId xmlns:a16="http://schemas.microsoft.com/office/drawing/2014/main" id="{E5A1D9FF-8436-4EF9-AA36-D1D6EC6DCFEF}"/>
              </a:ext>
            </a:extLst>
          </p:cNvPr>
          <p:cNvSpPr/>
          <p:nvPr userDrawn="1"/>
        </p:nvSpPr>
        <p:spPr>
          <a:xfrm>
            <a:off x="0" y="4983086"/>
            <a:ext cx="12192000" cy="19344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4A1D33E0-5B29-46E4-85CD-9E5BE794E199}"/>
              </a:ext>
            </a:extLst>
          </p:cNvPr>
          <p:cNvGrpSpPr/>
          <p:nvPr userDrawn="1"/>
        </p:nvGrpSpPr>
        <p:grpSpPr>
          <a:xfrm flipH="1">
            <a:off x="4618130" y="2527553"/>
            <a:ext cx="6900768" cy="3609722"/>
            <a:chOff x="673458" y="3168650"/>
            <a:chExt cx="5672138" cy="2967038"/>
          </a:xfrm>
        </p:grpSpPr>
        <p:sp>
          <p:nvSpPr>
            <p:cNvPr id="7" name="Freeform 10">
              <a:extLst>
                <a:ext uri="{FF2B5EF4-FFF2-40B4-BE49-F238E27FC236}">
                  <a16:creationId xmlns:a16="http://schemas.microsoft.com/office/drawing/2014/main" id="{A9BAB96B-125B-4CC7-982B-DC27FC7D18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458" y="5391149"/>
              <a:ext cx="5672138" cy="725487"/>
            </a:xfrm>
            <a:custGeom>
              <a:avLst/>
              <a:gdLst>
                <a:gd name="T0" fmla="*/ 4299 w 4897"/>
                <a:gd name="T1" fmla="*/ 0 h 582"/>
                <a:gd name="T2" fmla="*/ 1819 w 4897"/>
                <a:gd name="T3" fmla="*/ 0 h 582"/>
                <a:gd name="T4" fmla="*/ 1812 w 4897"/>
                <a:gd name="T5" fmla="*/ 187 h 582"/>
                <a:gd name="T6" fmla="*/ 1801 w 4897"/>
                <a:gd name="T7" fmla="*/ 479 h 582"/>
                <a:gd name="T8" fmla="*/ 1701 w 4897"/>
                <a:gd name="T9" fmla="*/ 492 h 582"/>
                <a:gd name="T10" fmla="*/ 1649 w 4897"/>
                <a:gd name="T11" fmla="*/ 223 h 582"/>
                <a:gd name="T12" fmla="*/ 1605 w 4897"/>
                <a:gd name="T13" fmla="*/ 0 h 582"/>
                <a:gd name="T14" fmla="*/ 1341 w 4897"/>
                <a:gd name="T15" fmla="*/ 0 h 582"/>
                <a:gd name="T16" fmla="*/ 1266 w 4897"/>
                <a:gd name="T17" fmla="*/ 512 h 582"/>
                <a:gd name="T18" fmla="*/ 1167 w 4897"/>
                <a:gd name="T19" fmla="*/ 512 h 582"/>
                <a:gd name="T20" fmla="*/ 1137 w 4897"/>
                <a:gd name="T21" fmla="*/ 0 h 582"/>
                <a:gd name="T22" fmla="*/ 63 w 4897"/>
                <a:gd name="T23" fmla="*/ 1 h 582"/>
                <a:gd name="T24" fmla="*/ 31 w 4897"/>
                <a:gd name="T25" fmla="*/ 75 h 582"/>
                <a:gd name="T26" fmla="*/ 469 w 4897"/>
                <a:gd name="T27" fmla="*/ 485 h 582"/>
                <a:gd name="T28" fmla="*/ 732 w 4897"/>
                <a:gd name="T29" fmla="*/ 582 h 582"/>
                <a:gd name="T30" fmla="*/ 4496 w 4897"/>
                <a:gd name="T31" fmla="*/ 582 h 582"/>
                <a:gd name="T32" fmla="*/ 4715 w 4897"/>
                <a:gd name="T33" fmla="*/ 254 h 582"/>
                <a:gd name="T34" fmla="*/ 4299 w 4897"/>
                <a:gd name="T35" fmla="*/ 0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97" h="582">
                  <a:moveTo>
                    <a:pt x="4299" y="0"/>
                  </a:moveTo>
                  <a:cubicBezTo>
                    <a:pt x="1819" y="0"/>
                    <a:pt x="1819" y="0"/>
                    <a:pt x="1819" y="0"/>
                  </a:cubicBezTo>
                  <a:cubicBezTo>
                    <a:pt x="1816" y="62"/>
                    <a:pt x="1814" y="125"/>
                    <a:pt x="1812" y="187"/>
                  </a:cubicBezTo>
                  <a:cubicBezTo>
                    <a:pt x="1808" y="284"/>
                    <a:pt x="1804" y="382"/>
                    <a:pt x="1801" y="479"/>
                  </a:cubicBezTo>
                  <a:cubicBezTo>
                    <a:pt x="1701" y="492"/>
                    <a:pt x="1701" y="492"/>
                    <a:pt x="1701" y="492"/>
                  </a:cubicBezTo>
                  <a:cubicBezTo>
                    <a:pt x="1684" y="402"/>
                    <a:pt x="1666" y="313"/>
                    <a:pt x="1649" y="223"/>
                  </a:cubicBezTo>
                  <a:cubicBezTo>
                    <a:pt x="1634" y="149"/>
                    <a:pt x="1620" y="75"/>
                    <a:pt x="1605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266" y="512"/>
                    <a:pt x="1266" y="512"/>
                    <a:pt x="1266" y="512"/>
                  </a:cubicBezTo>
                  <a:cubicBezTo>
                    <a:pt x="1167" y="512"/>
                    <a:pt x="1167" y="512"/>
                    <a:pt x="1167" y="512"/>
                  </a:cubicBezTo>
                  <a:cubicBezTo>
                    <a:pt x="1137" y="0"/>
                    <a:pt x="1137" y="0"/>
                    <a:pt x="1137" y="0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20" y="1"/>
                    <a:pt x="0" y="49"/>
                    <a:pt x="31" y="75"/>
                  </a:cubicBezTo>
                  <a:cubicBezTo>
                    <a:pt x="469" y="485"/>
                    <a:pt x="469" y="485"/>
                    <a:pt x="469" y="485"/>
                  </a:cubicBezTo>
                  <a:cubicBezTo>
                    <a:pt x="540" y="547"/>
                    <a:pt x="634" y="582"/>
                    <a:pt x="732" y="582"/>
                  </a:cubicBezTo>
                  <a:cubicBezTo>
                    <a:pt x="4496" y="582"/>
                    <a:pt x="4496" y="582"/>
                    <a:pt x="4496" y="582"/>
                  </a:cubicBezTo>
                  <a:cubicBezTo>
                    <a:pt x="4721" y="582"/>
                    <a:pt x="4897" y="373"/>
                    <a:pt x="4715" y="254"/>
                  </a:cubicBezTo>
                  <a:cubicBezTo>
                    <a:pt x="4299" y="0"/>
                    <a:pt x="4299" y="0"/>
                    <a:pt x="4299" y="0"/>
                  </a:cubicBezTo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Freeform 11">
              <a:extLst>
                <a:ext uri="{FF2B5EF4-FFF2-40B4-BE49-F238E27FC236}">
                  <a16:creationId xmlns:a16="http://schemas.microsoft.com/office/drawing/2014/main" id="{7FD5872C-61B4-477C-9E02-C91A13B27C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00671" y="3876675"/>
              <a:ext cx="1666875" cy="1025525"/>
            </a:xfrm>
            <a:custGeom>
              <a:avLst/>
              <a:gdLst>
                <a:gd name="T0" fmla="*/ 0 w 1439"/>
                <a:gd name="T1" fmla="*/ 884 h 886"/>
                <a:gd name="T2" fmla="*/ 0 w 1439"/>
                <a:gd name="T3" fmla="*/ 174 h 886"/>
                <a:gd name="T4" fmla="*/ 174 w 1439"/>
                <a:gd name="T5" fmla="*/ 0 h 886"/>
                <a:gd name="T6" fmla="*/ 1265 w 1439"/>
                <a:gd name="T7" fmla="*/ 0 h 886"/>
                <a:gd name="T8" fmla="*/ 1439 w 1439"/>
                <a:gd name="T9" fmla="*/ 174 h 886"/>
                <a:gd name="T10" fmla="*/ 1439 w 1439"/>
                <a:gd name="T11" fmla="*/ 886 h 886"/>
                <a:gd name="T12" fmla="*/ 0 w 1439"/>
                <a:gd name="T13" fmla="*/ 884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9" h="886">
                  <a:moveTo>
                    <a:pt x="0" y="884"/>
                  </a:moveTo>
                  <a:cubicBezTo>
                    <a:pt x="0" y="174"/>
                    <a:pt x="0" y="174"/>
                    <a:pt x="0" y="174"/>
                  </a:cubicBezTo>
                  <a:cubicBezTo>
                    <a:pt x="0" y="78"/>
                    <a:pt x="78" y="0"/>
                    <a:pt x="174" y="0"/>
                  </a:cubicBezTo>
                  <a:cubicBezTo>
                    <a:pt x="1265" y="0"/>
                    <a:pt x="1265" y="0"/>
                    <a:pt x="1265" y="0"/>
                  </a:cubicBezTo>
                  <a:cubicBezTo>
                    <a:pt x="1361" y="0"/>
                    <a:pt x="1439" y="78"/>
                    <a:pt x="1439" y="174"/>
                  </a:cubicBezTo>
                  <a:cubicBezTo>
                    <a:pt x="1439" y="886"/>
                    <a:pt x="1439" y="886"/>
                    <a:pt x="1439" y="886"/>
                  </a:cubicBezTo>
                  <a:cubicBezTo>
                    <a:pt x="0" y="884"/>
                    <a:pt x="0" y="884"/>
                    <a:pt x="0" y="884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Freeform 12">
              <a:extLst>
                <a:ext uri="{FF2B5EF4-FFF2-40B4-BE49-F238E27FC236}">
                  <a16:creationId xmlns:a16="http://schemas.microsoft.com/office/drawing/2014/main" id="{B673B9F6-7FDF-48F7-83EC-2E152D34D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2208" y="3876675"/>
              <a:ext cx="1668463" cy="1025525"/>
            </a:xfrm>
            <a:custGeom>
              <a:avLst/>
              <a:gdLst>
                <a:gd name="T0" fmla="*/ 0 w 1439"/>
                <a:gd name="T1" fmla="*/ 884 h 886"/>
                <a:gd name="T2" fmla="*/ 0 w 1439"/>
                <a:gd name="T3" fmla="*/ 174 h 886"/>
                <a:gd name="T4" fmla="*/ 174 w 1439"/>
                <a:gd name="T5" fmla="*/ 0 h 886"/>
                <a:gd name="T6" fmla="*/ 1265 w 1439"/>
                <a:gd name="T7" fmla="*/ 0 h 886"/>
                <a:gd name="T8" fmla="*/ 1439 w 1439"/>
                <a:gd name="T9" fmla="*/ 174 h 886"/>
                <a:gd name="T10" fmla="*/ 1439 w 1439"/>
                <a:gd name="T11" fmla="*/ 886 h 886"/>
                <a:gd name="T12" fmla="*/ 0 w 1439"/>
                <a:gd name="T13" fmla="*/ 884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39" h="886">
                  <a:moveTo>
                    <a:pt x="0" y="884"/>
                  </a:moveTo>
                  <a:cubicBezTo>
                    <a:pt x="0" y="174"/>
                    <a:pt x="0" y="174"/>
                    <a:pt x="0" y="174"/>
                  </a:cubicBezTo>
                  <a:cubicBezTo>
                    <a:pt x="0" y="78"/>
                    <a:pt x="78" y="0"/>
                    <a:pt x="174" y="0"/>
                  </a:cubicBezTo>
                  <a:cubicBezTo>
                    <a:pt x="1265" y="0"/>
                    <a:pt x="1265" y="0"/>
                    <a:pt x="1265" y="0"/>
                  </a:cubicBezTo>
                  <a:cubicBezTo>
                    <a:pt x="1361" y="0"/>
                    <a:pt x="1439" y="78"/>
                    <a:pt x="1439" y="174"/>
                  </a:cubicBezTo>
                  <a:cubicBezTo>
                    <a:pt x="1439" y="886"/>
                    <a:pt x="1439" y="886"/>
                    <a:pt x="1439" y="886"/>
                  </a:cubicBezTo>
                  <a:cubicBezTo>
                    <a:pt x="0" y="884"/>
                    <a:pt x="0" y="884"/>
                    <a:pt x="0" y="884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Freeform 13">
              <a:extLst>
                <a:ext uri="{FF2B5EF4-FFF2-40B4-BE49-F238E27FC236}">
                  <a16:creationId xmlns:a16="http://schemas.microsoft.com/office/drawing/2014/main" id="{A00122F9-FFDB-4672-8533-D1F38C2106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7546" y="3876675"/>
              <a:ext cx="1668463" cy="1027113"/>
            </a:xfrm>
            <a:custGeom>
              <a:avLst/>
              <a:gdLst>
                <a:gd name="T0" fmla="*/ 0 w 1440"/>
                <a:gd name="T1" fmla="*/ 888 h 888"/>
                <a:gd name="T2" fmla="*/ 0 w 1440"/>
                <a:gd name="T3" fmla="*/ 174 h 888"/>
                <a:gd name="T4" fmla="*/ 174 w 1440"/>
                <a:gd name="T5" fmla="*/ 0 h 888"/>
                <a:gd name="T6" fmla="*/ 1266 w 1440"/>
                <a:gd name="T7" fmla="*/ 0 h 888"/>
                <a:gd name="T8" fmla="*/ 1440 w 1440"/>
                <a:gd name="T9" fmla="*/ 174 h 888"/>
                <a:gd name="T10" fmla="*/ 1440 w 1440"/>
                <a:gd name="T11" fmla="*/ 886 h 888"/>
                <a:gd name="T12" fmla="*/ 0 w 1440"/>
                <a:gd name="T13" fmla="*/ 888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0" h="888">
                  <a:moveTo>
                    <a:pt x="0" y="888"/>
                  </a:moveTo>
                  <a:cubicBezTo>
                    <a:pt x="0" y="174"/>
                    <a:pt x="0" y="174"/>
                    <a:pt x="0" y="174"/>
                  </a:cubicBezTo>
                  <a:cubicBezTo>
                    <a:pt x="0" y="78"/>
                    <a:pt x="78" y="0"/>
                    <a:pt x="174" y="0"/>
                  </a:cubicBezTo>
                  <a:cubicBezTo>
                    <a:pt x="1266" y="0"/>
                    <a:pt x="1266" y="0"/>
                    <a:pt x="1266" y="0"/>
                  </a:cubicBezTo>
                  <a:cubicBezTo>
                    <a:pt x="1362" y="0"/>
                    <a:pt x="1440" y="78"/>
                    <a:pt x="1440" y="174"/>
                  </a:cubicBezTo>
                  <a:cubicBezTo>
                    <a:pt x="1440" y="886"/>
                    <a:pt x="1440" y="886"/>
                    <a:pt x="1440" y="886"/>
                  </a:cubicBezTo>
                  <a:cubicBezTo>
                    <a:pt x="0" y="888"/>
                    <a:pt x="0" y="888"/>
                    <a:pt x="0" y="88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Freeform 14">
              <a:extLst>
                <a:ext uri="{FF2B5EF4-FFF2-40B4-BE49-F238E27FC236}">
                  <a16:creationId xmlns:a16="http://schemas.microsoft.com/office/drawing/2014/main" id="{FCEADC01-387B-4FCF-B28A-1E03296989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00671" y="3916363"/>
              <a:ext cx="1666875" cy="985838"/>
            </a:xfrm>
            <a:custGeom>
              <a:avLst/>
              <a:gdLst>
                <a:gd name="T0" fmla="*/ 1368 w 1439"/>
                <a:gd name="T1" fmla="*/ 0 h 852"/>
                <a:gd name="T2" fmla="*/ 0 w 1439"/>
                <a:gd name="T3" fmla="*/ 844 h 852"/>
                <a:gd name="T4" fmla="*/ 0 w 1439"/>
                <a:gd name="T5" fmla="*/ 850 h 852"/>
                <a:gd name="T6" fmla="*/ 1439 w 1439"/>
                <a:gd name="T7" fmla="*/ 852 h 852"/>
                <a:gd name="T8" fmla="*/ 1439 w 1439"/>
                <a:gd name="T9" fmla="*/ 140 h 852"/>
                <a:gd name="T10" fmla="*/ 1368 w 1439"/>
                <a:gd name="T11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39" h="852">
                  <a:moveTo>
                    <a:pt x="1368" y="0"/>
                  </a:moveTo>
                  <a:cubicBezTo>
                    <a:pt x="0" y="844"/>
                    <a:pt x="0" y="844"/>
                    <a:pt x="0" y="844"/>
                  </a:cubicBezTo>
                  <a:cubicBezTo>
                    <a:pt x="0" y="850"/>
                    <a:pt x="0" y="850"/>
                    <a:pt x="0" y="850"/>
                  </a:cubicBezTo>
                  <a:cubicBezTo>
                    <a:pt x="1439" y="852"/>
                    <a:pt x="1439" y="852"/>
                    <a:pt x="1439" y="852"/>
                  </a:cubicBezTo>
                  <a:cubicBezTo>
                    <a:pt x="1439" y="140"/>
                    <a:pt x="1439" y="140"/>
                    <a:pt x="1439" y="140"/>
                  </a:cubicBezTo>
                  <a:cubicBezTo>
                    <a:pt x="1439" y="83"/>
                    <a:pt x="1411" y="32"/>
                    <a:pt x="1368" y="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Freeform 15">
              <a:extLst>
                <a:ext uri="{FF2B5EF4-FFF2-40B4-BE49-F238E27FC236}">
                  <a16:creationId xmlns:a16="http://schemas.microsoft.com/office/drawing/2014/main" id="{84137F1D-6B81-4593-A40A-8C31648EE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7546" y="3921125"/>
              <a:ext cx="1668463" cy="982663"/>
            </a:xfrm>
            <a:custGeom>
              <a:avLst/>
              <a:gdLst>
                <a:gd name="T0" fmla="*/ 1375 w 1439"/>
                <a:gd name="T1" fmla="*/ 0 h 849"/>
                <a:gd name="T2" fmla="*/ 0 w 1439"/>
                <a:gd name="T3" fmla="*/ 849 h 849"/>
                <a:gd name="T4" fmla="*/ 1439 w 1439"/>
                <a:gd name="T5" fmla="*/ 847 h 849"/>
                <a:gd name="T6" fmla="*/ 1439 w 1439"/>
                <a:gd name="T7" fmla="*/ 135 h 849"/>
                <a:gd name="T8" fmla="*/ 1375 w 1439"/>
                <a:gd name="T9" fmla="*/ 0 h 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9" h="849">
                  <a:moveTo>
                    <a:pt x="1375" y="0"/>
                  </a:moveTo>
                  <a:cubicBezTo>
                    <a:pt x="0" y="849"/>
                    <a:pt x="0" y="849"/>
                    <a:pt x="0" y="849"/>
                  </a:cubicBezTo>
                  <a:cubicBezTo>
                    <a:pt x="1439" y="847"/>
                    <a:pt x="1439" y="847"/>
                    <a:pt x="1439" y="847"/>
                  </a:cubicBezTo>
                  <a:cubicBezTo>
                    <a:pt x="1439" y="135"/>
                    <a:pt x="1439" y="135"/>
                    <a:pt x="1439" y="135"/>
                  </a:cubicBezTo>
                  <a:cubicBezTo>
                    <a:pt x="1439" y="81"/>
                    <a:pt x="1414" y="32"/>
                    <a:pt x="1375" y="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id="{4C17879D-CB8A-4984-B538-E72C3A7715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2208" y="3921125"/>
              <a:ext cx="1668463" cy="985838"/>
            </a:xfrm>
            <a:custGeom>
              <a:avLst/>
              <a:gdLst>
                <a:gd name="T0" fmla="*/ 1368 w 1439"/>
                <a:gd name="T1" fmla="*/ 0 h 852"/>
                <a:gd name="T2" fmla="*/ 0 w 1439"/>
                <a:gd name="T3" fmla="*/ 844 h 852"/>
                <a:gd name="T4" fmla="*/ 0 w 1439"/>
                <a:gd name="T5" fmla="*/ 850 h 852"/>
                <a:gd name="T6" fmla="*/ 1439 w 1439"/>
                <a:gd name="T7" fmla="*/ 852 h 852"/>
                <a:gd name="T8" fmla="*/ 1439 w 1439"/>
                <a:gd name="T9" fmla="*/ 140 h 852"/>
                <a:gd name="T10" fmla="*/ 1368 w 1439"/>
                <a:gd name="T11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39" h="852">
                  <a:moveTo>
                    <a:pt x="1368" y="0"/>
                  </a:moveTo>
                  <a:cubicBezTo>
                    <a:pt x="0" y="844"/>
                    <a:pt x="0" y="844"/>
                    <a:pt x="0" y="844"/>
                  </a:cubicBezTo>
                  <a:cubicBezTo>
                    <a:pt x="0" y="850"/>
                    <a:pt x="0" y="850"/>
                    <a:pt x="0" y="850"/>
                  </a:cubicBezTo>
                  <a:cubicBezTo>
                    <a:pt x="1439" y="852"/>
                    <a:pt x="1439" y="852"/>
                    <a:pt x="1439" y="852"/>
                  </a:cubicBezTo>
                  <a:cubicBezTo>
                    <a:pt x="1439" y="140"/>
                    <a:pt x="1439" y="140"/>
                    <a:pt x="1439" y="140"/>
                  </a:cubicBezTo>
                  <a:cubicBezTo>
                    <a:pt x="1439" y="83"/>
                    <a:pt x="1411" y="32"/>
                    <a:pt x="1368" y="0"/>
                  </a:cubicBezTo>
                </a:path>
              </a:pathLst>
            </a:custGeom>
            <a:solidFill>
              <a:srgbClr val="0D55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76B95634-FC1E-47FA-8B40-69DAD54304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7783" y="5226050"/>
              <a:ext cx="4692650" cy="400050"/>
            </a:xfrm>
            <a:custGeom>
              <a:avLst/>
              <a:gdLst>
                <a:gd name="T0" fmla="*/ 2902 w 2956"/>
                <a:gd name="T1" fmla="*/ 58 h 252"/>
                <a:gd name="T2" fmla="*/ 2900 w 2956"/>
                <a:gd name="T3" fmla="*/ 58 h 252"/>
                <a:gd name="T4" fmla="*/ 2900 w 2956"/>
                <a:gd name="T5" fmla="*/ 0 h 252"/>
                <a:gd name="T6" fmla="*/ 16 w 2956"/>
                <a:gd name="T7" fmla="*/ 0 h 252"/>
                <a:gd name="T8" fmla="*/ 16 w 2956"/>
                <a:gd name="T9" fmla="*/ 58 h 252"/>
                <a:gd name="T10" fmla="*/ 0 w 2956"/>
                <a:gd name="T11" fmla="*/ 58 h 252"/>
                <a:gd name="T12" fmla="*/ 22 w 2956"/>
                <a:gd name="T13" fmla="*/ 252 h 252"/>
                <a:gd name="T14" fmla="*/ 51 w 2956"/>
                <a:gd name="T15" fmla="*/ 252 h 252"/>
                <a:gd name="T16" fmla="*/ 59 w 2956"/>
                <a:gd name="T17" fmla="*/ 252 h 252"/>
                <a:gd name="T18" fmla="*/ 88 w 2956"/>
                <a:gd name="T19" fmla="*/ 252 h 252"/>
                <a:gd name="T20" fmla="*/ 102 w 2956"/>
                <a:gd name="T21" fmla="*/ 124 h 252"/>
                <a:gd name="T22" fmla="*/ 2854 w 2956"/>
                <a:gd name="T23" fmla="*/ 124 h 252"/>
                <a:gd name="T24" fmla="*/ 2869 w 2956"/>
                <a:gd name="T25" fmla="*/ 252 h 252"/>
                <a:gd name="T26" fmla="*/ 2898 w 2956"/>
                <a:gd name="T27" fmla="*/ 252 h 252"/>
                <a:gd name="T28" fmla="*/ 2905 w 2956"/>
                <a:gd name="T29" fmla="*/ 252 h 252"/>
                <a:gd name="T30" fmla="*/ 2935 w 2956"/>
                <a:gd name="T31" fmla="*/ 252 h 252"/>
                <a:gd name="T32" fmla="*/ 2956 w 2956"/>
                <a:gd name="T33" fmla="*/ 58 h 252"/>
                <a:gd name="T34" fmla="*/ 2902 w 2956"/>
                <a:gd name="T35" fmla="*/ 58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56" h="252">
                  <a:moveTo>
                    <a:pt x="2902" y="58"/>
                  </a:moveTo>
                  <a:lnTo>
                    <a:pt x="2900" y="58"/>
                  </a:lnTo>
                  <a:lnTo>
                    <a:pt x="2900" y="0"/>
                  </a:lnTo>
                  <a:lnTo>
                    <a:pt x="16" y="0"/>
                  </a:lnTo>
                  <a:lnTo>
                    <a:pt x="16" y="58"/>
                  </a:lnTo>
                  <a:lnTo>
                    <a:pt x="0" y="58"/>
                  </a:lnTo>
                  <a:lnTo>
                    <a:pt x="22" y="252"/>
                  </a:lnTo>
                  <a:lnTo>
                    <a:pt x="51" y="252"/>
                  </a:lnTo>
                  <a:lnTo>
                    <a:pt x="59" y="252"/>
                  </a:lnTo>
                  <a:lnTo>
                    <a:pt x="88" y="252"/>
                  </a:lnTo>
                  <a:lnTo>
                    <a:pt x="102" y="124"/>
                  </a:lnTo>
                  <a:lnTo>
                    <a:pt x="2854" y="124"/>
                  </a:lnTo>
                  <a:lnTo>
                    <a:pt x="2869" y="252"/>
                  </a:lnTo>
                  <a:lnTo>
                    <a:pt x="2898" y="252"/>
                  </a:lnTo>
                  <a:lnTo>
                    <a:pt x="2905" y="252"/>
                  </a:lnTo>
                  <a:lnTo>
                    <a:pt x="2935" y="252"/>
                  </a:lnTo>
                  <a:lnTo>
                    <a:pt x="2956" y="58"/>
                  </a:lnTo>
                  <a:lnTo>
                    <a:pt x="2902" y="58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ADED1070-312A-4F0A-B4C0-AA03D32649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446" y="4902200"/>
              <a:ext cx="5014913" cy="234950"/>
            </a:xfrm>
            <a:custGeom>
              <a:avLst/>
              <a:gdLst>
                <a:gd name="T0" fmla="*/ 0 w 3159"/>
                <a:gd name="T1" fmla="*/ 148 h 148"/>
                <a:gd name="T2" fmla="*/ 3159 w 3159"/>
                <a:gd name="T3" fmla="*/ 148 h 148"/>
                <a:gd name="T4" fmla="*/ 3060 w 3159"/>
                <a:gd name="T5" fmla="*/ 0 h 148"/>
                <a:gd name="T6" fmla="*/ 95 w 3159"/>
                <a:gd name="T7" fmla="*/ 0 h 148"/>
                <a:gd name="T8" fmla="*/ 0 w 3159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59" h="148">
                  <a:moveTo>
                    <a:pt x="0" y="148"/>
                  </a:moveTo>
                  <a:lnTo>
                    <a:pt x="3159" y="148"/>
                  </a:lnTo>
                  <a:lnTo>
                    <a:pt x="3060" y="0"/>
                  </a:lnTo>
                  <a:lnTo>
                    <a:pt x="95" y="0"/>
                  </a:lnTo>
                  <a:lnTo>
                    <a:pt x="0" y="148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CA459E0F-6E17-4EA9-BF29-4C5E86622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446" y="4902200"/>
              <a:ext cx="5014913" cy="234950"/>
            </a:xfrm>
            <a:custGeom>
              <a:avLst/>
              <a:gdLst>
                <a:gd name="T0" fmla="*/ 0 w 3159"/>
                <a:gd name="T1" fmla="*/ 148 h 148"/>
                <a:gd name="T2" fmla="*/ 3159 w 3159"/>
                <a:gd name="T3" fmla="*/ 148 h 148"/>
                <a:gd name="T4" fmla="*/ 3060 w 3159"/>
                <a:gd name="T5" fmla="*/ 0 h 148"/>
                <a:gd name="T6" fmla="*/ 95 w 3159"/>
                <a:gd name="T7" fmla="*/ 0 h 148"/>
                <a:gd name="T8" fmla="*/ 0 w 3159"/>
                <a:gd name="T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59" h="148">
                  <a:moveTo>
                    <a:pt x="0" y="148"/>
                  </a:moveTo>
                  <a:lnTo>
                    <a:pt x="3159" y="148"/>
                  </a:lnTo>
                  <a:lnTo>
                    <a:pt x="3060" y="0"/>
                  </a:lnTo>
                  <a:lnTo>
                    <a:pt x="95" y="0"/>
                  </a:lnTo>
                  <a:lnTo>
                    <a:pt x="0" y="14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id="{F3E716DC-2846-4D3B-9DC4-413A8C6356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00671" y="5073650"/>
              <a:ext cx="1670050" cy="309563"/>
            </a:xfrm>
            <a:custGeom>
              <a:avLst/>
              <a:gdLst>
                <a:gd name="T0" fmla="*/ 1374 w 1441"/>
                <a:gd name="T1" fmla="*/ 268 h 268"/>
                <a:gd name="T2" fmla="*/ 66 w 1441"/>
                <a:gd name="T3" fmla="*/ 268 h 268"/>
                <a:gd name="T4" fmla="*/ 0 w 1441"/>
                <a:gd name="T5" fmla="*/ 201 h 268"/>
                <a:gd name="T6" fmla="*/ 0 w 1441"/>
                <a:gd name="T7" fmla="*/ 66 h 268"/>
                <a:gd name="T8" fmla="*/ 66 w 1441"/>
                <a:gd name="T9" fmla="*/ 0 h 268"/>
                <a:gd name="T10" fmla="*/ 1374 w 1441"/>
                <a:gd name="T11" fmla="*/ 0 h 268"/>
                <a:gd name="T12" fmla="*/ 1441 w 1441"/>
                <a:gd name="T13" fmla="*/ 66 h 268"/>
                <a:gd name="T14" fmla="*/ 1441 w 1441"/>
                <a:gd name="T15" fmla="*/ 201 h 268"/>
                <a:gd name="T16" fmla="*/ 1374 w 1441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1" h="268">
                  <a:moveTo>
                    <a:pt x="1374" y="268"/>
                  </a:moveTo>
                  <a:cubicBezTo>
                    <a:pt x="66" y="268"/>
                    <a:pt x="66" y="268"/>
                    <a:pt x="66" y="268"/>
                  </a:cubicBezTo>
                  <a:cubicBezTo>
                    <a:pt x="30" y="268"/>
                    <a:pt x="0" y="238"/>
                    <a:pt x="0" y="201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374" y="0"/>
                    <a:pt x="1374" y="0"/>
                    <a:pt x="1374" y="0"/>
                  </a:cubicBezTo>
                  <a:cubicBezTo>
                    <a:pt x="1411" y="0"/>
                    <a:pt x="1441" y="30"/>
                    <a:pt x="1441" y="66"/>
                  </a:cubicBezTo>
                  <a:cubicBezTo>
                    <a:pt x="1441" y="201"/>
                    <a:pt x="1441" y="201"/>
                    <a:pt x="1441" y="201"/>
                  </a:cubicBezTo>
                  <a:cubicBezTo>
                    <a:pt x="1441" y="238"/>
                    <a:pt x="1411" y="268"/>
                    <a:pt x="1374" y="26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6588369F-50CB-454B-8C4E-A4C01D42FA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7446" y="5080000"/>
              <a:ext cx="1670050" cy="311150"/>
            </a:xfrm>
            <a:custGeom>
              <a:avLst/>
              <a:gdLst>
                <a:gd name="T0" fmla="*/ 1375 w 1441"/>
                <a:gd name="T1" fmla="*/ 268 h 268"/>
                <a:gd name="T2" fmla="*/ 67 w 1441"/>
                <a:gd name="T3" fmla="*/ 268 h 268"/>
                <a:gd name="T4" fmla="*/ 0 w 1441"/>
                <a:gd name="T5" fmla="*/ 202 h 268"/>
                <a:gd name="T6" fmla="*/ 0 w 1441"/>
                <a:gd name="T7" fmla="*/ 67 h 268"/>
                <a:gd name="T8" fmla="*/ 67 w 1441"/>
                <a:gd name="T9" fmla="*/ 0 h 268"/>
                <a:gd name="T10" fmla="*/ 1375 w 1441"/>
                <a:gd name="T11" fmla="*/ 0 h 268"/>
                <a:gd name="T12" fmla="*/ 1441 w 1441"/>
                <a:gd name="T13" fmla="*/ 67 h 268"/>
                <a:gd name="T14" fmla="*/ 1441 w 1441"/>
                <a:gd name="T15" fmla="*/ 202 h 268"/>
                <a:gd name="T16" fmla="*/ 1375 w 1441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1" h="268">
                  <a:moveTo>
                    <a:pt x="1375" y="268"/>
                  </a:moveTo>
                  <a:cubicBezTo>
                    <a:pt x="67" y="268"/>
                    <a:pt x="67" y="268"/>
                    <a:pt x="67" y="268"/>
                  </a:cubicBezTo>
                  <a:cubicBezTo>
                    <a:pt x="30" y="268"/>
                    <a:pt x="0" y="239"/>
                    <a:pt x="0" y="202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375" y="0"/>
                    <a:pt x="1375" y="0"/>
                    <a:pt x="1375" y="0"/>
                  </a:cubicBezTo>
                  <a:cubicBezTo>
                    <a:pt x="1412" y="0"/>
                    <a:pt x="1441" y="30"/>
                    <a:pt x="1441" y="67"/>
                  </a:cubicBezTo>
                  <a:cubicBezTo>
                    <a:pt x="1441" y="202"/>
                    <a:pt x="1441" y="202"/>
                    <a:pt x="1441" y="202"/>
                  </a:cubicBezTo>
                  <a:cubicBezTo>
                    <a:pt x="1441" y="239"/>
                    <a:pt x="1412" y="268"/>
                    <a:pt x="1375" y="26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9FD9F656-01DE-4A17-96F4-ADCECF46CC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5958" y="5073650"/>
              <a:ext cx="1670050" cy="309563"/>
            </a:xfrm>
            <a:custGeom>
              <a:avLst/>
              <a:gdLst>
                <a:gd name="T0" fmla="*/ 1375 w 1441"/>
                <a:gd name="T1" fmla="*/ 268 h 268"/>
                <a:gd name="T2" fmla="*/ 67 w 1441"/>
                <a:gd name="T3" fmla="*/ 268 h 268"/>
                <a:gd name="T4" fmla="*/ 0 w 1441"/>
                <a:gd name="T5" fmla="*/ 201 h 268"/>
                <a:gd name="T6" fmla="*/ 0 w 1441"/>
                <a:gd name="T7" fmla="*/ 66 h 268"/>
                <a:gd name="T8" fmla="*/ 67 w 1441"/>
                <a:gd name="T9" fmla="*/ 0 h 268"/>
                <a:gd name="T10" fmla="*/ 1375 w 1441"/>
                <a:gd name="T11" fmla="*/ 0 h 268"/>
                <a:gd name="T12" fmla="*/ 1441 w 1441"/>
                <a:gd name="T13" fmla="*/ 66 h 268"/>
                <a:gd name="T14" fmla="*/ 1441 w 1441"/>
                <a:gd name="T15" fmla="*/ 201 h 268"/>
                <a:gd name="T16" fmla="*/ 1375 w 1441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1" h="268">
                  <a:moveTo>
                    <a:pt x="1375" y="268"/>
                  </a:moveTo>
                  <a:cubicBezTo>
                    <a:pt x="67" y="268"/>
                    <a:pt x="67" y="268"/>
                    <a:pt x="67" y="268"/>
                  </a:cubicBezTo>
                  <a:cubicBezTo>
                    <a:pt x="30" y="268"/>
                    <a:pt x="0" y="238"/>
                    <a:pt x="0" y="201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375" y="0"/>
                    <a:pt x="1375" y="0"/>
                    <a:pt x="1375" y="0"/>
                  </a:cubicBezTo>
                  <a:cubicBezTo>
                    <a:pt x="1411" y="0"/>
                    <a:pt x="1441" y="30"/>
                    <a:pt x="1441" y="66"/>
                  </a:cubicBezTo>
                  <a:cubicBezTo>
                    <a:pt x="1441" y="201"/>
                    <a:pt x="1441" y="201"/>
                    <a:pt x="1441" y="201"/>
                  </a:cubicBezTo>
                  <a:cubicBezTo>
                    <a:pt x="1441" y="238"/>
                    <a:pt x="1411" y="268"/>
                    <a:pt x="1375" y="26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CC7E6E13-0398-4F98-ABBF-1C091F2387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85196" y="4413250"/>
              <a:ext cx="309563" cy="976313"/>
            </a:xfrm>
            <a:custGeom>
              <a:avLst/>
              <a:gdLst>
                <a:gd name="T0" fmla="*/ 67 w 267"/>
                <a:gd name="T1" fmla="*/ 843 h 843"/>
                <a:gd name="T2" fmla="*/ 201 w 267"/>
                <a:gd name="T3" fmla="*/ 843 h 843"/>
                <a:gd name="T4" fmla="*/ 267 w 267"/>
                <a:gd name="T5" fmla="*/ 776 h 843"/>
                <a:gd name="T6" fmla="*/ 267 w 267"/>
                <a:gd name="T7" fmla="*/ 67 h 843"/>
                <a:gd name="T8" fmla="*/ 201 w 267"/>
                <a:gd name="T9" fmla="*/ 0 h 843"/>
                <a:gd name="T10" fmla="*/ 67 w 267"/>
                <a:gd name="T11" fmla="*/ 0 h 843"/>
                <a:gd name="T12" fmla="*/ 0 w 267"/>
                <a:gd name="T13" fmla="*/ 67 h 843"/>
                <a:gd name="T14" fmla="*/ 0 w 267"/>
                <a:gd name="T15" fmla="*/ 776 h 843"/>
                <a:gd name="T16" fmla="*/ 67 w 267"/>
                <a:gd name="T17" fmla="*/ 843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7" h="843">
                  <a:moveTo>
                    <a:pt x="67" y="843"/>
                  </a:moveTo>
                  <a:cubicBezTo>
                    <a:pt x="201" y="843"/>
                    <a:pt x="201" y="843"/>
                    <a:pt x="201" y="843"/>
                  </a:cubicBezTo>
                  <a:cubicBezTo>
                    <a:pt x="238" y="843"/>
                    <a:pt x="267" y="813"/>
                    <a:pt x="267" y="776"/>
                  </a:cubicBezTo>
                  <a:cubicBezTo>
                    <a:pt x="267" y="67"/>
                    <a:pt x="267" y="67"/>
                    <a:pt x="267" y="67"/>
                  </a:cubicBezTo>
                  <a:cubicBezTo>
                    <a:pt x="267" y="30"/>
                    <a:pt x="238" y="0"/>
                    <a:pt x="201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30" y="0"/>
                    <a:pt x="0" y="30"/>
                    <a:pt x="0" y="67"/>
                  </a:cubicBezTo>
                  <a:cubicBezTo>
                    <a:pt x="0" y="776"/>
                    <a:pt x="0" y="776"/>
                    <a:pt x="0" y="776"/>
                  </a:cubicBezTo>
                  <a:cubicBezTo>
                    <a:pt x="0" y="813"/>
                    <a:pt x="30" y="843"/>
                    <a:pt x="67" y="84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Freeform 24">
              <a:extLst>
                <a:ext uri="{FF2B5EF4-FFF2-40B4-BE49-F238E27FC236}">
                  <a16:creationId xmlns:a16="http://schemas.microsoft.com/office/drawing/2014/main" id="{0C2A9819-5FCC-403A-8234-7D9D6F0C20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8221" y="4413250"/>
              <a:ext cx="309563" cy="976313"/>
            </a:xfrm>
            <a:custGeom>
              <a:avLst/>
              <a:gdLst>
                <a:gd name="T0" fmla="*/ 66 w 267"/>
                <a:gd name="T1" fmla="*/ 843 h 843"/>
                <a:gd name="T2" fmla="*/ 201 w 267"/>
                <a:gd name="T3" fmla="*/ 843 h 843"/>
                <a:gd name="T4" fmla="*/ 267 w 267"/>
                <a:gd name="T5" fmla="*/ 776 h 843"/>
                <a:gd name="T6" fmla="*/ 267 w 267"/>
                <a:gd name="T7" fmla="*/ 67 h 843"/>
                <a:gd name="T8" fmla="*/ 201 w 267"/>
                <a:gd name="T9" fmla="*/ 0 h 843"/>
                <a:gd name="T10" fmla="*/ 66 w 267"/>
                <a:gd name="T11" fmla="*/ 0 h 843"/>
                <a:gd name="T12" fmla="*/ 0 w 267"/>
                <a:gd name="T13" fmla="*/ 67 h 843"/>
                <a:gd name="T14" fmla="*/ 0 w 267"/>
                <a:gd name="T15" fmla="*/ 776 h 843"/>
                <a:gd name="T16" fmla="*/ 66 w 267"/>
                <a:gd name="T17" fmla="*/ 843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7" h="843">
                  <a:moveTo>
                    <a:pt x="66" y="843"/>
                  </a:moveTo>
                  <a:cubicBezTo>
                    <a:pt x="201" y="843"/>
                    <a:pt x="201" y="843"/>
                    <a:pt x="201" y="843"/>
                  </a:cubicBezTo>
                  <a:cubicBezTo>
                    <a:pt x="237" y="843"/>
                    <a:pt x="267" y="813"/>
                    <a:pt x="267" y="776"/>
                  </a:cubicBezTo>
                  <a:cubicBezTo>
                    <a:pt x="267" y="67"/>
                    <a:pt x="267" y="67"/>
                    <a:pt x="267" y="67"/>
                  </a:cubicBezTo>
                  <a:cubicBezTo>
                    <a:pt x="267" y="30"/>
                    <a:pt x="237" y="0"/>
                    <a:pt x="201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29" y="0"/>
                    <a:pt x="0" y="30"/>
                    <a:pt x="0" y="67"/>
                  </a:cubicBezTo>
                  <a:cubicBezTo>
                    <a:pt x="0" y="776"/>
                    <a:pt x="0" y="776"/>
                    <a:pt x="0" y="776"/>
                  </a:cubicBezTo>
                  <a:cubicBezTo>
                    <a:pt x="0" y="813"/>
                    <a:pt x="29" y="843"/>
                    <a:pt x="66" y="843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25">
              <a:extLst>
                <a:ext uri="{FF2B5EF4-FFF2-40B4-BE49-F238E27FC236}">
                  <a16:creationId xmlns:a16="http://schemas.microsoft.com/office/drawing/2014/main" id="{B5BD2EA3-4BEB-436B-B082-C9937EB44D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0796" y="4318000"/>
              <a:ext cx="741363" cy="649288"/>
            </a:xfrm>
            <a:custGeom>
              <a:avLst/>
              <a:gdLst>
                <a:gd name="T0" fmla="*/ 112 w 640"/>
                <a:gd name="T1" fmla="*/ 560 h 561"/>
                <a:gd name="T2" fmla="*/ 415 w 640"/>
                <a:gd name="T3" fmla="*/ 511 h 561"/>
                <a:gd name="T4" fmla="*/ 426 w 640"/>
                <a:gd name="T5" fmla="*/ 510 h 561"/>
                <a:gd name="T6" fmla="*/ 597 w 640"/>
                <a:gd name="T7" fmla="*/ 532 h 561"/>
                <a:gd name="T8" fmla="*/ 640 w 640"/>
                <a:gd name="T9" fmla="*/ 495 h 561"/>
                <a:gd name="T10" fmla="*/ 638 w 640"/>
                <a:gd name="T11" fmla="*/ 484 h 561"/>
                <a:gd name="T12" fmla="*/ 584 w 640"/>
                <a:gd name="T13" fmla="*/ 176 h 561"/>
                <a:gd name="T14" fmla="*/ 584 w 640"/>
                <a:gd name="T15" fmla="*/ 42 h 561"/>
                <a:gd name="T16" fmla="*/ 536 w 640"/>
                <a:gd name="T17" fmla="*/ 7 h 561"/>
                <a:gd name="T18" fmla="*/ 495 w 640"/>
                <a:gd name="T19" fmla="*/ 18 h 561"/>
                <a:gd name="T20" fmla="*/ 485 w 640"/>
                <a:gd name="T21" fmla="*/ 19 h 561"/>
                <a:gd name="T22" fmla="*/ 40 w 640"/>
                <a:gd name="T23" fmla="*/ 19 h 561"/>
                <a:gd name="T24" fmla="*/ 3 w 640"/>
                <a:gd name="T25" fmla="*/ 48 h 561"/>
                <a:gd name="T26" fmla="*/ 2 w 640"/>
                <a:gd name="T27" fmla="*/ 53 h 561"/>
                <a:gd name="T28" fmla="*/ 4 w 640"/>
                <a:gd name="T29" fmla="*/ 75 h 561"/>
                <a:gd name="T30" fmla="*/ 62 w 640"/>
                <a:gd name="T31" fmla="*/ 346 h 561"/>
                <a:gd name="T32" fmla="*/ 63 w 640"/>
                <a:gd name="T33" fmla="*/ 520 h 561"/>
                <a:gd name="T34" fmla="*/ 85 w 640"/>
                <a:gd name="T35" fmla="*/ 555 h 561"/>
                <a:gd name="T36" fmla="*/ 90 w 640"/>
                <a:gd name="T37" fmla="*/ 557 h 561"/>
                <a:gd name="T38" fmla="*/ 112 w 640"/>
                <a:gd name="T39" fmla="*/ 560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0" h="561">
                  <a:moveTo>
                    <a:pt x="112" y="560"/>
                  </a:moveTo>
                  <a:cubicBezTo>
                    <a:pt x="415" y="511"/>
                    <a:pt x="415" y="511"/>
                    <a:pt x="415" y="511"/>
                  </a:cubicBezTo>
                  <a:cubicBezTo>
                    <a:pt x="419" y="510"/>
                    <a:pt x="422" y="510"/>
                    <a:pt x="426" y="510"/>
                  </a:cubicBezTo>
                  <a:cubicBezTo>
                    <a:pt x="597" y="532"/>
                    <a:pt x="597" y="532"/>
                    <a:pt x="597" y="532"/>
                  </a:cubicBezTo>
                  <a:cubicBezTo>
                    <a:pt x="620" y="535"/>
                    <a:pt x="640" y="518"/>
                    <a:pt x="640" y="495"/>
                  </a:cubicBezTo>
                  <a:cubicBezTo>
                    <a:pt x="640" y="491"/>
                    <a:pt x="639" y="487"/>
                    <a:pt x="638" y="484"/>
                  </a:cubicBezTo>
                  <a:cubicBezTo>
                    <a:pt x="629" y="453"/>
                    <a:pt x="581" y="294"/>
                    <a:pt x="584" y="176"/>
                  </a:cubicBezTo>
                  <a:cubicBezTo>
                    <a:pt x="586" y="114"/>
                    <a:pt x="585" y="70"/>
                    <a:pt x="584" y="42"/>
                  </a:cubicBezTo>
                  <a:cubicBezTo>
                    <a:pt x="583" y="17"/>
                    <a:pt x="560" y="0"/>
                    <a:pt x="536" y="7"/>
                  </a:cubicBezTo>
                  <a:cubicBezTo>
                    <a:pt x="495" y="18"/>
                    <a:pt x="495" y="18"/>
                    <a:pt x="495" y="18"/>
                  </a:cubicBezTo>
                  <a:cubicBezTo>
                    <a:pt x="492" y="19"/>
                    <a:pt x="489" y="19"/>
                    <a:pt x="485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22" y="19"/>
                    <a:pt x="7" y="31"/>
                    <a:pt x="3" y="48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0" y="60"/>
                    <a:pt x="1" y="68"/>
                    <a:pt x="4" y="75"/>
                  </a:cubicBezTo>
                  <a:cubicBezTo>
                    <a:pt x="17" y="110"/>
                    <a:pt x="59" y="229"/>
                    <a:pt x="62" y="346"/>
                  </a:cubicBezTo>
                  <a:cubicBezTo>
                    <a:pt x="64" y="434"/>
                    <a:pt x="64" y="490"/>
                    <a:pt x="63" y="520"/>
                  </a:cubicBezTo>
                  <a:cubicBezTo>
                    <a:pt x="63" y="535"/>
                    <a:pt x="71" y="549"/>
                    <a:pt x="85" y="555"/>
                  </a:cubicBezTo>
                  <a:cubicBezTo>
                    <a:pt x="90" y="557"/>
                    <a:pt x="90" y="557"/>
                    <a:pt x="90" y="557"/>
                  </a:cubicBezTo>
                  <a:cubicBezTo>
                    <a:pt x="97" y="560"/>
                    <a:pt x="104" y="561"/>
                    <a:pt x="112" y="56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Freeform 26">
              <a:extLst>
                <a:ext uri="{FF2B5EF4-FFF2-40B4-BE49-F238E27FC236}">
                  <a16:creationId xmlns:a16="http://schemas.microsoft.com/office/drawing/2014/main" id="{416FE541-A784-436F-A56B-08075E942C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3258" y="4635500"/>
              <a:ext cx="88900" cy="300038"/>
            </a:xfrm>
            <a:custGeom>
              <a:avLst/>
              <a:gdLst>
                <a:gd name="T0" fmla="*/ 34 w 78"/>
                <a:gd name="T1" fmla="*/ 257 h 260"/>
                <a:gd name="T2" fmla="*/ 37 w 78"/>
                <a:gd name="T3" fmla="*/ 258 h 260"/>
                <a:gd name="T4" fmla="*/ 78 w 78"/>
                <a:gd name="T5" fmla="*/ 221 h 260"/>
                <a:gd name="T6" fmla="*/ 76 w 78"/>
                <a:gd name="T7" fmla="*/ 210 h 260"/>
                <a:gd name="T8" fmla="*/ 29 w 78"/>
                <a:gd name="T9" fmla="*/ 0 h 260"/>
                <a:gd name="T10" fmla="*/ 3 w 78"/>
                <a:gd name="T11" fmla="*/ 187 h 260"/>
                <a:gd name="T12" fmla="*/ 34 w 78"/>
                <a:gd name="T13" fmla="*/ 257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260">
                  <a:moveTo>
                    <a:pt x="34" y="257"/>
                  </a:moveTo>
                  <a:cubicBezTo>
                    <a:pt x="35" y="257"/>
                    <a:pt x="36" y="258"/>
                    <a:pt x="37" y="258"/>
                  </a:cubicBezTo>
                  <a:cubicBezTo>
                    <a:pt x="59" y="260"/>
                    <a:pt x="78" y="243"/>
                    <a:pt x="78" y="221"/>
                  </a:cubicBezTo>
                  <a:cubicBezTo>
                    <a:pt x="78" y="217"/>
                    <a:pt x="77" y="213"/>
                    <a:pt x="76" y="210"/>
                  </a:cubicBezTo>
                  <a:cubicBezTo>
                    <a:pt x="69" y="187"/>
                    <a:pt x="41" y="94"/>
                    <a:pt x="29" y="0"/>
                  </a:cubicBezTo>
                  <a:cubicBezTo>
                    <a:pt x="3" y="187"/>
                    <a:pt x="3" y="187"/>
                    <a:pt x="3" y="187"/>
                  </a:cubicBezTo>
                  <a:cubicBezTo>
                    <a:pt x="3" y="187"/>
                    <a:pt x="0" y="236"/>
                    <a:pt x="34" y="25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id="{DB9337F9-49EB-4F6D-8F3F-84EEDB8487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60796" y="4346575"/>
              <a:ext cx="146050" cy="611188"/>
            </a:xfrm>
            <a:custGeom>
              <a:avLst/>
              <a:gdLst>
                <a:gd name="T0" fmla="*/ 20 w 126"/>
                <a:gd name="T1" fmla="*/ 0 h 528"/>
                <a:gd name="T2" fmla="*/ 3 w 126"/>
                <a:gd name="T3" fmla="*/ 23 h 528"/>
                <a:gd name="T4" fmla="*/ 2 w 126"/>
                <a:gd name="T5" fmla="*/ 28 h 528"/>
                <a:gd name="T6" fmla="*/ 4 w 126"/>
                <a:gd name="T7" fmla="*/ 50 h 528"/>
                <a:gd name="T8" fmla="*/ 62 w 126"/>
                <a:gd name="T9" fmla="*/ 321 h 528"/>
                <a:gd name="T10" fmla="*/ 63 w 126"/>
                <a:gd name="T11" fmla="*/ 495 h 528"/>
                <a:gd name="T12" fmla="*/ 82 w 126"/>
                <a:gd name="T13" fmla="*/ 528 h 528"/>
                <a:gd name="T14" fmla="*/ 126 w 126"/>
                <a:gd name="T15" fmla="*/ 206 h 528"/>
                <a:gd name="T16" fmla="*/ 20 w 126"/>
                <a:gd name="T17" fmla="*/ 0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" h="528">
                  <a:moveTo>
                    <a:pt x="20" y="0"/>
                  </a:moveTo>
                  <a:cubicBezTo>
                    <a:pt x="12" y="5"/>
                    <a:pt x="5" y="13"/>
                    <a:pt x="3" y="23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0" y="35"/>
                    <a:pt x="1" y="43"/>
                    <a:pt x="4" y="50"/>
                  </a:cubicBezTo>
                  <a:cubicBezTo>
                    <a:pt x="17" y="85"/>
                    <a:pt x="59" y="204"/>
                    <a:pt x="62" y="321"/>
                  </a:cubicBezTo>
                  <a:cubicBezTo>
                    <a:pt x="64" y="409"/>
                    <a:pt x="64" y="465"/>
                    <a:pt x="63" y="495"/>
                  </a:cubicBezTo>
                  <a:cubicBezTo>
                    <a:pt x="63" y="509"/>
                    <a:pt x="70" y="522"/>
                    <a:pt x="82" y="528"/>
                  </a:cubicBezTo>
                  <a:cubicBezTo>
                    <a:pt x="126" y="206"/>
                    <a:pt x="126" y="206"/>
                    <a:pt x="126" y="206"/>
                  </a:cubicBezTo>
                  <a:lnTo>
                    <a:pt x="2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Freeform 28">
              <a:extLst>
                <a:ext uri="{FF2B5EF4-FFF2-40B4-BE49-F238E27FC236}">
                  <a16:creationId xmlns:a16="http://schemas.microsoft.com/office/drawing/2014/main" id="{DC6D631A-E6FB-439A-957A-2776282C38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6058" y="4292600"/>
              <a:ext cx="739775" cy="649288"/>
            </a:xfrm>
            <a:custGeom>
              <a:avLst/>
              <a:gdLst>
                <a:gd name="T0" fmla="*/ 112 w 640"/>
                <a:gd name="T1" fmla="*/ 1 h 561"/>
                <a:gd name="T2" fmla="*/ 415 w 640"/>
                <a:gd name="T3" fmla="*/ 51 h 561"/>
                <a:gd name="T4" fmla="*/ 426 w 640"/>
                <a:gd name="T5" fmla="*/ 51 h 561"/>
                <a:gd name="T6" fmla="*/ 597 w 640"/>
                <a:gd name="T7" fmla="*/ 29 h 561"/>
                <a:gd name="T8" fmla="*/ 640 w 640"/>
                <a:gd name="T9" fmla="*/ 67 h 561"/>
                <a:gd name="T10" fmla="*/ 638 w 640"/>
                <a:gd name="T11" fmla="*/ 78 h 561"/>
                <a:gd name="T12" fmla="*/ 584 w 640"/>
                <a:gd name="T13" fmla="*/ 386 h 561"/>
                <a:gd name="T14" fmla="*/ 584 w 640"/>
                <a:gd name="T15" fmla="*/ 520 h 561"/>
                <a:gd name="T16" fmla="*/ 536 w 640"/>
                <a:gd name="T17" fmla="*/ 555 h 561"/>
                <a:gd name="T18" fmla="*/ 495 w 640"/>
                <a:gd name="T19" fmla="*/ 544 h 561"/>
                <a:gd name="T20" fmla="*/ 485 w 640"/>
                <a:gd name="T21" fmla="*/ 543 h 561"/>
                <a:gd name="T22" fmla="*/ 40 w 640"/>
                <a:gd name="T23" fmla="*/ 543 h 561"/>
                <a:gd name="T24" fmla="*/ 3 w 640"/>
                <a:gd name="T25" fmla="*/ 513 h 561"/>
                <a:gd name="T26" fmla="*/ 2 w 640"/>
                <a:gd name="T27" fmla="*/ 509 h 561"/>
                <a:gd name="T28" fmla="*/ 4 w 640"/>
                <a:gd name="T29" fmla="*/ 487 h 561"/>
                <a:gd name="T30" fmla="*/ 62 w 640"/>
                <a:gd name="T31" fmla="*/ 215 h 561"/>
                <a:gd name="T32" fmla="*/ 63 w 640"/>
                <a:gd name="T33" fmla="*/ 42 h 561"/>
                <a:gd name="T34" fmla="*/ 85 w 640"/>
                <a:gd name="T35" fmla="*/ 6 h 561"/>
                <a:gd name="T36" fmla="*/ 90 w 640"/>
                <a:gd name="T37" fmla="*/ 4 h 561"/>
                <a:gd name="T38" fmla="*/ 112 w 640"/>
                <a:gd name="T39" fmla="*/ 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0" h="561">
                  <a:moveTo>
                    <a:pt x="112" y="1"/>
                  </a:moveTo>
                  <a:cubicBezTo>
                    <a:pt x="415" y="51"/>
                    <a:pt x="415" y="51"/>
                    <a:pt x="415" y="51"/>
                  </a:cubicBezTo>
                  <a:cubicBezTo>
                    <a:pt x="419" y="51"/>
                    <a:pt x="422" y="51"/>
                    <a:pt x="426" y="51"/>
                  </a:cubicBezTo>
                  <a:cubicBezTo>
                    <a:pt x="597" y="29"/>
                    <a:pt x="597" y="29"/>
                    <a:pt x="597" y="29"/>
                  </a:cubicBezTo>
                  <a:cubicBezTo>
                    <a:pt x="620" y="26"/>
                    <a:pt x="640" y="44"/>
                    <a:pt x="640" y="67"/>
                  </a:cubicBezTo>
                  <a:cubicBezTo>
                    <a:pt x="640" y="71"/>
                    <a:pt x="639" y="74"/>
                    <a:pt x="638" y="78"/>
                  </a:cubicBezTo>
                  <a:cubicBezTo>
                    <a:pt x="629" y="109"/>
                    <a:pt x="581" y="267"/>
                    <a:pt x="584" y="386"/>
                  </a:cubicBezTo>
                  <a:cubicBezTo>
                    <a:pt x="586" y="448"/>
                    <a:pt x="585" y="491"/>
                    <a:pt x="584" y="520"/>
                  </a:cubicBezTo>
                  <a:cubicBezTo>
                    <a:pt x="583" y="544"/>
                    <a:pt x="560" y="561"/>
                    <a:pt x="536" y="555"/>
                  </a:cubicBezTo>
                  <a:cubicBezTo>
                    <a:pt x="495" y="544"/>
                    <a:pt x="495" y="544"/>
                    <a:pt x="495" y="544"/>
                  </a:cubicBezTo>
                  <a:cubicBezTo>
                    <a:pt x="492" y="543"/>
                    <a:pt x="489" y="543"/>
                    <a:pt x="485" y="543"/>
                  </a:cubicBezTo>
                  <a:cubicBezTo>
                    <a:pt x="40" y="543"/>
                    <a:pt x="40" y="543"/>
                    <a:pt x="40" y="543"/>
                  </a:cubicBezTo>
                  <a:cubicBezTo>
                    <a:pt x="22" y="543"/>
                    <a:pt x="7" y="530"/>
                    <a:pt x="3" y="513"/>
                  </a:cubicBezTo>
                  <a:cubicBezTo>
                    <a:pt x="2" y="509"/>
                    <a:pt x="2" y="509"/>
                    <a:pt x="2" y="509"/>
                  </a:cubicBezTo>
                  <a:cubicBezTo>
                    <a:pt x="0" y="501"/>
                    <a:pt x="1" y="494"/>
                    <a:pt x="4" y="487"/>
                  </a:cubicBezTo>
                  <a:cubicBezTo>
                    <a:pt x="17" y="451"/>
                    <a:pt x="59" y="332"/>
                    <a:pt x="62" y="215"/>
                  </a:cubicBezTo>
                  <a:cubicBezTo>
                    <a:pt x="64" y="127"/>
                    <a:pt x="64" y="71"/>
                    <a:pt x="63" y="42"/>
                  </a:cubicBezTo>
                  <a:cubicBezTo>
                    <a:pt x="63" y="27"/>
                    <a:pt x="71" y="13"/>
                    <a:pt x="85" y="6"/>
                  </a:cubicBezTo>
                  <a:cubicBezTo>
                    <a:pt x="90" y="4"/>
                    <a:pt x="90" y="4"/>
                    <a:pt x="90" y="4"/>
                  </a:cubicBezTo>
                  <a:cubicBezTo>
                    <a:pt x="97" y="1"/>
                    <a:pt x="104" y="0"/>
                    <a:pt x="112" y="1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Freeform 29">
              <a:extLst>
                <a:ext uri="{FF2B5EF4-FFF2-40B4-BE49-F238E27FC236}">
                  <a16:creationId xmlns:a16="http://schemas.microsoft.com/office/drawing/2014/main" id="{C31DF1E8-3AC0-4275-8443-4CCE8F550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93121" y="4356100"/>
              <a:ext cx="112713" cy="552450"/>
            </a:xfrm>
            <a:custGeom>
              <a:avLst/>
              <a:gdLst>
                <a:gd name="T0" fmla="*/ 98 w 98"/>
                <a:gd name="T1" fmla="*/ 12 h 478"/>
                <a:gd name="T2" fmla="*/ 96 w 98"/>
                <a:gd name="T3" fmla="*/ 0 h 478"/>
                <a:gd name="T4" fmla="*/ 0 w 98"/>
                <a:gd name="T5" fmla="*/ 101 h 478"/>
                <a:gd name="T6" fmla="*/ 39 w 98"/>
                <a:gd name="T7" fmla="*/ 478 h 478"/>
                <a:gd name="T8" fmla="*/ 42 w 98"/>
                <a:gd name="T9" fmla="*/ 465 h 478"/>
                <a:gd name="T10" fmla="*/ 42 w 98"/>
                <a:gd name="T11" fmla="*/ 331 h 478"/>
                <a:gd name="T12" fmla="*/ 96 w 98"/>
                <a:gd name="T13" fmla="*/ 23 h 478"/>
                <a:gd name="T14" fmla="*/ 98 w 98"/>
                <a:gd name="T15" fmla="*/ 12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" h="478">
                  <a:moveTo>
                    <a:pt x="98" y="12"/>
                  </a:moveTo>
                  <a:cubicBezTo>
                    <a:pt x="98" y="8"/>
                    <a:pt x="97" y="4"/>
                    <a:pt x="96" y="0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39" y="478"/>
                    <a:pt x="39" y="478"/>
                    <a:pt x="39" y="478"/>
                  </a:cubicBezTo>
                  <a:cubicBezTo>
                    <a:pt x="41" y="474"/>
                    <a:pt x="42" y="470"/>
                    <a:pt x="42" y="465"/>
                  </a:cubicBezTo>
                  <a:cubicBezTo>
                    <a:pt x="43" y="436"/>
                    <a:pt x="44" y="393"/>
                    <a:pt x="42" y="331"/>
                  </a:cubicBezTo>
                  <a:cubicBezTo>
                    <a:pt x="39" y="212"/>
                    <a:pt x="87" y="54"/>
                    <a:pt x="96" y="23"/>
                  </a:cubicBezTo>
                  <a:cubicBezTo>
                    <a:pt x="97" y="19"/>
                    <a:pt x="98" y="16"/>
                    <a:pt x="98" y="12"/>
                  </a:cubicBezTo>
                </a:path>
              </a:pathLst>
            </a:custGeom>
            <a:solidFill>
              <a:srgbClr val="37B0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Freeform 30">
              <a:extLst>
                <a:ext uri="{FF2B5EF4-FFF2-40B4-BE49-F238E27FC236}">
                  <a16:creationId xmlns:a16="http://schemas.microsoft.com/office/drawing/2014/main" id="{77BB5464-7FB2-4533-835A-A9B887950C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7496" y="4357688"/>
              <a:ext cx="668338" cy="101600"/>
            </a:xfrm>
            <a:custGeom>
              <a:avLst/>
              <a:gdLst>
                <a:gd name="T0" fmla="*/ 246 w 577"/>
                <a:gd name="T1" fmla="*/ 86 h 89"/>
                <a:gd name="T2" fmla="*/ 568 w 577"/>
                <a:gd name="T3" fmla="*/ 46 h 89"/>
                <a:gd name="T4" fmla="*/ 575 w 577"/>
                <a:gd name="T5" fmla="*/ 22 h 89"/>
                <a:gd name="T6" fmla="*/ 577 w 577"/>
                <a:gd name="T7" fmla="*/ 14 h 89"/>
                <a:gd name="T8" fmla="*/ 243 w 577"/>
                <a:gd name="T9" fmla="*/ 38 h 89"/>
                <a:gd name="T10" fmla="*/ 0 w 577"/>
                <a:gd name="T11" fmla="*/ 0 h 89"/>
                <a:gd name="T12" fmla="*/ 1 w 577"/>
                <a:gd name="T13" fmla="*/ 47 h 89"/>
                <a:gd name="T14" fmla="*/ 246 w 577"/>
                <a:gd name="T15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" h="89">
                  <a:moveTo>
                    <a:pt x="246" y="86"/>
                  </a:moveTo>
                  <a:cubicBezTo>
                    <a:pt x="262" y="83"/>
                    <a:pt x="517" y="52"/>
                    <a:pt x="568" y="46"/>
                  </a:cubicBezTo>
                  <a:cubicBezTo>
                    <a:pt x="571" y="35"/>
                    <a:pt x="574" y="27"/>
                    <a:pt x="575" y="22"/>
                  </a:cubicBezTo>
                  <a:cubicBezTo>
                    <a:pt x="576" y="19"/>
                    <a:pt x="577" y="17"/>
                    <a:pt x="577" y="14"/>
                  </a:cubicBezTo>
                  <a:cubicBezTo>
                    <a:pt x="243" y="38"/>
                    <a:pt x="243" y="38"/>
                    <a:pt x="243" y="38"/>
                  </a:cubicBezTo>
                  <a:cubicBezTo>
                    <a:pt x="243" y="38"/>
                    <a:pt x="50" y="11"/>
                    <a:pt x="0" y="0"/>
                  </a:cubicBezTo>
                  <a:cubicBezTo>
                    <a:pt x="0" y="12"/>
                    <a:pt x="1" y="28"/>
                    <a:pt x="1" y="47"/>
                  </a:cubicBezTo>
                  <a:cubicBezTo>
                    <a:pt x="49" y="56"/>
                    <a:pt x="231" y="89"/>
                    <a:pt x="246" y="86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31">
              <a:extLst>
                <a:ext uri="{FF2B5EF4-FFF2-40B4-BE49-F238E27FC236}">
                  <a16:creationId xmlns:a16="http://schemas.microsoft.com/office/drawing/2014/main" id="{07D5930A-B3DF-4056-95BD-7AD1514DB3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7808" y="4697413"/>
              <a:ext cx="644525" cy="92075"/>
            </a:xfrm>
            <a:custGeom>
              <a:avLst/>
              <a:gdLst>
                <a:gd name="T0" fmla="*/ 16 w 557"/>
                <a:gd name="T1" fmla="*/ 0 h 80"/>
                <a:gd name="T2" fmla="*/ 0 w 557"/>
                <a:gd name="T3" fmla="*/ 63 h 80"/>
                <a:gd name="T4" fmla="*/ 208 w 557"/>
                <a:gd name="T5" fmla="*/ 64 h 80"/>
                <a:gd name="T6" fmla="*/ 557 w 557"/>
                <a:gd name="T7" fmla="*/ 80 h 80"/>
                <a:gd name="T8" fmla="*/ 556 w 557"/>
                <a:gd name="T9" fmla="*/ 36 h 80"/>
                <a:gd name="T10" fmla="*/ 556 w 557"/>
                <a:gd name="T11" fmla="*/ 22 h 80"/>
                <a:gd name="T12" fmla="*/ 132 w 557"/>
                <a:gd name="T13" fmla="*/ 22 h 80"/>
                <a:gd name="T14" fmla="*/ 16 w 557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7" h="80">
                  <a:moveTo>
                    <a:pt x="16" y="0"/>
                  </a:moveTo>
                  <a:cubicBezTo>
                    <a:pt x="11" y="23"/>
                    <a:pt x="6" y="44"/>
                    <a:pt x="0" y="63"/>
                  </a:cubicBezTo>
                  <a:cubicBezTo>
                    <a:pt x="74" y="64"/>
                    <a:pt x="208" y="64"/>
                    <a:pt x="208" y="64"/>
                  </a:cubicBezTo>
                  <a:cubicBezTo>
                    <a:pt x="557" y="80"/>
                    <a:pt x="557" y="80"/>
                    <a:pt x="557" y="80"/>
                  </a:cubicBezTo>
                  <a:cubicBezTo>
                    <a:pt x="557" y="67"/>
                    <a:pt x="557" y="52"/>
                    <a:pt x="556" y="36"/>
                  </a:cubicBezTo>
                  <a:cubicBezTo>
                    <a:pt x="556" y="31"/>
                    <a:pt x="556" y="27"/>
                    <a:pt x="556" y="22"/>
                  </a:cubicBezTo>
                  <a:cubicBezTo>
                    <a:pt x="132" y="22"/>
                    <a:pt x="132" y="22"/>
                    <a:pt x="132" y="22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Freeform 32">
              <a:extLst>
                <a:ext uri="{FF2B5EF4-FFF2-40B4-BE49-F238E27FC236}">
                  <a16:creationId xmlns:a16="http://schemas.microsoft.com/office/drawing/2014/main" id="{009EA042-7A3C-4831-9E2B-442878345E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6058" y="4822825"/>
              <a:ext cx="676275" cy="119063"/>
            </a:xfrm>
            <a:custGeom>
              <a:avLst/>
              <a:gdLst>
                <a:gd name="T0" fmla="*/ 9 w 585"/>
                <a:gd name="T1" fmla="*/ 12 h 102"/>
                <a:gd name="T2" fmla="*/ 4 w 585"/>
                <a:gd name="T3" fmla="*/ 28 h 102"/>
                <a:gd name="T4" fmla="*/ 2 w 585"/>
                <a:gd name="T5" fmla="*/ 50 h 102"/>
                <a:gd name="T6" fmla="*/ 3 w 585"/>
                <a:gd name="T7" fmla="*/ 54 h 102"/>
                <a:gd name="T8" fmla="*/ 28 w 585"/>
                <a:gd name="T9" fmla="*/ 81 h 102"/>
                <a:gd name="T10" fmla="*/ 224 w 585"/>
                <a:gd name="T11" fmla="*/ 57 h 102"/>
                <a:gd name="T12" fmla="*/ 459 w 585"/>
                <a:gd name="T13" fmla="*/ 84 h 102"/>
                <a:gd name="T14" fmla="*/ 485 w 585"/>
                <a:gd name="T15" fmla="*/ 84 h 102"/>
                <a:gd name="T16" fmla="*/ 495 w 585"/>
                <a:gd name="T17" fmla="*/ 85 h 102"/>
                <a:gd name="T18" fmla="*/ 536 w 585"/>
                <a:gd name="T19" fmla="*/ 96 h 102"/>
                <a:gd name="T20" fmla="*/ 584 w 585"/>
                <a:gd name="T21" fmla="*/ 61 h 102"/>
                <a:gd name="T22" fmla="*/ 585 w 585"/>
                <a:gd name="T23" fmla="*/ 33 h 102"/>
                <a:gd name="T24" fmla="*/ 212 w 585"/>
                <a:gd name="T25" fmla="*/ 0 h 102"/>
                <a:gd name="T26" fmla="*/ 9 w 585"/>
                <a:gd name="T27" fmla="*/ 1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5" h="102">
                  <a:moveTo>
                    <a:pt x="9" y="12"/>
                  </a:moveTo>
                  <a:cubicBezTo>
                    <a:pt x="7" y="18"/>
                    <a:pt x="5" y="24"/>
                    <a:pt x="4" y="28"/>
                  </a:cubicBezTo>
                  <a:cubicBezTo>
                    <a:pt x="1" y="35"/>
                    <a:pt x="0" y="42"/>
                    <a:pt x="2" y="50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6" y="67"/>
                    <a:pt x="16" y="77"/>
                    <a:pt x="28" y="81"/>
                  </a:cubicBezTo>
                  <a:cubicBezTo>
                    <a:pt x="224" y="57"/>
                    <a:pt x="224" y="57"/>
                    <a:pt x="224" y="57"/>
                  </a:cubicBezTo>
                  <a:cubicBezTo>
                    <a:pt x="459" y="84"/>
                    <a:pt x="459" y="84"/>
                    <a:pt x="459" y="84"/>
                  </a:cubicBezTo>
                  <a:cubicBezTo>
                    <a:pt x="485" y="84"/>
                    <a:pt x="485" y="84"/>
                    <a:pt x="485" y="84"/>
                  </a:cubicBezTo>
                  <a:cubicBezTo>
                    <a:pt x="489" y="84"/>
                    <a:pt x="492" y="84"/>
                    <a:pt x="495" y="85"/>
                  </a:cubicBezTo>
                  <a:cubicBezTo>
                    <a:pt x="536" y="96"/>
                    <a:pt x="536" y="96"/>
                    <a:pt x="536" y="96"/>
                  </a:cubicBezTo>
                  <a:cubicBezTo>
                    <a:pt x="560" y="102"/>
                    <a:pt x="583" y="85"/>
                    <a:pt x="584" y="61"/>
                  </a:cubicBezTo>
                  <a:cubicBezTo>
                    <a:pt x="584" y="53"/>
                    <a:pt x="585" y="44"/>
                    <a:pt x="585" y="33"/>
                  </a:cubicBezTo>
                  <a:cubicBezTo>
                    <a:pt x="212" y="0"/>
                    <a:pt x="212" y="0"/>
                    <a:pt x="212" y="0"/>
                  </a:cubicBezTo>
                  <a:lnTo>
                    <a:pt x="9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Freeform 33">
              <a:extLst>
                <a:ext uri="{FF2B5EF4-FFF2-40B4-BE49-F238E27FC236}">
                  <a16:creationId xmlns:a16="http://schemas.microsoft.com/office/drawing/2014/main" id="{70925478-01FB-42DA-AC5C-7CF95862D9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7496" y="4486275"/>
              <a:ext cx="635000" cy="74613"/>
            </a:xfrm>
            <a:custGeom>
              <a:avLst/>
              <a:gdLst>
                <a:gd name="T0" fmla="*/ 1 w 548"/>
                <a:gd name="T1" fmla="*/ 0 h 64"/>
                <a:gd name="T2" fmla="*/ 0 w 548"/>
                <a:gd name="T3" fmla="*/ 47 h 64"/>
                <a:gd name="T4" fmla="*/ 0 w 548"/>
                <a:gd name="T5" fmla="*/ 51 h 64"/>
                <a:gd name="T6" fmla="*/ 289 w 548"/>
                <a:gd name="T7" fmla="*/ 51 h 64"/>
                <a:gd name="T8" fmla="*/ 538 w 548"/>
                <a:gd name="T9" fmla="*/ 64 h 64"/>
                <a:gd name="T10" fmla="*/ 548 w 548"/>
                <a:gd name="T11" fmla="*/ 13 h 64"/>
                <a:gd name="T12" fmla="*/ 390 w 548"/>
                <a:gd name="T13" fmla="*/ 26 h 64"/>
                <a:gd name="T14" fmla="*/ 1 w 548"/>
                <a:gd name="T1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8" h="64">
                  <a:moveTo>
                    <a:pt x="1" y="0"/>
                  </a:moveTo>
                  <a:cubicBezTo>
                    <a:pt x="1" y="14"/>
                    <a:pt x="1" y="30"/>
                    <a:pt x="0" y="47"/>
                  </a:cubicBezTo>
                  <a:cubicBezTo>
                    <a:pt x="0" y="48"/>
                    <a:pt x="0" y="50"/>
                    <a:pt x="0" y="51"/>
                  </a:cubicBezTo>
                  <a:cubicBezTo>
                    <a:pt x="289" y="51"/>
                    <a:pt x="289" y="51"/>
                    <a:pt x="289" y="51"/>
                  </a:cubicBezTo>
                  <a:cubicBezTo>
                    <a:pt x="538" y="64"/>
                    <a:pt x="538" y="64"/>
                    <a:pt x="538" y="64"/>
                  </a:cubicBezTo>
                  <a:cubicBezTo>
                    <a:pt x="541" y="47"/>
                    <a:pt x="545" y="29"/>
                    <a:pt x="548" y="13"/>
                  </a:cubicBezTo>
                  <a:cubicBezTo>
                    <a:pt x="516" y="15"/>
                    <a:pt x="399" y="23"/>
                    <a:pt x="390" y="26"/>
                  </a:cubicBezTo>
                  <a:cubicBezTo>
                    <a:pt x="381" y="30"/>
                    <a:pt x="65" y="5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Freeform 34">
              <a:extLst>
                <a:ext uri="{FF2B5EF4-FFF2-40B4-BE49-F238E27FC236}">
                  <a16:creationId xmlns:a16="http://schemas.microsoft.com/office/drawing/2014/main" id="{CC6AEE09-B9FD-42BA-A921-3FA6910E9D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26383" y="4592638"/>
              <a:ext cx="627063" cy="77788"/>
            </a:xfrm>
            <a:custGeom>
              <a:avLst/>
              <a:gdLst>
                <a:gd name="T0" fmla="*/ 6 w 541"/>
                <a:gd name="T1" fmla="*/ 0 h 68"/>
                <a:gd name="T2" fmla="*/ 0 w 541"/>
                <a:gd name="T3" fmla="*/ 49 h 68"/>
                <a:gd name="T4" fmla="*/ 298 w 541"/>
                <a:gd name="T5" fmla="*/ 68 h 68"/>
                <a:gd name="T6" fmla="*/ 535 w 541"/>
                <a:gd name="T7" fmla="*/ 49 h 68"/>
                <a:gd name="T8" fmla="*/ 541 w 541"/>
                <a:gd name="T9" fmla="*/ 6 h 68"/>
                <a:gd name="T10" fmla="*/ 152 w 541"/>
                <a:gd name="T11" fmla="*/ 16 h 68"/>
                <a:gd name="T12" fmla="*/ 6 w 541"/>
                <a:gd name="T13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1" h="68">
                  <a:moveTo>
                    <a:pt x="6" y="0"/>
                  </a:moveTo>
                  <a:cubicBezTo>
                    <a:pt x="5" y="17"/>
                    <a:pt x="2" y="33"/>
                    <a:pt x="0" y="49"/>
                  </a:cubicBezTo>
                  <a:cubicBezTo>
                    <a:pt x="298" y="68"/>
                    <a:pt x="298" y="68"/>
                    <a:pt x="298" y="68"/>
                  </a:cubicBezTo>
                  <a:cubicBezTo>
                    <a:pt x="535" y="49"/>
                    <a:pt x="535" y="49"/>
                    <a:pt x="535" y="49"/>
                  </a:cubicBezTo>
                  <a:cubicBezTo>
                    <a:pt x="537" y="35"/>
                    <a:pt x="539" y="20"/>
                    <a:pt x="541" y="6"/>
                  </a:cubicBezTo>
                  <a:cubicBezTo>
                    <a:pt x="152" y="16"/>
                    <a:pt x="152" y="16"/>
                    <a:pt x="152" y="16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Freeform 35">
              <a:extLst>
                <a:ext uri="{FF2B5EF4-FFF2-40B4-BE49-F238E27FC236}">
                  <a16:creationId xmlns:a16="http://schemas.microsoft.com/office/drawing/2014/main" id="{82D8C99E-9650-4C04-A3FB-A1721B26E4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7096" y="4373563"/>
              <a:ext cx="58738" cy="42863"/>
            </a:xfrm>
            <a:custGeom>
              <a:avLst/>
              <a:gdLst>
                <a:gd name="T0" fmla="*/ 44 w 51"/>
                <a:gd name="T1" fmla="*/ 24 h 37"/>
                <a:gd name="T2" fmla="*/ 45 w 51"/>
                <a:gd name="T3" fmla="*/ 20 h 37"/>
                <a:gd name="T4" fmla="*/ 46 w 51"/>
                <a:gd name="T5" fmla="*/ 19 h 37"/>
                <a:gd name="T6" fmla="*/ 47 w 51"/>
                <a:gd name="T7" fmla="*/ 16 h 37"/>
                <a:gd name="T8" fmla="*/ 47 w 51"/>
                <a:gd name="T9" fmla="*/ 15 h 37"/>
                <a:gd name="T10" fmla="*/ 48 w 51"/>
                <a:gd name="T11" fmla="*/ 12 h 37"/>
                <a:gd name="T12" fmla="*/ 48 w 51"/>
                <a:gd name="T13" fmla="*/ 11 h 37"/>
                <a:gd name="T14" fmla="*/ 49 w 51"/>
                <a:gd name="T15" fmla="*/ 8 h 37"/>
                <a:gd name="T16" fmla="*/ 50 w 51"/>
                <a:gd name="T17" fmla="*/ 4 h 37"/>
                <a:gd name="T18" fmla="*/ 50 w 51"/>
                <a:gd name="T19" fmla="*/ 4 h 37"/>
                <a:gd name="T20" fmla="*/ 51 w 51"/>
                <a:gd name="T21" fmla="*/ 0 h 37"/>
                <a:gd name="T22" fmla="*/ 34 w 51"/>
                <a:gd name="T23" fmla="*/ 1 h 37"/>
                <a:gd name="T24" fmla="*/ 0 w 51"/>
                <a:gd name="T25" fmla="*/ 37 h 37"/>
                <a:gd name="T26" fmla="*/ 42 w 51"/>
                <a:gd name="T27" fmla="*/ 32 h 37"/>
                <a:gd name="T28" fmla="*/ 43 w 51"/>
                <a:gd name="T29" fmla="*/ 30 h 37"/>
                <a:gd name="T30" fmla="*/ 44 w 51"/>
                <a:gd name="T31" fmla="*/ 26 h 37"/>
                <a:gd name="T32" fmla="*/ 44 w 51"/>
                <a:gd name="T33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37">
                  <a:moveTo>
                    <a:pt x="44" y="24"/>
                  </a:moveTo>
                  <a:cubicBezTo>
                    <a:pt x="45" y="23"/>
                    <a:pt x="45" y="22"/>
                    <a:pt x="45" y="20"/>
                  </a:cubicBezTo>
                  <a:cubicBezTo>
                    <a:pt x="46" y="20"/>
                    <a:pt x="46" y="20"/>
                    <a:pt x="46" y="19"/>
                  </a:cubicBezTo>
                  <a:cubicBezTo>
                    <a:pt x="46" y="18"/>
                    <a:pt x="46" y="17"/>
                    <a:pt x="47" y="16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4"/>
                    <a:pt x="48" y="13"/>
                    <a:pt x="48" y="12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9" y="10"/>
                    <a:pt x="49" y="9"/>
                    <a:pt x="49" y="8"/>
                  </a:cubicBezTo>
                  <a:cubicBezTo>
                    <a:pt x="50" y="7"/>
                    <a:pt x="50" y="6"/>
                    <a:pt x="50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0" y="2"/>
                    <a:pt x="51" y="1"/>
                    <a:pt x="51" y="0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9" y="34"/>
                    <a:pt x="33" y="33"/>
                    <a:pt x="42" y="32"/>
                  </a:cubicBezTo>
                  <a:cubicBezTo>
                    <a:pt x="42" y="31"/>
                    <a:pt x="42" y="30"/>
                    <a:pt x="43" y="30"/>
                  </a:cubicBezTo>
                  <a:cubicBezTo>
                    <a:pt x="43" y="29"/>
                    <a:pt x="43" y="28"/>
                    <a:pt x="44" y="26"/>
                  </a:cubicBezTo>
                  <a:cubicBezTo>
                    <a:pt x="44" y="26"/>
                    <a:pt x="44" y="25"/>
                    <a:pt x="44" y="2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Freeform 36">
              <a:extLst>
                <a:ext uri="{FF2B5EF4-FFF2-40B4-BE49-F238E27FC236}">
                  <a16:creationId xmlns:a16="http://schemas.microsoft.com/office/drawing/2014/main" id="{3596A0D0-38F5-47A5-BE30-79FD2172E5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20108" y="4722813"/>
              <a:ext cx="22225" cy="66675"/>
            </a:xfrm>
            <a:custGeom>
              <a:avLst/>
              <a:gdLst>
                <a:gd name="T0" fmla="*/ 0 w 20"/>
                <a:gd name="T1" fmla="*/ 0 h 58"/>
                <a:gd name="T2" fmla="*/ 5 w 20"/>
                <a:gd name="T3" fmla="*/ 58 h 58"/>
                <a:gd name="T4" fmla="*/ 20 w 20"/>
                <a:gd name="T5" fmla="*/ 58 h 58"/>
                <a:gd name="T6" fmla="*/ 20 w 20"/>
                <a:gd name="T7" fmla="*/ 58 h 58"/>
                <a:gd name="T8" fmla="*/ 20 w 20"/>
                <a:gd name="T9" fmla="*/ 48 h 58"/>
                <a:gd name="T10" fmla="*/ 20 w 20"/>
                <a:gd name="T11" fmla="*/ 48 h 58"/>
                <a:gd name="T12" fmla="*/ 20 w 20"/>
                <a:gd name="T13" fmla="*/ 38 h 58"/>
                <a:gd name="T14" fmla="*/ 20 w 20"/>
                <a:gd name="T15" fmla="*/ 37 h 58"/>
                <a:gd name="T16" fmla="*/ 20 w 20"/>
                <a:gd name="T17" fmla="*/ 27 h 58"/>
                <a:gd name="T18" fmla="*/ 20 w 20"/>
                <a:gd name="T19" fmla="*/ 26 h 58"/>
                <a:gd name="T20" fmla="*/ 19 w 20"/>
                <a:gd name="T21" fmla="*/ 14 h 58"/>
                <a:gd name="T22" fmla="*/ 19 w 20"/>
                <a:gd name="T23" fmla="*/ 0 h 58"/>
                <a:gd name="T24" fmla="*/ 19 w 20"/>
                <a:gd name="T25" fmla="*/ 0 h 58"/>
                <a:gd name="T26" fmla="*/ 0 w 20"/>
                <a:gd name="T27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58">
                  <a:moveTo>
                    <a:pt x="0" y="0"/>
                  </a:moveTo>
                  <a:cubicBezTo>
                    <a:pt x="5" y="58"/>
                    <a:pt x="5" y="58"/>
                    <a:pt x="5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5"/>
                    <a:pt x="20" y="51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5"/>
                    <a:pt x="20" y="41"/>
                    <a:pt x="20" y="38"/>
                  </a:cubicBezTo>
                  <a:cubicBezTo>
                    <a:pt x="20" y="38"/>
                    <a:pt x="20" y="37"/>
                    <a:pt x="20" y="37"/>
                  </a:cubicBezTo>
                  <a:cubicBezTo>
                    <a:pt x="20" y="34"/>
                    <a:pt x="20" y="30"/>
                    <a:pt x="20" y="27"/>
                  </a:cubicBezTo>
                  <a:cubicBezTo>
                    <a:pt x="20" y="27"/>
                    <a:pt x="20" y="26"/>
                    <a:pt x="20" y="26"/>
                  </a:cubicBezTo>
                  <a:cubicBezTo>
                    <a:pt x="19" y="22"/>
                    <a:pt x="19" y="18"/>
                    <a:pt x="19" y="14"/>
                  </a:cubicBezTo>
                  <a:cubicBezTo>
                    <a:pt x="19" y="9"/>
                    <a:pt x="19" y="5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Freeform 37">
              <a:extLst>
                <a:ext uri="{FF2B5EF4-FFF2-40B4-BE49-F238E27FC236}">
                  <a16:creationId xmlns:a16="http://schemas.microsoft.com/office/drawing/2014/main" id="{76DD00A0-B3FF-4807-B8AC-8203804AB8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34396" y="4860925"/>
              <a:ext cx="7938" cy="47625"/>
            </a:xfrm>
            <a:custGeom>
              <a:avLst/>
              <a:gdLst>
                <a:gd name="T0" fmla="*/ 4 w 8"/>
                <a:gd name="T1" fmla="*/ 42 h 42"/>
                <a:gd name="T2" fmla="*/ 4 w 8"/>
                <a:gd name="T3" fmla="*/ 42 h 42"/>
                <a:gd name="T4" fmla="*/ 5 w 8"/>
                <a:gd name="T5" fmla="*/ 40 h 42"/>
                <a:gd name="T6" fmla="*/ 5 w 8"/>
                <a:gd name="T7" fmla="*/ 39 h 42"/>
                <a:gd name="T8" fmla="*/ 6 w 8"/>
                <a:gd name="T9" fmla="*/ 37 h 42"/>
                <a:gd name="T10" fmla="*/ 6 w 8"/>
                <a:gd name="T11" fmla="*/ 34 h 42"/>
                <a:gd name="T12" fmla="*/ 7 w 8"/>
                <a:gd name="T13" fmla="*/ 33 h 42"/>
                <a:gd name="T14" fmla="*/ 7 w 8"/>
                <a:gd name="T15" fmla="*/ 29 h 42"/>
                <a:gd name="T16" fmla="*/ 7 w 8"/>
                <a:gd name="T17" fmla="*/ 23 h 42"/>
                <a:gd name="T18" fmla="*/ 7 w 8"/>
                <a:gd name="T19" fmla="*/ 22 h 42"/>
                <a:gd name="T20" fmla="*/ 7 w 8"/>
                <a:gd name="T21" fmla="*/ 16 h 42"/>
                <a:gd name="T22" fmla="*/ 7 w 8"/>
                <a:gd name="T23" fmla="*/ 15 h 42"/>
                <a:gd name="T24" fmla="*/ 8 w 8"/>
                <a:gd name="T25" fmla="*/ 9 h 42"/>
                <a:gd name="T26" fmla="*/ 8 w 8"/>
                <a:gd name="T27" fmla="*/ 9 h 42"/>
                <a:gd name="T28" fmla="*/ 8 w 8"/>
                <a:gd name="T29" fmla="*/ 1 h 42"/>
                <a:gd name="T30" fmla="*/ 8 w 8"/>
                <a:gd name="T31" fmla="*/ 1 h 42"/>
                <a:gd name="T32" fmla="*/ 0 w 8"/>
                <a:gd name="T33" fmla="*/ 0 h 42"/>
                <a:gd name="T34" fmla="*/ 4 w 8"/>
                <a:gd name="T3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" h="42">
                  <a:moveTo>
                    <a:pt x="4" y="42"/>
                  </a:move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5" y="41"/>
                    <a:pt x="5" y="40"/>
                  </a:cubicBezTo>
                  <a:cubicBezTo>
                    <a:pt x="5" y="40"/>
                    <a:pt x="5" y="39"/>
                    <a:pt x="5" y="39"/>
                  </a:cubicBezTo>
                  <a:cubicBezTo>
                    <a:pt x="6" y="38"/>
                    <a:pt x="6" y="37"/>
                    <a:pt x="6" y="37"/>
                  </a:cubicBezTo>
                  <a:cubicBezTo>
                    <a:pt x="6" y="36"/>
                    <a:pt x="6" y="35"/>
                    <a:pt x="6" y="34"/>
                  </a:cubicBezTo>
                  <a:cubicBezTo>
                    <a:pt x="6" y="34"/>
                    <a:pt x="7" y="33"/>
                    <a:pt x="7" y="33"/>
                  </a:cubicBezTo>
                  <a:cubicBezTo>
                    <a:pt x="7" y="32"/>
                    <a:pt x="7" y="30"/>
                    <a:pt x="7" y="29"/>
                  </a:cubicBezTo>
                  <a:cubicBezTo>
                    <a:pt x="7" y="27"/>
                    <a:pt x="7" y="25"/>
                    <a:pt x="7" y="23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0"/>
                    <a:pt x="7" y="18"/>
                    <a:pt x="7" y="16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8" y="13"/>
                    <a:pt x="8" y="11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6"/>
                    <a:pt x="8" y="4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" y="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Freeform 38">
              <a:extLst>
                <a:ext uri="{FF2B5EF4-FFF2-40B4-BE49-F238E27FC236}">
                  <a16:creationId xmlns:a16="http://schemas.microsoft.com/office/drawing/2014/main" id="{4B1824C6-62FE-4036-918C-62CDC09FA9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96296" y="4502150"/>
              <a:ext cx="76200" cy="58738"/>
            </a:xfrm>
            <a:custGeom>
              <a:avLst/>
              <a:gdLst>
                <a:gd name="T0" fmla="*/ 5 w 65"/>
                <a:gd name="T1" fmla="*/ 49 h 51"/>
                <a:gd name="T2" fmla="*/ 55 w 65"/>
                <a:gd name="T3" fmla="*/ 51 h 51"/>
                <a:gd name="T4" fmla="*/ 57 w 65"/>
                <a:gd name="T5" fmla="*/ 39 h 51"/>
                <a:gd name="T6" fmla="*/ 58 w 65"/>
                <a:gd name="T7" fmla="*/ 36 h 51"/>
                <a:gd name="T8" fmla="*/ 60 w 65"/>
                <a:gd name="T9" fmla="*/ 26 h 51"/>
                <a:gd name="T10" fmla="*/ 60 w 65"/>
                <a:gd name="T11" fmla="*/ 24 h 51"/>
                <a:gd name="T12" fmla="*/ 62 w 65"/>
                <a:gd name="T13" fmla="*/ 13 h 51"/>
                <a:gd name="T14" fmla="*/ 63 w 65"/>
                <a:gd name="T15" fmla="*/ 12 h 51"/>
                <a:gd name="T16" fmla="*/ 65 w 65"/>
                <a:gd name="T17" fmla="*/ 0 h 51"/>
                <a:gd name="T18" fmla="*/ 0 w 65"/>
                <a:gd name="T19" fmla="*/ 5 h 51"/>
                <a:gd name="T20" fmla="*/ 5 w 65"/>
                <a:gd name="T21" fmla="*/ 4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51">
                  <a:moveTo>
                    <a:pt x="5" y="49"/>
                  </a:moveTo>
                  <a:cubicBezTo>
                    <a:pt x="55" y="51"/>
                    <a:pt x="55" y="51"/>
                    <a:pt x="55" y="51"/>
                  </a:cubicBezTo>
                  <a:cubicBezTo>
                    <a:pt x="55" y="47"/>
                    <a:pt x="56" y="43"/>
                    <a:pt x="57" y="39"/>
                  </a:cubicBezTo>
                  <a:cubicBezTo>
                    <a:pt x="57" y="38"/>
                    <a:pt x="57" y="37"/>
                    <a:pt x="58" y="36"/>
                  </a:cubicBezTo>
                  <a:cubicBezTo>
                    <a:pt x="58" y="33"/>
                    <a:pt x="59" y="29"/>
                    <a:pt x="60" y="26"/>
                  </a:cubicBezTo>
                  <a:cubicBezTo>
                    <a:pt x="60" y="25"/>
                    <a:pt x="60" y="24"/>
                    <a:pt x="60" y="24"/>
                  </a:cubicBezTo>
                  <a:cubicBezTo>
                    <a:pt x="61" y="20"/>
                    <a:pt x="62" y="17"/>
                    <a:pt x="62" y="13"/>
                  </a:cubicBezTo>
                  <a:cubicBezTo>
                    <a:pt x="63" y="13"/>
                    <a:pt x="63" y="12"/>
                    <a:pt x="63" y="12"/>
                  </a:cubicBezTo>
                  <a:cubicBezTo>
                    <a:pt x="64" y="8"/>
                    <a:pt x="65" y="4"/>
                    <a:pt x="65" y="0"/>
                  </a:cubicBezTo>
                  <a:cubicBezTo>
                    <a:pt x="53" y="1"/>
                    <a:pt x="27" y="3"/>
                    <a:pt x="0" y="5"/>
                  </a:cubicBezTo>
                  <a:lnTo>
                    <a:pt x="5" y="4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" name="Freeform 39">
              <a:extLst>
                <a:ext uri="{FF2B5EF4-FFF2-40B4-BE49-F238E27FC236}">
                  <a16:creationId xmlns:a16="http://schemas.microsoft.com/office/drawing/2014/main" id="{EF8B0BD6-388A-4B63-B9E0-F1BC028391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07408" y="4598988"/>
              <a:ext cx="46038" cy="52388"/>
            </a:xfrm>
            <a:custGeom>
              <a:avLst/>
              <a:gdLst>
                <a:gd name="T0" fmla="*/ 4 w 40"/>
                <a:gd name="T1" fmla="*/ 46 h 46"/>
                <a:gd name="T2" fmla="*/ 34 w 40"/>
                <a:gd name="T3" fmla="*/ 43 h 46"/>
                <a:gd name="T4" fmla="*/ 37 w 40"/>
                <a:gd name="T5" fmla="*/ 22 h 46"/>
                <a:gd name="T6" fmla="*/ 37 w 40"/>
                <a:gd name="T7" fmla="*/ 21 h 46"/>
                <a:gd name="T8" fmla="*/ 40 w 40"/>
                <a:gd name="T9" fmla="*/ 0 h 46"/>
                <a:gd name="T10" fmla="*/ 0 w 40"/>
                <a:gd name="T11" fmla="*/ 1 h 46"/>
                <a:gd name="T12" fmla="*/ 4 w 40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46">
                  <a:moveTo>
                    <a:pt x="4" y="46"/>
                  </a:moveTo>
                  <a:cubicBezTo>
                    <a:pt x="34" y="43"/>
                    <a:pt x="34" y="43"/>
                    <a:pt x="34" y="43"/>
                  </a:cubicBezTo>
                  <a:cubicBezTo>
                    <a:pt x="35" y="36"/>
                    <a:pt x="36" y="29"/>
                    <a:pt x="37" y="22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8" y="14"/>
                    <a:pt x="39" y="7"/>
                    <a:pt x="40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4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" name="Freeform 40">
              <a:extLst>
                <a:ext uri="{FF2B5EF4-FFF2-40B4-BE49-F238E27FC236}">
                  <a16:creationId xmlns:a16="http://schemas.microsoft.com/office/drawing/2014/main" id="{C27B2638-90DA-433C-ADD5-C64CEB06EF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72058" y="3719513"/>
              <a:ext cx="1446213" cy="1398588"/>
            </a:xfrm>
            <a:custGeom>
              <a:avLst/>
              <a:gdLst>
                <a:gd name="T0" fmla="*/ 1020 w 1248"/>
                <a:gd name="T1" fmla="*/ 588 h 1209"/>
                <a:gd name="T2" fmla="*/ 1248 w 1248"/>
                <a:gd name="T3" fmla="*/ 268 h 1209"/>
                <a:gd name="T4" fmla="*/ 1192 w 1248"/>
                <a:gd name="T5" fmla="*/ 216 h 1209"/>
                <a:gd name="T6" fmla="*/ 967 w 1248"/>
                <a:gd name="T7" fmla="*/ 402 h 1209"/>
                <a:gd name="T8" fmla="*/ 772 w 1248"/>
                <a:gd name="T9" fmla="*/ 84 h 1209"/>
                <a:gd name="T10" fmla="*/ 691 w 1248"/>
                <a:gd name="T11" fmla="*/ 46 h 1209"/>
                <a:gd name="T12" fmla="*/ 657 w 1248"/>
                <a:gd name="T13" fmla="*/ 35 h 1209"/>
                <a:gd name="T14" fmla="*/ 635 w 1248"/>
                <a:gd name="T15" fmla="*/ 32 h 1209"/>
                <a:gd name="T16" fmla="*/ 457 w 1248"/>
                <a:gd name="T17" fmla="*/ 6 h 1209"/>
                <a:gd name="T18" fmla="*/ 392 w 1248"/>
                <a:gd name="T19" fmla="*/ 6 h 1209"/>
                <a:gd name="T20" fmla="*/ 375 w 1248"/>
                <a:gd name="T21" fmla="*/ 14 h 1209"/>
                <a:gd name="T22" fmla="*/ 244 w 1248"/>
                <a:gd name="T23" fmla="*/ 72 h 1209"/>
                <a:gd name="T24" fmla="*/ 0 w 1248"/>
                <a:gd name="T25" fmla="*/ 628 h 1209"/>
                <a:gd name="T26" fmla="*/ 80 w 1248"/>
                <a:gd name="T27" fmla="*/ 720 h 1209"/>
                <a:gd name="T28" fmla="*/ 122 w 1248"/>
                <a:gd name="T29" fmla="*/ 676 h 1209"/>
                <a:gd name="T30" fmla="*/ 204 w 1248"/>
                <a:gd name="T31" fmla="*/ 1166 h 1209"/>
                <a:gd name="T32" fmla="*/ 206 w 1248"/>
                <a:gd name="T33" fmla="*/ 1168 h 1209"/>
                <a:gd name="T34" fmla="*/ 488 w 1248"/>
                <a:gd name="T35" fmla="*/ 1114 h 1209"/>
                <a:gd name="T36" fmla="*/ 488 w 1248"/>
                <a:gd name="T37" fmla="*/ 1114 h 1209"/>
                <a:gd name="T38" fmla="*/ 773 w 1248"/>
                <a:gd name="T39" fmla="*/ 1147 h 1209"/>
                <a:gd name="T40" fmla="*/ 903 w 1248"/>
                <a:gd name="T41" fmla="*/ 1103 h 1209"/>
                <a:gd name="T42" fmla="*/ 935 w 1248"/>
                <a:gd name="T43" fmla="*/ 1002 h 1209"/>
                <a:gd name="T44" fmla="*/ 932 w 1248"/>
                <a:gd name="T45" fmla="*/ 909 h 1209"/>
                <a:gd name="T46" fmla="*/ 815 w 1248"/>
                <a:gd name="T47" fmla="*/ 477 h 1209"/>
                <a:gd name="T48" fmla="*/ 904 w 1248"/>
                <a:gd name="T49" fmla="*/ 600 h 1209"/>
                <a:gd name="T50" fmla="*/ 1020 w 1248"/>
                <a:gd name="T51" fmla="*/ 588 h 1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48" h="1209">
                  <a:moveTo>
                    <a:pt x="1020" y="588"/>
                  </a:moveTo>
                  <a:cubicBezTo>
                    <a:pt x="1248" y="268"/>
                    <a:pt x="1248" y="268"/>
                    <a:pt x="1248" y="268"/>
                  </a:cubicBezTo>
                  <a:cubicBezTo>
                    <a:pt x="1192" y="216"/>
                    <a:pt x="1192" y="216"/>
                    <a:pt x="1192" y="216"/>
                  </a:cubicBezTo>
                  <a:cubicBezTo>
                    <a:pt x="967" y="402"/>
                    <a:pt x="967" y="402"/>
                    <a:pt x="967" y="402"/>
                  </a:cubicBezTo>
                  <a:cubicBezTo>
                    <a:pt x="772" y="84"/>
                    <a:pt x="772" y="84"/>
                    <a:pt x="772" y="84"/>
                  </a:cubicBezTo>
                  <a:cubicBezTo>
                    <a:pt x="691" y="46"/>
                    <a:pt x="691" y="46"/>
                    <a:pt x="691" y="46"/>
                  </a:cubicBezTo>
                  <a:cubicBezTo>
                    <a:pt x="681" y="41"/>
                    <a:pt x="670" y="37"/>
                    <a:pt x="657" y="35"/>
                  </a:cubicBezTo>
                  <a:cubicBezTo>
                    <a:pt x="650" y="34"/>
                    <a:pt x="643" y="33"/>
                    <a:pt x="635" y="32"/>
                  </a:cubicBezTo>
                  <a:cubicBezTo>
                    <a:pt x="576" y="23"/>
                    <a:pt x="517" y="15"/>
                    <a:pt x="457" y="6"/>
                  </a:cubicBezTo>
                  <a:cubicBezTo>
                    <a:pt x="436" y="3"/>
                    <a:pt x="413" y="0"/>
                    <a:pt x="392" y="6"/>
                  </a:cubicBezTo>
                  <a:cubicBezTo>
                    <a:pt x="386" y="8"/>
                    <a:pt x="381" y="11"/>
                    <a:pt x="375" y="14"/>
                  </a:cubicBezTo>
                  <a:cubicBezTo>
                    <a:pt x="244" y="72"/>
                    <a:pt x="244" y="72"/>
                    <a:pt x="244" y="72"/>
                  </a:cubicBezTo>
                  <a:cubicBezTo>
                    <a:pt x="0" y="628"/>
                    <a:pt x="0" y="628"/>
                    <a:pt x="0" y="628"/>
                  </a:cubicBezTo>
                  <a:cubicBezTo>
                    <a:pt x="80" y="720"/>
                    <a:pt x="80" y="720"/>
                    <a:pt x="80" y="720"/>
                  </a:cubicBezTo>
                  <a:cubicBezTo>
                    <a:pt x="122" y="676"/>
                    <a:pt x="122" y="676"/>
                    <a:pt x="122" y="676"/>
                  </a:cubicBezTo>
                  <a:cubicBezTo>
                    <a:pt x="100" y="855"/>
                    <a:pt x="106" y="1053"/>
                    <a:pt x="204" y="1166"/>
                  </a:cubicBezTo>
                  <a:cubicBezTo>
                    <a:pt x="205" y="1167"/>
                    <a:pt x="205" y="1167"/>
                    <a:pt x="206" y="1168"/>
                  </a:cubicBezTo>
                  <a:cubicBezTo>
                    <a:pt x="270" y="1209"/>
                    <a:pt x="343" y="1135"/>
                    <a:pt x="488" y="1114"/>
                  </a:cubicBezTo>
                  <a:cubicBezTo>
                    <a:pt x="488" y="1114"/>
                    <a:pt x="488" y="1114"/>
                    <a:pt x="488" y="1114"/>
                  </a:cubicBezTo>
                  <a:cubicBezTo>
                    <a:pt x="633" y="1093"/>
                    <a:pt x="773" y="1147"/>
                    <a:pt x="773" y="1147"/>
                  </a:cubicBezTo>
                  <a:cubicBezTo>
                    <a:pt x="773" y="1147"/>
                    <a:pt x="855" y="1170"/>
                    <a:pt x="903" y="1103"/>
                  </a:cubicBezTo>
                  <a:cubicBezTo>
                    <a:pt x="919" y="1080"/>
                    <a:pt x="931" y="1048"/>
                    <a:pt x="935" y="1002"/>
                  </a:cubicBezTo>
                  <a:cubicBezTo>
                    <a:pt x="937" y="974"/>
                    <a:pt x="936" y="942"/>
                    <a:pt x="932" y="909"/>
                  </a:cubicBezTo>
                  <a:cubicBezTo>
                    <a:pt x="916" y="770"/>
                    <a:pt x="852" y="600"/>
                    <a:pt x="815" y="477"/>
                  </a:cubicBezTo>
                  <a:cubicBezTo>
                    <a:pt x="904" y="600"/>
                    <a:pt x="904" y="600"/>
                    <a:pt x="904" y="600"/>
                  </a:cubicBezTo>
                  <a:cubicBezTo>
                    <a:pt x="1020" y="588"/>
                    <a:pt x="1020" y="588"/>
                    <a:pt x="1020" y="588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" name="Freeform 41">
              <a:extLst>
                <a:ext uri="{FF2B5EF4-FFF2-40B4-BE49-F238E27FC236}">
                  <a16:creationId xmlns:a16="http://schemas.microsoft.com/office/drawing/2014/main" id="{308D9965-93D2-4EBD-AF14-4894F11D3F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10108" y="4886325"/>
              <a:ext cx="454025" cy="1096963"/>
            </a:xfrm>
            <a:custGeom>
              <a:avLst/>
              <a:gdLst>
                <a:gd name="T0" fmla="*/ 228 w 286"/>
                <a:gd name="T1" fmla="*/ 0 h 691"/>
                <a:gd name="T2" fmla="*/ 286 w 286"/>
                <a:gd name="T3" fmla="*/ 151 h 691"/>
                <a:gd name="T4" fmla="*/ 208 w 286"/>
                <a:gd name="T5" fmla="*/ 691 h 691"/>
                <a:gd name="T6" fmla="*/ 135 w 286"/>
                <a:gd name="T7" fmla="*/ 691 h 691"/>
                <a:gd name="T8" fmla="*/ 105 w 286"/>
                <a:gd name="T9" fmla="*/ 191 h 691"/>
                <a:gd name="T10" fmla="*/ 0 w 286"/>
                <a:gd name="T11" fmla="*/ 23 h 691"/>
                <a:gd name="T12" fmla="*/ 228 w 286"/>
                <a:gd name="T13" fmla="*/ 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6" h="691">
                  <a:moveTo>
                    <a:pt x="228" y="0"/>
                  </a:moveTo>
                  <a:lnTo>
                    <a:pt x="286" y="151"/>
                  </a:lnTo>
                  <a:lnTo>
                    <a:pt x="208" y="691"/>
                  </a:lnTo>
                  <a:lnTo>
                    <a:pt x="135" y="691"/>
                  </a:lnTo>
                  <a:lnTo>
                    <a:pt x="105" y="191"/>
                  </a:lnTo>
                  <a:lnTo>
                    <a:pt x="0" y="23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" name="Freeform 42">
              <a:extLst>
                <a:ext uri="{FF2B5EF4-FFF2-40B4-BE49-F238E27FC236}">
                  <a16:creationId xmlns:a16="http://schemas.microsoft.com/office/drawing/2014/main" id="{8C8F68CF-6546-45E0-AF20-29F22EC71A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10108" y="4886325"/>
              <a:ext cx="454025" cy="1096963"/>
            </a:xfrm>
            <a:custGeom>
              <a:avLst/>
              <a:gdLst>
                <a:gd name="T0" fmla="*/ 228 w 286"/>
                <a:gd name="T1" fmla="*/ 0 h 691"/>
                <a:gd name="T2" fmla="*/ 286 w 286"/>
                <a:gd name="T3" fmla="*/ 151 h 691"/>
                <a:gd name="T4" fmla="*/ 208 w 286"/>
                <a:gd name="T5" fmla="*/ 691 h 691"/>
                <a:gd name="T6" fmla="*/ 135 w 286"/>
                <a:gd name="T7" fmla="*/ 691 h 691"/>
                <a:gd name="T8" fmla="*/ 105 w 286"/>
                <a:gd name="T9" fmla="*/ 191 h 691"/>
                <a:gd name="T10" fmla="*/ 0 w 286"/>
                <a:gd name="T11" fmla="*/ 23 h 691"/>
                <a:gd name="T12" fmla="*/ 228 w 286"/>
                <a:gd name="T13" fmla="*/ 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6" h="691">
                  <a:moveTo>
                    <a:pt x="228" y="0"/>
                  </a:moveTo>
                  <a:lnTo>
                    <a:pt x="286" y="151"/>
                  </a:lnTo>
                  <a:lnTo>
                    <a:pt x="208" y="691"/>
                  </a:lnTo>
                  <a:lnTo>
                    <a:pt x="135" y="691"/>
                  </a:lnTo>
                  <a:lnTo>
                    <a:pt x="105" y="191"/>
                  </a:lnTo>
                  <a:lnTo>
                    <a:pt x="0" y="23"/>
                  </a:lnTo>
                  <a:lnTo>
                    <a:pt x="22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" name="Freeform 43">
              <a:extLst>
                <a:ext uri="{FF2B5EF4-FFF2-40B4-BE49-F238E27FC236}">
                  <a16:creationId xmlns:a16="http://schemas.microsoft.com/office/drawing/2014/main" id="{CD665907-F750-4634-8A87-8D167CFE81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33871" y="4838700"/>
              <a:ext cx="500063" cy="1144588"/>
            </a:xfrm>
            <a:custGeom>
              <a:avLst/>
              <a:gdLst>
                <a:gd name="T0" fmla="*/ 307 w 315"/>
                <a:gd name="T1" fmla="*/ 47 h 721"/>
                <a:gd name="T2" fmla="*/ 315 w 315"/>
                <a:gd name="T3" fmla="*/ 232 h 721"/>
                <a:gd name="T4" fmla="*/ 285 w 315"/>
                <a:gd name="T5" fmla="*/ 721 h 721"/>
                <a:gd name="T6" fmla="*/ 210 w 315"/>
                <a:gd name="T7" fmla="*/ 709 h 721"/>
                <a:gd name="T8" fmla="*/ 137 w 315"/>
                <a:gd name="T9" fmla="*/ 244 h 721"/>
                <a:gd name="T10" fmla="*/ 0 w 315"/>
                <a:gd name="T11" fmla="*/ 133 h 721"/>
                <a:gd name="T12" fmla="*/ 126 w 315"/>
                <a:gd name="T13" fmla="*/ 0 h 721"/>
                <a:gd name="T14" fmla="*/ 307 w 315"/>
                <a:gd name="T15" fmla="*/ 47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5" h="721">
                  <a:moveTo>
                    <a:pt x="307" y="47"/>
                  </a:moveTo>
                  <a:lnTo>
                    <a:pt x="315" y="232"/>
                  </a:lnTo>
                  <a:lnTo>
                    <a:pt x="285" y="721"/>
                  </a:lnTo>
                  <a:lnTo>
                    <a:pt x="210" y="709"/>
                  </a:lnTo>
                  <a:lnTo>
                    <a:pt x="137" y="244"/>
                  </a:lnTo>
                  <a:lnTo>
                    <a:pt x="0" y="133"/>
                  </a:lnTo>
                  <a:lnTo>
                    <a:pt x="126" y="0"/>
                  </a:lnTo>
                  <a:lnTo>
                    <a:pt x="307" y="4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3" name="Freeform 44">
              <a:extLst>
                <a:ext uri="{FF2B5EF4-FFF2-40B4-BE49-F238E27FC236}">
                  <a16:creationId xmlns:a16="http://schemas.microsoft.com/office/drawing/2014/main" id="{EE898A92-1C59-45D1-AE99-5DDBFE7017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3946" y="5983288"/>
              <a:ext cx="158750" cy="109538"/>
            </a:xfrm>
            <a:custGeom>
              <a:avLst/>
              <a:gdLst>
                <a:gd name="T0" fmla="*/ 55 w 100"/>
                <a:gd name="T1" fmla="*/ 0 h 69"/>
                <a:gd name="T2" fmla="*/ 100 w 100"/>
                <a:gd name="T3" fmla="*/ 48 h 69"/>
                <a:gd name="T4" fmla="*/ 79 w 100"/>
                <a:gd name="T5" fmla="*/ 69 h 69"/>
                <a:gd name="T6" fmla="*/ 0 w 100"/>
                <a:gd name="T7" fmla="*/ 42 h 69"/>
                <a:gd name="T8" fmla="*/ 7 w 100"/>
                <a:gd name="T9" fmla="*/ 0 h 69"/>
                <a:gd name="T10" fmla="*/ 55 w 100"/>
                <a:gd name="T1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69">
                  <a:moveTo>
                    <a:pt x="55" y="0"/>
                  </a:moveTo>
                  <a:lnTo>
                    <a:pt x="100" y="48"/>
                  </a:lnTo>
                  <a:lnTo>
                    <a:pt x="79" y="69"/>
                  </a:lnTo>
                  <a:lnTo>
                    <a:pt x="0" y="42"/>
                  </a:lnTo>
                  <a:lnTo>
                    <a:pt x="7" y="0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4" name="Freeform 45">
              <a:extLst>
                <a:ext uri="{FF2B5EF4-FFF2-40B4-BE49-F238E27FC236}">
                  <a16:creationId xmlns:a16="http://schemas.microsoft.com/office/drawing/2014/main" id="{CFBC84C6-2381-44E2-AA18-064EA525D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67246" y="5965825"/>
              <a:ext cx="176213" cy="127000"/>
            </a:xfrm>
            <a:custGeom>
              <a:avLst/>
              <a:gdLst>
                <a:gd name="T0" fmla="*/ 65 w 111"/>
                <a:gd name="T1" fmla="*/ 10 h 80"/>
                <a:gd name="T2" fmla="*/ 111 w 111"/>
                <a:gd name="T3" fmla="*/ 53 h 80"/>
                <a:gd name="T4" fmla="*/ 87 w 111"/>
                <a:gd name="T5" fmla="*/ 80 h 80"/>
                <a:gd name="T6" fmla="*/ 0 w 111"/>
                <a:gd name="T7" fmla="*/ 44 h 80"/>
                <a:gd name="T8" fmla="*/ 8 w 111"/>
                <a:gd name="T9" fmla="*/ 0 h 80"/>
                <a:gd name="T10" fmla="*/ 65 w 111"/>
                <a:gd name="T11" fmla="*/ 1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80">
                  <a:moveTo>
                    <a:pt x="65" y="10"/>
                  </a:moveTo>
                  <a:lnTo>
                    <a:pt x="111" y="53"/>
                  </a:lnTo>
                  <a:lnTo>
                    <a:pt x="87" y="80"/>
                  </a:lnTo>
                  <a:lnTo>
                    <a:pt x="0" y="44"/>
                  </a:lnTo>
                  <a:lnTo>
                    <a:pt x="8" y="0"/>
                  </a:lnTo>
                  <a:lnTo>
                    <a:pt x="65" y="1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5" name="Freeform 46">
              <a:extLst>
                <a:ext uri="{FF2B5EF4-FFF2-40B4-BE49-F238E27FC236}">
                  <a16:creationId xmlns:a16="http://schemas.microsoft.com/office/drawing/2014/main" id="{BF7E1930-57D2-40E7-96B6-DF7C4BBCBC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7096" y="3805238"/>
              <a:ext cx="320675" cy="747713"/>
            </a:xfrm>
            <a:custGeom>
              <a:avLst/>
              <a:gdLst>
                <a:gd name="T0" fmla="*/ 0 w 202"/>
                <a:gd name="T1" fmla="*/ 0 h 471"/>
                <a:gd name="T2" fmla="*/ 68 w 202"/>
                <a:gd name="T3" fmla="*/ 36 h 471"/>
                <a:gd name="T4" fmla="*/ 202 w 202"/>
                <a:gd name="T5" fmla="*/ 345 h 471"/>
                <a:gd name="T6" fmla="*/ 158 w 202"/>
                <a:gd name="T7" fmla="*/ 471 h 471"/>
                <a:gd name="T8" fmla="*/ 77 w 202"/>
                <a:gd name="T9" fmla="*/ 401 h 471"/>
                <a:gd name="T10" fmla="*/ 1 w 202"/>
                <a:gd name="T11" fmla="*/ 7 h 471"/>
                <a:gd name="T12" fmla="*/ 0 w 202"/>
                <a:gd name="T13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471">
                  <a:moveTo>
                    <a:pt x="0" y="0"/>
                  </a:moveTo>
                  <a:lnTo>
                    <a:pt x="68" y="36"/>
                  </a:lnTo>
                  <a:lnTo>
                    <a:pt x="202" y="345"/>
                  </a:lnTo>
                  <a:lnTo>
                    <a:pt x="158" y="471"/>
                  </a:lnTo>
                  <a:lnTo>
                    <a:pt x="77" y="401"/>
                  </a:lnTo>
                  <a:lnTo>
                    <a:pt x="1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6" name="Freeform 47">
              <a:extLst>
                <a:ext uri="{FF2B5EF4-FFF2-40B4-BE49-F238E27FC236}">
                  <a16:creationId xmlns:a16="http://schemas.microsoft.com/office/drawing/2014/main" id="{C97C42DC-6AB9-4306-9B0D-CE1860CF07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1321" y="3784600"/>
              <a:ext cx="231775" cy="688975"/>
            </a:xfrm>
            <a:custGeom>
              <a:avLst/>
              <a:gdLst>
                <a:gd name="T0" fmla="*/ 200 w 200"/>
                <a:gd name="T1" fmla="*/ 0 h 596"/>
                <a:gd name="T2" fmla="*/ 108 w 200"/>
                <a:gd name="T3" fmla="*/ 40 h 596"/>
                <a:gd name="T4" fmla="*/ 23 w 200"/>
                <a:gd name="T5" fmla="*/ 441 h 596"/>
                <a:gd name="T6" fmla="*/ 164 w 200"/>
                <a:gd name="T7" fmla="*/ 420 h 596"/>
                <a:gd name="T8" fmla="*/ 200 w 200"/>
                <a:gd name="T9" fmla="*/ 0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0" h="596">
                  <a:moveTo>
                    <a:pt x="200" y="0"/>
                  </a:moveTo>
                  <a:cubicBezTo>
                    <a:pt x="108" y="40"/>
                    <a:pt x="108" y="40"/>
                    <a:pt x="108" y="40"/>
                  </a:cubicBezTo>
                  <a:cubicBezTo>
                    <a:pt x="108" y="40"/>
                    <a:pt x="46" y="285"/>
                    <a:pt x="23" y="441"/>
                  </a:cubicBezTo>
                  <a:cubicBezTo>
                    <a:pt x="0" y="596"/>
                    <a:pt x="164" y="420"/>
                    <a:pt x="164" y="420"/>
                  </a:cubicBezTo>
                  <a:lnTo>
                    <a:pt x="200" y="0"/>
                  </a:lnTo>
                  <a:close/>
                </a:path>
              </a:pathLst>
            </a:custGeom>
            <a:solidFill>
              <a:srgbClr val="CCA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7" name="Freeform 48">
              <a:extLst>
                <a:ext uri="{FF2B5EF4-FFF2-40B4-BE49-F238E27FC236}">
                  <a16:creationId xmlns:a16="http://schemas.microsoft.com/office/drawing/2014/main" id="{DAD47068-6487-479C-811D-0F38A809F6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2583" y="3751263"/>
              <a:ext cx="1055688" cy="1420813"/>
            </a:xfrm>
            <a:custGeom>
              <a:avLst/>
              <a:gdLst>
                <a:gd name="T0" fmla="*/ 771 w 911"/>
                <a:gd name="T1" fmla="*/ 921 h 1227"/>
                <a:gd name="T2" fmla="*/ 719 w 911"/>
                <a:gd name="T3" fmla="*/ 770 h 1227"/>
                <a:gd name="T4" fmla="*/ 677 w 911"/>
                <a:gd name="T5" fmla="*/ 537 h 1227"/>
                <a:gd name="T6" fmla="*/ 521 w 911"/>
                <a:gd name="T7" fmla="*/ 93 h 1227"/>
                <a:gd name="T8" fmla="*/ 426 w 911"/>
                <a:gd name="T9" fmla="*/ 24 h 1227"/>
                <a:gd name="T10" fmla="*/ 233 w 911"/>
                <a:gd name="T11" fmla="*/ 36 h 1227"/>
                <a:gd name="T12" fmla="*/ 159 w 911"/>
                <a:gd name="T13" fmla="*/ 68 h 1227"/>
                <a:gd name="T14" fmla="*/ 74 w 911"/>
                <a:gd name="T15" fmla="*/ 469 h 1227"/>
                <a:gd name="T16" fmla="*/ 39 w 911"/>
                <a:gd name="T17" fmla="*/ 972 h 1227"/>
                <a:gd name="T18" fmla="*/ 211 w 911"/>
                <a:gd name="T19" fmla="*/ 1192 h 1227"/>
                <a:gd name="T20" fmla="*/ 309 w 911"/>
                <a:gd name="T21" fmla="*/ 1155 h 1227"/>
                <a:gd name="T22" fmla="*/ 647 w 911"/>
                <a:gd name="T23" fmla="*/ 1135 h 1227"/>
                <a:gd name="T24" fmla="*/ 771 w 911"/>
                <a:gd name="T25" fmla="*/ 921 h 1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1" h="1227">
                  <a:moveTo>
                    <a:pt x="771" y="921"/>
                  </a:moveTo>
                  <a:cubicBezTo>
                    <a:pt x="740" y="879"/>
                    <a:pt x="730" y="820"/>
                    <a:pt x="719" y="770"/>
                  </a:cubicBezTo>
                  <a:cubicBezTo>
                    <a:pt x="703" y="693"/>
                    <a:pt x="691" y="615"/>
                    <a:pt x="677" y="537"/>
                  </a:cubicBezTo>
                  <a:cubicBezTo>
                    <a:pt x="650" y="389"/>
                    <a:pt x="623" y="212"/>
                    <a:pt x="521" y="93"/>
                  </a:cubicBezTo>
                  <a:cubicBezTo>
                    <a:pt x="496" y="63"/>
                    <a:pt x="464" y="38"/>
                    <a:pt x="426" y="24"/>
                  </a:cubicBezTo>
                  <a:cubicBezTo>
                    <a:pt x="359" y="0"/>
                    <a:pt x="297" y="8"/>
                    <a:pt x="233" y="36"/>
                  </a:cubicBezTo>
                  <a:cubicBezTo>
                    <a:pt x="159" y="68"/>
                    <a:pt x="159" y="68"/>
                    <a:pt x="159" y="68"/>
                  </a:cubicBezTo>
                  <a:cubicBezTo>
                    <a:pt x="159" y="68"/>
                    <a:pt x="97" y="313"/>
                    <a:pt x="74" y="469"/>
                  </a:cubicBezTo>
                  <a:cubicBezTo>
                    <a:pt x="41" y="634"/>
                    <a:pt x="0" y="834"/>
                    <a:pt x="39" y="972"/>
                  </a:cubicBezTo>
                  <a:cubicBezTo>
                    <a:pt x="111" y="1227"/>
                    <a:pt x="187" y="1180"/>
                    <a:pt x="211" y="1192"/>
                  </a:cubicBezTo>
                  <a:cubicBezTo>
                    <a:pt x="221" y="1197"/>
                    <a:pt x="254" y="1176"/>
                    <a:pt x="309" y="1155"/>
                  </a:cubicBezTo>
                  <a:cubicBezTo>
                    <a:pt x="382" y="1127"/>
                    <a:pt x="496" y="1099"/>
                    <a:pt x="647" y="1135"/>
                  </a:cubicBezTo>
                  <a:cubicBezTo>
                    <a:pt x="911" y="1196"/>
                    <a:pt x="883" y="1077"/>
                    <a:pt x="771" y="92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8" name="Freeform 49">
              <a:extLst>
                <a:ext uri="{FF2B5EF4-FFF2-40B4-BE49-F238E27FC236}">
                  <a16:creationId xmlns:a16="http://schemas.microsoft.com/office/drawing/2014/main" id="{509EA8FA-7EC8-493D-BF2F-1861CCD7F3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3096" y="3756025"/>
              <a:ext cx="220663" cy="328613"/>
            </a:xfrm>
            <a:custGeom>
              <a:avLst/>
              <a:gdLst>
                <a:gd name="T0" fmla="*/ 0 w 139"/>
                <a:gd name="T1" fmla="*/ 15 h 207"/>
                <a:gd name="T2" fmla="*/ 100 w 139"/>
                <a:gd name="T3" fmla="*/ 207 h 207"/>
                <a:gd name="T4" fmla="*/ 139 w 139"/>
                <a:gd name="T5" fmla="*/ 19 h 207"/>
                <a:gd name="T6" fmla="*/ 100 w 139"/>
                <a:gd name="T7" fmla="*/ 3 h 207"/>
                <a:gd name="T8" fmla="*/ 47 w 139"/>
                <a:gd name="T9" fmla="*/ 0 h 207"/>
                <a:gd name="T10" fmla="*/ 0 w 139"/>
                <a:gd name="T11" fmla="*/ 1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9" h="207">
                  <a:moveTo>
                    <a:pt x="0" y="15"/>
                  </a:moveTo>
                  <a:lnTo>
                    <a:pt x="100" y="207"/>
                  </a:lnTo>
                  <a:lnTo>
                    <a:pt x="139" y="19"/>
                  </a:lnTo>
                  <a:lnTo>
                    <a:pt x="100" y="3"/>
                  </a:lnTo>
                  <a:lnTo>
                    <a:pt x="47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9" name="Freeform 50">
              <a:extLst>
                <a:ext uri="{FF2B5EF4-FFF2-40B4-BE49-F238E27FC236}">
                  <a16:creationId xmlns:a16="http://schemas.microsoft.com/office/drawing/2014/main" id="{4D3576BA-4A58-4AC9-8B41-0C19F0CCC7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70396" y="3308350"/>
              <a:ext cx="365125" cy="512763"/>
            </a:xfrm>
            <a:custGeom>
              <a:avLst/>
              <a:gdLst>
                <a:gd name="T0" fmla="*/ 71 w 316"/>
                <a:gd name="T1" fmla="*/ 420 h 443"/>
                <a:gd name="T2" fmla="*/ 132 w 316"/>
                <a:gd name="T3" fmla="*/ 439 h 443"/>
                <a:gd name="T4" fmla="*/ 164 w 316"/>
                <a:gd name="T5" fmla="*/ 423 h 443"/>
                <a:gd name="T6" fmla="*/ 184 w 316"/>
                <a:gd name="T7" fmla="*/ 355 h 443"/>
                <a:gd name="T8" fmla="*/ 270 w 316"/>
                <a:gd name="T9" fmla="*/ 323 h 443"/>
                <a:gd name="T10" fmla="*/ 280 w 316"/>
                <a:gd name="T11" fmla="*/ 292 h 443"/>
                <a:gd name="T12" fmla="*/ 310 w 316"/>
                <a:gd name="T13" fmla="*/ 158 h 443"/>
                <a:gd name="T14" fmla="*/ 314 w 316"/>
                <a:gd name="T15" fmla="*/ 111 h 443"/>
                <a:gd name="T16" fmla="*/ 270 w 316"/>
                <a:gd name="T17" fmla="*/ 49 h 443"/>
                <a:gd name="T18" fmla="*/ 88 w 316"/>
                <a:gd name="T19" fmla="*/ 23 h 443"/>
                <a:gd name="T20" fmla="*/ 45 w 316"/>
                <a:gd name="T21" fmla="*/ 52 h 443"/>
                <a:gd name="T22" fmla="*/ 18 w 316"/>
                <a:gd name="T23" fmla="*/ 134 h 443"/>
                <a:gd name="T24" fmla="*/ 7 w 316"/>
                <a:gd name="T25" fmla="*/ 214 h 443"/>
                <a:gd name="T26" fmla="*/ 19 w 316"/>
                <a:gd name="T27" fmla="*/ 301 h 443"/>
                <a:gd name="T28" fmla="*/ 53 w 316"/>
                <a:gd name="T29" fmla="*/ 330 h 443"/>
                <a:gd name="T30" fmla="*/ 54 w 316"/>
                <a:gd name="T31" fmla="*/ 394 h 443"/>
                <a:gd name="T32" fmla="*/ 71 w 316"/>
                <a:gd name="T33" fmla="*/ 420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6" h="443">
                  <a:moveTo>
                    <a:pt x="71" y="420"/>
                  </a:moveTo>
                  <a:cubicBezTo>
                    <a:pt x="132" y="439"/>
                    <a:pt x="132" y="439"/>
                    <a:pt x="132" y="439"/>
                  </a:cubicBezTo>
                  <a:cubicBezTo>
                    <a:pt x="145" y="443"/>
                    <a:pt x="159" y="436"/>
                    <a:pt x="164" y="423"/>
                  </a:cubicBezTo>
                  <a:cubicBezTo>
                    <a:pt x="172" y="401"/>
                    <a:pt x="179" y="378"/>
                    <a:pt x="184" y="355"/>
                  </a:cubicBezTo>
                  <a:cubicBezTo>
                    <a:pt x="215" y="356"/>
                    <a:pt x="253" y="354"/>
                    <a:pt x="270" y="323"/>
                  </a:cubicBezTo>
                  <a:cubicBezTo>
                    <a:pt x="276" y="314"/>
                    <a:pt x="278" y="303"/>
                    <a:pt x="280" y="292"/>
                  </a:cubicBezTo>
                  <a:cubicBezTo>
                    <a:pt x="290" y="247"/>
                    <a:pt x="300" y="203"/>
                    <a:pt x="310" y="158"/>
                  </a:cubicBezTo>
                  <a:cubicBezTo>
                    <a:pt x="313" y="142"/>
                    <a:pt x="316" y="126"/>
                    <a:pt x="314" y="111"/>
                  </a:cubicBezTo>
                  <a:cubicBezTo>
                    <a:pt x="311" y="84"/>
                    <a:pt x="290" y="64"/>
                    <a:pt x="270" y="49"/>
                  </a:cubicBezTo>
                  <a:cubicBezTo>
                    <a:pt x="217" y="13"/>
                    <a:pt x="149" y="0"/>
                    <a:pt x="88" y="23"/>
                  </a:cubicBezTo>
                  <a:cubicBezTo>
                    <a:pt x="72" y="29"/>
                    <a:pt x="56" y="38"/>
                    <a:pt x="45" y="52"/>
                  </a:cubicBezTo>
                  <a:cubicBezTo>
                    <a:pt x="27" y="74"/>
                    <a:pt x="22" y="105"/>
                    <a:pt x="18" y="134"/>
                  </a:cubicBezTo>
                  <a:cubicBezTo>
                    <a:pt x="14" y="160"/>
                    <a:pt x="10" y="187"/>
                    <a:pt x="7" y="214"/>
                  </a:cubicBezTo>
                  <a:cubicBezTo>
                    <a:pt x="3" y="244"/>
                    <a:pt x="0" y="280"/>
                    <a:pt x="19" y="301"/>
                  </a:cubicBezTo>
                  <a:cubicBezTo>
                    <a:pt x="30" y="312"/>
                    <a:pt x="45" y="317"/>
                    <a:pt x="53" y="330"/>
                  </a:cubicBezTo>
                  <a:cubicBezTo>
                    <a:pt x="64" y="348"/>
                    <a:pt x="58" y="371"/>
                    <a:pt x="54" y="394"/>
                  </a:cubicBezTo>
                  <a:cubicBezTo>
                    <a:pt x="53" y="405"/>
                    <a:pt x="60" y="416"/>
                    <a:pt x="71" y="420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0" name="Freeform 51">
              <a:extLst>
                <a:ext uri="{FF2B5EF4-FFF2-40B4-BE49-F238E27FC236}">
                  <a16:creationId xmlns:a16="http://schemas.microsoft.com/office/drawing/2014/main" id="{6F499E74-68CD-4A65-AC55-91DC635761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9908" y="3217863"/>
              <a:ext cx="373063" cy="449263"/>
            </a:xfrm>
            <a:custGeom>
              <a:avLst/>
              <a:gdLst>
                <a:gd name="T0" fmla="*/ 233 w 321"/>
                <a:gd name="T1" fmla="*/ 189 h 388"/>
                <a:gd name="T2" fmla="*/ 141 w 321"/>
                <a:gd name="T3" fmla="*/ 247 h 388"/>
                <a:gd name="T4" fmla="*/ 92 w 321"/>
                <a:gd name="T5" fmla="*/ 281 h 388"/>
                <a:gd name="T6" fmla="*/ 115 w 321"/>
                <a:gd name="T7" fmla="*/ 354 h 388"/>
                <a:gd name="T8" fmla="*/ 123 w 321"/>
                <a:gd name="T9" fmla="*/ 364 h 388"/>
                <a:gd name="T10" fmla="*/ 113 w 321"/>
                <a:gd name="T11" fmla="*/ 385 h 388"/>
                <a:gd name="T12" fmla="*/ 89 w 321"/>
                <a:gd name="T13" fmla="*/ 384 h 388"/>
                <a:gd name="T14" fmla="*/ 32 w 321"/>
                <a:gd name="T15" fmla="*/ 336 h 388"/>
                <a:gd name="T16" fmla="*/ 17 w 321"/>
                <a:gd name="T17" fmla="*/ 179 h 388"/>
                <a:gd name="T18" fmla="*/ 114 w 321"/>
                <a:gd name="T19" fmla="*/ 54 h 388"/>
                <a:gd name="T20" fmla="*/ 246 w 321"/>
                <a:gd name="T21" fmla="*/ 8 h 388"/>
                <a:gd name="T22" fmla="*/ 315 w 321"/>
                <a:gd name="T23" fmla="*/ 75 h 388"/>
                <a:gd name="T24" fmla="*/ 233 w 321"/>
                <a:gd name="T25" fmla="*/ 189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1" h="388">
                  <a:moveTo>
                    <a:pt x="233" y="189"/>
                  </a:moveTo>
                  <a:cubicBezTo>
                    <a:pt x="206" y="214"/>
                    <a:pt x="176" y="235"/>
                    <a:pt x="141" y="247"/>
                  </a:cubicBezTo>
                  <a:cubicBezTo>
                    <a:pt x="120" y="254"/>
                    <a:pt x="99" y="255"/>
                    <a:pt x="92" y="281"/>
                  </a:cubicBezTo>
                  <a:cubicBezTo>
                    <a:pt x="86" y="306"/>
                    <a:pt x="97" y="337"/>
                    <a:pt x="115" y="354"/>
                  </a:cubicBezTo>
                  <a:cubicBezTo>
                    <a:pt x="118" y="357"/>
                    <a:pt x="122" y="360"/>
                    <a:pt x="123" y="364"/>
                  </a:cubicBezTo>
                  <a:cubicBezTo>
                    <a:pt x="127" y="372"/>
                    <a:pt x="121" y="381"/>
                    <a:pt x="113" y="385"/>
                  </a:cubicBezTo>
                  <a:cubicBezTo>
                    <a:pt x="106" y="388"/>
                    <a:pt x="97" y="387"/>
                    <a:pt x="89" y="384"/>
                  </a:cubicBezTo>
                  <a:cubicBezTo>
                    <a:pt x="65" y="376"/>
                    <a:pt x="46" y="358"/>
                    <a:pt x="32" y="336"/>
                  </a:cubicBezTo>
                  <a:cubicBezTo>
                    <a:pt x="4" y="290"/>
                    <a:pt x="0" y="231"/>
                    <a:pt x="17" y="179"/>
                  </a:cubicBezTo>
                  <a:cubicBezTo>
                    <a:pt x="34" y="129"/>
                    <a:pt x="70" y="83"/>
                    <a:pt x="114" y="54"/>
                  </a:cubicBezTo>
                  <a:cubicBezTo>
                    <a:pt x="155" y="28"/>
                    <a:pt x="195" y="0"/>
                    <a:pt x="246" y="8"/>
                  </a:cubicBezTo>
                  <a:cubicBezTo>
                    <a:pt x="275" y="12"/>
                    <a:pt x="321" y="39"/>
                    <a:pt x="315" y="75"/>
                  </a:cubicBezTo>
                  <a:cubicBezTo>
                    <a:pt x="309" y="113"/>
                    <a:pt x="259" y="164"/>
                    <a:pt x="233" y="18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  <p:sp>
          <p:nvSpPr>
            <p:cNvPr id="51" name="Freeform 52">
              <a:extLst>
                <a:ext uri="{FF2B5EF4-FFF2-40B4-BE49-F238E27FC236}">
                  <a16:creationId xmlns:a16="http://schemas.microsoft.com/office/drawing/2014/main" id="{AA701C13-006D-42CC-9ED3-EAE3B68E89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1846" y="3259138"/>
              <a:ext cx="266700" cy="469900"/>
            </a:xfrm>
            <a:custGeom>
              <a:avLst/>
              <a:gdLst>
                <a:gd name="T0" fmla="*/ 95 w 231"/>
                <a:gd name="T1" fmla="*/ 160 h 405"/>
                <a:gd name="T2" fmla="*/ 136 w 231"/>
                <a:gd name="T3" fmla="*/ 223 h 405"/>
                <a:gd name="T4" fmla="*/ 133 w 231"/>
                <a:gd name="T5" fmla="*/ 255 h 405"/>
                <a:gd name="T6" fmla="*/ 119 w 231"/>
                <a:gd name="T7" fmla="*/ 312 h 405"/>
                <a:gd name="T8" fmla="*/ 87 w 231"/>
                <a:gd name="T9" fmla="*/ 366 h 405"/>
                <a:gd name="T10" fmla="*/ 68 w 231"/>
                <a:gd name="T11" fmla="*/ 402 h 405"/>
                <a:gd name="T12" fmla="*/ 97 w 231"/>
                <a:gd name="T13" fmla="*/ 396 h 405"/>
                <a:gd name="T14" fmla="*/ 227 w 231"/>
                <a:gd name="T15" fmla="*/ 215 h 405"/>
                <a:gd name="T16" fmla="*/ 191 w 231"/>
                <a:gd name="T17" fmla="*/ 82 h 405"/>
                <a:gd name="T18" fmla="*/ 65 w 231"/>
                <a:gd name="T19" fmla="*/ 16 h 405"/>
                <a:gd name="T20" fmla="*/ 95 w 231"/>
                <a:gd name="T21" fmla="*/ 160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1" h="405">
                  <a:moveTo>
                    <a:pt x="95" y="160"/>
                  </a:moveTo>
                  <a:cubicBezTo>
                    <a:pt x="112" y="179"/>
                    <a:pt x="132" y="198"/>
                    <a:pt x="136" y="223"/>
                  </a:cubicBezTo>
                  <a:cubicBezTo>
                    <a:pt x="137" y="234"/>
                    <a:pt x="136" y="245"/>
                    <a:pt x="133" y="255"/>
                  </a:cubicBezTo>
                  <a:cubicBezTo>
                    <a:pt x="129" y="274"/>
                    <a:pt x="124" y="293"/>
                    <a:pt x="119" y="312"/>
                  </a:cubicBezTo>
                  <a:cubicBezTo>
                    <a:pt x="112" y="331"/>
                    <a:pt x="104" y="353"/>
                    <a:pt x="87" y="366"/>
                  </a:cubicBezTo>
                  <a:cubicBezTo>
                    <a:pt x="80" y="371"/>
                    <a:pt x="35" y="390"/>
                    <a:pt x="68" y="402"/>
                  </a:cubicBezTo>
                  <a:cubicBezTo>
                    <a:pt x="77" y="405"/>
                    <a:pt x="88" y="401"/>
                    <a:pt x="97" y="396"/>
                  </a:cubicBezTo>
                  <a:cubicBezTo>
                    <a:pt x="167" y="360"/>
                    <a:pt x="220" y="291"/>
                    <a:pt x="227" y="215"/>
                  </a:cubicBezTo>
                  <a:cubicBezTo>
                    <a:pt x="231" y="168"/>
                    <a:pt x="218" y="120"/>
                    <a:pt x="191" y="82"/>
                  </a:cubicBezTo>
                  <a:cubicBezTo>
                    <a:pt x="166" y="46"/>
                    <a:pt x="113" y="0"/>
                    <a:pt x="65" y="16"/>
                  </a:cubicBezTo>
                  <a:cubicBezTo>
                    <a:pt x="0" y="38"/>
                    <a:pt x="70" y="132"/>
                    <a:pt x="95" y="160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" name="Freeform 53">
              <a:extLst>
                <a:ext uri="{FF2B5EF4-FFF2-40B4-BE49-F238E27FC236}">
                  <a16:creationId xmlns:a16="http://schemas.microsoft.com/office/drawing/2014/main" id="{11B3E817-1B5B-4935-BC48-5A4AD83DB2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10183" y="4057650"/>
              <a:ext cx="0" cy="1588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7A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" name="Freeform 54">
              <a:extLst>
                <a:ext uri="{FF2B5EF4-FFF2-40B4-BE49-F238E27FC236}">
                  <a16:creationId xmlns:a16="http://schemas.microsoft.com/office/drawing/2014/main" id="{8FAADDE6-8B73-4935-BE16-0E65EE787A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92733" y="3716338"/>
              <a:ext cx="627063" cy="1368425"/>
            </a:xfrm>
            <a:custGeom>
              <a:avLst/>
              <a:gdLst>
                <a:gd name="T0" fmla="*/ 232 w 541"/>
                <a:gd name="T1" fmla="*/ 389 h 1183"/>
                <a:gd name="T2" fmla="*/ 211 w 541"/>
                <a:gd name="T3" fmla="*/ 503 h 1183"/>
                <a:gd name="T4" fmla="*/ 0 w 541"/>
                <a:gd name="T5" fmla="*/ 1183 h 1183"/>
                <a:gd name="T6" fmla="*/ 521 w 541"/>
                <a:gd name="T7" fmla="*/ 1150 h 1183"/>
                <a:gd name="T8" fmla="*/ 535 w 541"/>
                <a:gd name="T9" fmla="*/ 979 h 1183"/>
                <a:gd name="T10" fmla="*/ 537 w 541"/>
                <a:gd name="T11" fmla="*/ 810 h 1183"/>
                <a:gd name="T12" fmla="*/ 483 w 541"/>
                <a:gd name="T13" fmla="*/ 545 h 1183"/>
                <a:gd name="T14" fmla="*/ 352 w 541"/>
                <a:gd name="T15" fmla="*/ 67 h 1183"/>
                <a:gd name="T16" fmla="*/ 342 w 541"/>
                <a:gd name="T17" fmla="*/ 43 h 1183"/>
                <a:gd name="T18" fmla="*/ 317 w 541"/>
                <a:gd name="T19" fmla="*/ 28 h 1183"/>
                <a:gd name="T20" fmla="*/ 174 w 541"/>
                <a:gd name="T21" fmla="*/ 3 h 1183"/>
                <a:gd name="T22" fmla="*/ 201 w 541"/>
                <a:gd name="T23" fmla="*/ 183 h 1183"/>
                <a:gd name="T24" fmla="*/ 232 w 541"/>
                <a:gd name="T25" fmla="*/ 389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1" h="1183">
                  <a:moveTo>
                    <a:pt x="232" y="389"/>
                  </a:moveTo>
                  <a:cubicBezTo>
                    <a:pt x="229" y="427"/>
                    <a:pt x="220" y="465"/>
                    <a:pt x="211" y="503"/>
                  </a:cubicBezTo>
                  <a:cubicBezTo>
                    <a:pt x="155" y="732"/>
                    <a:pt x="57" y="954"/>
                    <a:pt x="0" y="1183"/>
                  </a:cubicBezTo>
                  <a:cubicBezTo>
                    <a:pt x="154" y="1183"/>
                    <a:pt x="133" y="1059"/>
                    <a:pt x="521" y="1150"/>
                  </a:cubicBezTo>
                  <a:cubicBezTo>
                    <a:pt x="526" y="1062"/>
                    <a:pt x="531" y="1066"/>
                    <a:pt x="535" y="979"/>
                  </a:cubicBezTo>
                  <a:cubicBezTo>
                    <a:pt x="538" y="922"/>
                    <a:pt x="541" y="866"/>
                    <a:pt x="537" y="810"/>
                  </a:cubicBezTo>
                  <a:cubicBezTo>
                    <a:pt x="531" y="719"/>
                    <a:pt x="507" y="632"/>
                    <a:pt x="483" y="545"/>
                  </a:cubicBezTo>
                  <a:cubicBezTo>
                    <a:pt x="439" y="386"/>
                    <a:pt x="396" y="226"/>
                    <a:pt x="352" y="67"/>
                  </a:cubicBezTo>
                  <a:cubicBezTo>
                    <a:pt x="350" y="58"/>
                    <a:pt x="347" y="49"/>
                    <a:pt x="342" y="43"/>
                  </a:cubicBezTo>
                  <a:cubicBezTo>
                    <a:pt x="335" y="35"/>
                    <a:pt x="326" y="31"/>
                    <a:pt x="317" y="28"/>
                  </a:cubicBezTo>
                  <a:cubicBezTo>
                    <a:pt x="272" y="14"/>
                    <a:pt x="221" y="0"/>
                    <a:pt x="174" y="3"/>
                  </a:cubicBezTo>
                  <a:cubicBezTo>
                    <a:pt x="157" y="49"/>
                    <a:pt x="190" y="137"/>
                    <a:pt x="201" y="183"/>
                  </a:cubicBezTo>
                  <a:cubicBezTo>
                    <a:pt x="216" y="250"/>
                    <a:pt x="236" y="318"/>
                    <a:pt x="232" y="38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" name="Freeform 55">
              <a:extLst>
                <a:ext uri="{FF2B5EF4-FFF2-40B4-BE49-F238E27FC236}">
                  <a16:creationId xmlns:a16="http://schemas.microsoft.com/office/drawing/2014/main" id="{B7C6E349-2CE9-4478-A457-350088DB9E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13408" y="3254375"/>
              <a:ext cx="158750" cy="239713"/>
            </a:xfrm>
            <a:custGeom>
              <a:avLst/>
              <a:gdLst>
                <a:gd name="T0" fmla="*/ 69 w 137"/>
                <a:gd name="T1" fmla="*/ 75 h 206"/>
                <a:gd name="T2" fmla="*/ 96 w 137"/>
                <a:gd name="T3" fmla="*/ 166 h 206"/>
                <a:gd name="T4" fmla="*/ 105 w 137"/>
                <a:gd name="T5" fmla="*/ 189 h 206"/>
                <a:gd name="T6" fmla="*/ 112 w 137"/>
                <a:gd name="T7" fmla="*/ 199 h 206"/>
                <a:gd name="T8" fmla="*/ 136 w 137"/>
                <a:gd name="T9" fmla="*/ 157 h 206"/>
                <a:gd name="T10" fmla="*/ 134 w 137"/>
                <a:gd name="T11" fmla="*/ 93 h 206"/>
                <a:gd name="T12" fmla="*/ 115 w 137"/>
                <a:gd name="T13" fmla="*/ 41 h 206"/>
                <a:gd name="T14" fmla="*/ 88 w 137"/>
                <a:gd name="T15" fmla="*/ 22 h 206"/>
                <a:gd name="T16" fmla="*/ 44 w 137"/>
                <a:gd name="T17" fmla="*/ 4 h 206"/>
                <a:gd name="T18" fmla="*/ 25 w 137"/>
                <a:gd name="T19" fmla="*/ 28 h 206"/>
                <a:gd name="T20" fmla="*/ 69 w 137"/>
                <a:gd name="T21" fmla="*/ 75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206">
                  <a:moveTo>
                    <a:pt x="69" y="75"/>
                  </a:moveTo>
                  <a:cubicBezTo>
                    <a:pt x="85" y="102"/>
                    <a:pt x="94" y="134"/>
                    <a:pt x="96" y="166"/>
                  </a:cubicBezTo>
                  <a:cubicBezTo>
                    <a:pt x="97" y="174"/>
                    <a:pt x="98" y="184"/>
                    <a:pt x="105" y="189"/>
                  </a:cubicBezTo>
                  <a:cubicBezTo>
                    <a:pt x="112" y="194"/>
                    <a:pt x="106" y="206"/>
                    <a:pt x="112" y="199"/>
                  </a:cubicBezTo>
                  <a:cubicBezTo>
                    <a:pt x="117" y="191"/>
                    <a:pt x="135" y="166"/>
                    <a:pt x="136" y="157"/>
                  </a:cubicBezTo>
                  <a:cubicBezTo>
                    <a:pt x="137" y="135"/>
                    <a:pt x="137" y="114"/>
                    <a:pt x="134" y="93"/>
                  </a:cubicBezTo>
                  <a:cubicBezTo>
                    <a:pt x="132" y="74"/>
                    <a:pt x="127" y="55"/>
                    <a:pt x="115" y="41"/>
                  </a:cubicBezTo>
                  <a:cubicBezTo>
                    <a:pt x="107" y="33"/>
                    <a:pt x="97" y="27"/>
                    <a:pt x="88" y="22"/>
                  </a:cubicBezTo>
                  <a:cubicBezTo>
                    <a:pt x="74" y="14"/>
                    <a:pt x="60" y="6"/>
                    <a:pt x="44" y="4"/>
                  </a:cubicBezTo>
                  <a:cubicBezTo>
                    <a:pt x="17" y="0"/>
                    <a:pt x="0" y="10"/>
                    <a:pt x="25" y="28"/>
                  </a:cubicBezTo>
                  <a:cubicBezTo>
                    <a:pt x="42" y="41"/>
                    <a:pt x="57" y="56"/>
                    <a:pt x="69" y="75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" name="Freeform 56">
              <a:extLst>
                <a:ext uri="{FF2B5EF4-FFF2-40B4-BE49-F238E27FC236}">
                  <a16:creationId xmlns:a16="http://schemas.microsoft.com/office/drawing/2014/main" id="{9AAFA56E-B508-45DB-9B16-BF25E01C4A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1633" y="3257550"/>
              <a:ext cx="363538" cy="515938"/>
            </a:xfrm>
            <a:custGeom>
              <a:avLst/>
              <a:gdLst>
                <a:gd name="T0" fmla="*/ 110 w 313"/>
                <a:gd name="T1" fmla="*/ 441 h 446"/>
                <a:gd name="T2" fmla="*/ 177 w 313"/>
                <a:gd name="T3" fmla="*/ 445 h 446"/>
                <a:gd name="T4" fmla="*/ 227 w 313"/>
                <a:gd name="T5" fmla="*/ 401 h 446"/>
                <a:gd name="T6" fmla="*/ 229 w 313"/>
                <a:gd name="T7" fmla="*/ 350 h 446"/>
                <a:gd name="T8" fmla="*/ 309 w 313"/>
                <a:gd name="T9" fmla="*/ 297 h 446"/>
                <a:gd name="T10" fmla="*/ 312 w 313"/>
                <a:gd name="T11" fmla="*/ 264 h 446"/>
                <a:gd name="T12" fmla="*/ 309 w 313"/>
                <a:gd name="T13" fmla="*/ 122 h 446"/>
                <a:gd name="T14" fmla="*/ 302 w 313"/>
                <a:gd name="T15" fmla="*/ 74 h 446"/>
                <a:gd name="T16" fmla="*/ 242 w 313"/>
                <a:gd name="T17" fmla="*/ 24 h 446"/>
                <a:gd name="T18" fmla="*/ 50 w 313"/>
                <a:gd name="T19" fmla="*/ 41 h 446"/>
                <a:gd name="T20" fmla="*/ 13 w 313"/>
                <a:gd name="T21" fmla="*/ 81 h 446"/>
                <a:gd name="T22" fmla="*/ 5 w 313"/>
                <a:gd name="T23" fmla="*/ 169 h 446"/>
                <a:gd name="T24" fmla="*/ 14 w 313"/>
                <a:gd name="T25" fmla="*/ 251 h 446"/>
                <a:gd name="T26" fmla="*/ 48 w 313"/>
                <a:gd name="T27" fmla="*/ 335 h 446"/>
                <a:gd name="T28" fmla="*/ 90 w 313"/>
                <a:gd name="T29" fmla="*/ 356 h 446"/>
                <a:gd name="T30" fmla="*/ 110 w 313"/>
                <a:gd name="T31" fmla="*/ 441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3" h="446">
                  <a:moveTo>
                    <a:pt x="110" y="441"/>
                  </a:moveTo>
                  <a:cubicBezTo>
                    <a:pt x="177" y="445"/>
                    <a:pt x="177" y="445"/>
                    <a:pt x="177" y="445"/>
                  </a:cubicBezTo>
                  <a:cubicBezTo>
                    <a:pt x="203" y="446"/>
                    <a:pt x="226" y="427"/>
                    <a:pt x="227" y="401"/>
                  </a:cubicBezTo>
                  <a:cubicBezTo>
                    <a:pt x="229" y="384"/>
                    <a:pt x="229" y="367"/>
                    <a:pt x="229" y="350"/>
                  </a:cubicBezTo>
                  <a:cubicBezTo>
                    <a:pt x="262" y="343"/>
                    <a:pt x="299" y="332"/>
                    <a:pt x="309" y="297"/>
                  </a:cubicBezTo>
                  <a:cubicBezTo>
                    <a:pt x="313" y="287"/>
                    <a:pt x="312" y="275"/>
                    <a:pt x="312" y="264"/>
                  </a:cubicBezTo>
                  <a:cubicBezTo>
                    <a:pt x="311" y="216"/>
                    <a:pt x="310" y="169"/>
                    <a:pt x="309" y="122"/>
                  </a:cubicBezTo>
                  <a:cubicBezTo>
                    <a:pt x="309" y="106"/>
                    <a:pt x="308" y="89"/>
                    <a:pt x="302" y="74"/>
                  </a:cubicBezTo>
                  <a:cubicBezTo>
                    <a:pt x="292" y="48"/>
                    <a:pt x="266" y="33"/>
                    <a:pt x="242" y="24"/>
                  </a:cubicBezTo>
                  <a:cubicBezTo>
                    <a:pt x="179" y="0"/>
                    <a:pt x="106" y="4"/>
                    <a:pt x="50" y="41"/>
                  </a:cubicBezTo>
                  <a:cubicBezTo>
                    <a:pt x="35" y="51"/>
                    <a:pt x="21" y="64"/>
                    <a:pt x="13" y="81"/>
                  </a:cubicBezTo>
                  <a:cubicBezTo>
                    <a:pt x="0" y="107"/>
                    <a:pt x="2" y="139"/>
                    <a:pt x="5" y="169"/>
                  </a:cubicBezTo>
                  <a:cubicBezTo>
                    <a:pt x="8" y="197"/>
                    <a:pt x="11" y="224"/>
                    <a:pt x="14" y="251"/>
                  </a:cubicBezTo>
                  <a:cubicBezTo>
                    <a:pt x="17" y="283"/>
                    <a:pt x="23" y="319"/>
                    <a:pt x="48" y="335"/>
                  </a:cubicBezTo>
                  <a:cubicBezTo>
                    <a:pt x="61" y="344"/>
                    <a:pt x="78" y="345"/>
                    <a:pt x="90" y="356"/>
                  </a:cubicBezTo>
                  <a:cubicBezTo>
                    <a:pt x="110" y="376"/>
                    <a:pt x="102" y="412"/>
                    <a:pt x="110" y="44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" name="Freeform 57">
              <a:extLst>
                <a:ext uri="{FF2B5EF4-FFF2-40B4-BE49-F238E27FC236}">
                  <a16:creationId xmlns:a16="http://schemas.microsoft.com/office/drawing/2014/main" id="{E0AE4CA9-FBB5-4DC8-B316-35571EF4E8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89571" y="3500438"/>
              <a:ext cx="368300" cy="212725"/>
            </a:xfrm>
            <a:custGeom>
              <a:avLst/>
              <a:gdLst>
                <a:gd name="T0" fmla="*/ 316 w 317"/>
                <a:gd name="T1" fmla="*/ 34 h 184"/>
                <a:gd name="T2" fmla="*/ 298 w 317"/>
                <a:gd name="T3" fmla="*/ 17 h 184"/>
                <a:gd name="T4" fmla="*/ 294 w 317"/>
                <a:gd name="T5" fmla="*/ 33 h 184"/>
                <a:gd name="T6" fmla="*/ 293 w 317"/>
                <a:gd name="T7" fmla="*/ 49 h 184"/>
                <a:gd name="T8" fmla="*/ 264 w 317"/>
                <a:gd name="T9" fmla="*/ 68 h 184"/>
                <a:gd name="T10" fmla="*/ 250 w 317"/>
                <a:gd name="T11" fmla="*/ 65 h 184"/>
                <a:gd name="T12" fmla="*/ 239 w 317"/>
                <a:gd name="T13" fmla="*/ 55 h 184"/>
                <a:gd name="T14" fmla="*/ 216 w 317"/>
                <a:gd name="T15" fmla="*/ 30 h 184"/>
                <a:gd name="T16" fmla="*/ 158 w 317"/>
                <a:gd name="T17" fmla="*/ 25 h 184"/>
                <a:gd name="T18" fmla="*/ 102 w 317"/>
                <a:gd name="T19" fmla="*/ 49 h 184"/>
                <a:gd name="T20" fmla="*/ 97 w 317"/>
                <a:gd name="T21" fmla="*/ 54 h 184"/>
                <a:gd name="T22" fmla="*/ 84 w 317"/>
                <a:gd name="T23" fmla="*/ 63 h 184"/>
                <a:gd name="T24" fmla="*/ 37 w 317"/>
                <a:gd name="T25" fmla="*/ 50 h 184"/>
                <a:gd name="T26" fmla="*/ 19 w 317"/>
                <a:gd name="T27" fmla="*/ 34 h 184"/>
                <a:gd name="T28" fmla="*/ 4 w 317"/>
                <a:gd name="T29" fmla="*/ 44 h 184"/>
                <a:gd name="T30" fmla="*/ 0 w 317"/>
                <a:gd name="T31" fmla="*/ 63 h 184"/>
                <a:gd name="T32" fmla="*/ 15 w 317"/>
                <a:gd name="T33" fmla="*/ 134 h 184"/>
                <a:gd name="T34" fmla="*/ 128 w 317"/>
                <a:gd name="T35" fmla="*/ 182 h 184"/>
                <a:gd name="T36" fmla="*/ 180 w 317"/>
                <a:gd name="T37" fmla="*/ 179 h 184"/>
                <a:gd name="T38" fmla="*/ 273 w 317"/>
                <a:gd name="T39" fmla="*/ 156 h 184"/>
                <a:gd name="T40" fmla="*/ 314 w 317"/>
                <a:gd name="T41" fmla="*/ 81 h 184"/>
                <a:gd name="T42" fmla="*/ 316 w 317"/>
                <a:gd name="T43" fmla="*/ 34 h 184"/>
                <a:gd name="T44" fmla="*/ 221 w 317"/>
                <a:gd name="T45" fmla="*/ 117 h 184"/>
                <a:gd name="T46" fmla="*/ 167 w 317"/>
                <a:gd name="T47" fmla="*/ 125 h 184"/>
                <a:gd name="T48" fmla="*/ 170 w 317"/>
                <a:gd name="T49" fmla="*/ 111 h 184"/>
                <a:gd name="T50" fmla="*/ 214 w 317"/>
                <a:gd name="T51" fmla="*/ 105 h 184"/>
                <a:gd name="T52" fmla="*/ 221 w 317"/>
                <a:gd name="T53" fmla="*/ 11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7" h="184">
                  <a:moveTo>
                    <a:pt x="316" y="34"/>
                  </a:moveTo>
                  <a:cubicBezTo>
                    <a:pt x="315" y="26"/>
                    <a:pt x="311" y="0"/>
                    <a:pt x="298" y="17"/>
                  </a:cubicBezTo>
                  <a:cubicBezTo>
                    <a:pt x="295" y="21"/>
                    <a:pt x="294" y="27"/>
                    <a:pt x="294" y="33"/>
                  </a:cubicBezTo>
                  <a:cubicBezTo>
                    <a:pt x="294" y="38"/>
                    <a:pt x="294" y="44"/>
                    <a:pt x="293" y="49"/>
                  </a:cubicBezTo>
                  <a:cubicBezTo>
                    <a:pt x="289" y="61"/>
                    <a:pt x="276" y="67"/>
                    <a:pt x="264" y="68"/>
                  </a:cubicBezTo>
                  <a:cubicBezTo>
                    <a:pt x="259" y="68"/>
                    <a:pt x="254" y="67"/>
                    <a:pt x="250" y="65"/>
                  </a:cubicBezTo>
                  <a:cubicBezTo>
                    <a:pt x="246" y="63"/>
                    <a:pt x="243" y="59"/>
                    <a:pt x="239" y="55"/>
                  </a:cubicBezTo>
                  <a:cubicBezTo>
                    <a:pt x="231" y="47"/>
                    <a:pt x="224" y="38"/>
                    <a:pt x="216" y="30"/>
                  </a:cubicBezTo>
                  <a:cubicBezTo>
                    <a:pt x="202" y="15"/>
                    <a:pt x="176" y="22"/>
                    <a:pt x="158" y="25"/>
                  </a:cubicBezTo>
                  <a:cubicBezTo>
                    <a:pt x="138" y="28"/>
                    <a:pt x="118" y="35"/>
                    <a:pt x="102" y="49"/>
                  </a:cubicBezTo>
                  <a:cubicBezTo>
                    <a:pt x="100" y="51"/>
                    <a:pt x="98" y="52"/>
                    <a:pt x="97" y="54"/>
                  </a:cubicBezTo>
                  <a:cubicBezTo>
                    <a:pt x="93" y="57"/>
                    <a:pt x="89" y="61"/>
                    <a:pt x="84" y="63"/>
                  </a:cubicBezTo>
                  <a:cubicBezTo>
                    <a:pt x="69" y="71"/>
                    <a:pt x="49" y="64"/>
                    <a:pt x="37" y="50"/>
                  </a:cubicBezTo>
                  <a:cubicBezTo>
                    <a:pt x="32" y="43"/>
                    <a:pt x="27" y="35"/>
                    <a:pt x="19" y="34"/>
                  </a:cubicBezTo>
                  <a:cubicBezTo>
                    <a:pt x="13" y="33"/>
                    <a:pt x="7" y="38"/>
                    <a:pt x="4" y="44"/>
                  </a:cubicBezTo>
                  <a:cubicBezTo>
                    <a:pt x="1" y="50"/>
                    <a:pt x="1" y="57"/>
                    <a:pt x="0" y="63"/>
                  </a:cubicBezTo>
                  <a:cubicBezTo>
                    <a:pt x="0" y="88"/>
                    <a:pt x="4" y="113"/>
                    <a:pt x="15" y="134"/>
                  </a:cubicBezTo>
                  <a:cubicBezTo>
                    <a:pt x="39" y="180"/>
                    <a:pt x="83" y="184"/>
                    <a:pt x="128" y="182"/>
                  </a:cubicBezTo>
                  <a:cubicBezTo>
                    <a:pt x="145" y="181"/>
                    <a:pt x="163" y="180"/>
                    <a:pt x="180" y="179"/>
                  </a:cubicBezTo>
                  <a:cubicBezTo>
                    <a:pt x="212" y="177"/>
                    <a:pt x="246" y="175"/>
                    <a:pt x="273" y="156"/>
                  </a:cubicBezTo>
                  <a:cubicBezTo>
                    <a:pt x="296" y="139"/>
                    <a:pt x="309" y="110"/>
                    <a:pt x="314" y="81"/>
                  </a:cubicBezTo>
                  <a:cubicBezTo>
                    <a:pt x="317" y="65"/>
                    <a:pt x="317" y="50"/>
                    <a:pt x="316" y="34"/>
                  </a:cubicBezTo>
                  <a:close/>
                  <a:moveTo>
                    <a:pt x="221" y="117"/>
                  </a:moveTo>
                  <a:cubicBezTo>
                    <a:pt x="205" y="128"/>
                    <a:pt x="186" y="130"/>
                    <a:pt x="167" y="125"/>
                  </a:cubicBezTo>
                  <a:cubicBezTo>
                    <a:pt x="159" y="122"/>
                    <a:pt x="162" y="109"/>
                    <a:pt x="170" y="111"/>
                  </a:cubicBezTo>
                  <a:cubicBezTo>
                    <a:pt x="186" y="115"/>
                    <a:pt x="201" y="115"/>
                    <a:pt x="214" y="105"/>
                  </a:cubicBezTo>
                  <a:cubicBezTo>
                    <a:pt x="221" y="100"/>
                    <a:pt x="228" y="112"/>
                    <a:pt x="221" y="11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" name="Freeform 58">
              <a:extLst>
                <a:ext uri="{FF2B5EF4-FFF2-40B4-BE49-F238E27FC236}">
                  <a16:creationId xmlns:a16="http://schemas.microsoft.com/office/drawing/2014/main" id="{373ED9B8-8673-45BC-82A8-3D6E69C38F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3533" y="3168650"/>
              <a:ext cx="434975" cy="355600"/>
            </a:xfrm>
            <a:custGeom>
              <a:avLst/>
              <a:gdLst>
                <a:gd name="T0" fmla="*/ 356 w 376"/>
                <a:gd name="T1" fmla="*/ 65 h 307"/>
                <a:gd name="T2" fmla="*/ 362 w 376"/>
                <a:gd name="T3" fmla="*/ 30 h 307"/>
                <a:gd name="T4" fmla="*/ 328 w 376"/>
                <a:gd name="T5" fmla="*/ 34 h 307"/>
                <a:gd name="T6" fmla="*/ 327 w 376"/>
                <a:gd name="T7" fmla="*/ 14 h 307"/>
                <a:gd name="T8" fmla="*/ 245 w 376"/>
                <a:gd name="T9" fmla="*/ 6 h 307"/>
                <a:gd name="T10" fmla="*/ 82 w 376"/>
                <a:gd name="T11" fmla="*/ 33 h 307"/>
                <a:gd name="T12" fmla="*/ 5 w 376"/>
                <a:gd name="T13" fmla="*/ 153 h 307"/>
                <a:gd name="T14" fmla="*/ 48 w 376"/>
                <a:gd name="T15" fmla="*/ 307 h 307"/>
                <a:gd name="T16" fmla="*/ 42 w 376"/>
                <a:gd name="T17" fmla="*/ 250 h 307"/>
                <a:gd name="T18" fmla="*/ 53 w 376"/>
                <a:gd name="T19" fmla="*/ 214 h 307"/>
                <a:gd name="T20" fmla="*/ 103 w 376"/>
                <a:gd name="T21" fmla="*/ 158 h 307"/>
                <a:gd name="T22" fmla="*/ 214 w 376"/>
                <a:gd name="T23" fmla="*/ 117 h 307"/>
                <a:gd name="T24" fmla="*/ 330 w 376"/>
                <a:gd name="T25" fmla="*/ 114 h 307"/>
                <a:gd name="T26" fmla="*/ 360 w 376"/>
                <a:gd name="T27" fmla="*/ 104 h 307"/>
                <a:gd name="T28" fmla="*/ 374 w 376"/>
                <a:gd name="T29" fmla="*/ 65 h 307"/>
                <a:gd name="T30" fmla="*/ 356 w 376"/>
                <a:gd name="T31" fmla="*/ 65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6" h="307">
                  <a:moveTo>
                    <a:pt x="356" y="65"/>
                  </a:moveTo>
                  <a:cubicBezTo>
                    <a:pt x="359" y="54"/>
                    <a:pt x="361" y="42"/>
                    <a:pt x="362" y="30"/>
                  </a:cubicBezTo>
                  <a:cubicBezTo>
                    <a:pt x="351" y="34"/>
                    <a:pt x="339" y="36"/>
                    <a:pt x="328" y="34"/>
                  </a:cubicBezTo>
                  <a:cubicBezTo>
                    <a:pt x="328" y="28"/>
                    <a:pt x="328" y="21"/>
                    <a:pt x="327" y="14"/>
                  </a:cubicBezTo>
                  <a:cubicBezTo>
                    <a:pt x="327" y="8"/>
                    <a:pt x="251" y="7"/>
                    <a:pt x="245" y="6"/>
                  </a:cubicBezTo>
                  <a:cubicBezTo>
                    <a:pt x="187" y="3"/>
                    <a:pt x="134" y="0"/>
                    <a:pt x="82" y="33"/>
                  </a:cubicBezTo>
                  <a:cubicBezTo>
                    <a:pt x="38" y="61"/>
                    <a:pt x="11" y="101"/>
                    <a:pt x="5" y="153"/>
                  </a:cubicBezTo>
                  <a:cubicBezTo>
                    <a:pt x="0" y="203"/>
                    <a:pt x="18" y="267"/>
                    <a:pt x="48" y="307"/>
                  </a:cubicBezTo>
                  <a:cubicBezTo>
                    <a:pt x="47" y="294"/>
                    <a:pt x="39" y="263"/>
                    <a:pt x="42" y="250"/>
                  </a:cubicBezTo>
                  <a:cubicBezTo>
                    <a:pt x="43" y="238"/>
                    <a:pt x="47" y="225"/>
                    <a:pt x="53" y="214"/>
                  </a:cubicBezTo>
                  <a:cubicBezTo>
                    <a:pt x="64" y="192"/>
                    <a:pt x="82" y="172"/>
                    <a:pt x="103" y="158"/>
                  </a:cubicBezTo>
                  <a:cubicBezTo>
                    <a:pt x="136" y="136"/>
                    <a:pt x="175" y="124"/>
                    <a:pt x="214" y="117"/>
                  </a:cubicBezTo>
                  <a:cubicBezTo>
                    <a:pt x="250" y="111"/>
                    <a:pt x="294" y="105"/>
                    <a:pt x="330" y="114"/>
                  </a:cubicBezTo>
                  <a:cubicBezTo>
                    <a:pt x="348" y="118"/>
                    <a:pt x="351" y="122"/>
                    <a:pt x="360" y="104"/>
                  </a:cubicBezTo>
                  <a:cubicBezTo>
                    <a:pt x="362" y="101"/>
                    <a:pt x="376" y="65"/>
                    <a:pt x="374" y="65"/>
                  </a:cubicBezTo>
                  <a:cubicBezTo>
                    <a:pt x="368" y="65"/>
                    <a:pt x="362" y="65"/>
                    <a:pt x="356" y="65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" name="Freeform 59">
              <a:extLst>
                <a:ext uri="{FF2B5EF4-FFF2-40B4-BE49-F238E27FC236}">
                  <a16:creationId xmlns:a16="http://schemas.microsoft.com/office/drawing/2014/main" id="{A789D920-40E1-4128-B040-3BF1B0CB2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19771" y="5889625"/>
              <a:ext cx="139700" cy="246063"/>
            </a:xfrm>
            <a:custGeom>
              <a:avLst/>
              <a:gdLst>
                <a:gd name="T0" fmla="*/ 65 w 88"/>
                <a:gd name="T1" fmla="*/ 33 h 155"/>
                <a:gd name="T2" fmla="*/ 88 w 88"/>
                <a:gd name="T3" fmla="*/ 120 h 155"/>
                <a:gd name="T4" fmla="*/ 63 w 88"/>
                <a:gd name="T5" fmla="*/ 155 h 155"/>
                <a:gd name="T6" fmla="*/ 24 w 88"/>
                <a:gd name="T7" fmla="*/ 132 h 155"/>
                <a:gd name="T8" fmla="*/ 0 w 88"/>
                <a:gd name="T9" fmla="*/ 56 h 155"/>
                <a:gd name="T10" fmla="*/ 18 w 88"/>
                <a:gd name="T11" fmla="*/ 0 h 155"/>
                <a:gd name="T12" fmla="*/ 65 w 88"/>
                <a:gd name="T13" fmla="*/ 3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155">
                  <a:moveTo>
                    <a:pt x="65" y="33"/>
                  </a:moveTo>
                  <a:lnTo>
                    <a:pt x="88" y="120"/>
                  </a:lnTo>
                  <a:lnTo>
                    <a:pt x="63" y="155"/>
                  </a:lnTo>
                  <a:lnTo>
                    <a:pt x="24" y="132"/>
                  </a:lnTo>
                  <a:lnTo>
                    <a:pt x="0" y="56"/>
                  </a:lnTo>
                  <a:lnTo>
                    <a:pt x="18" y="0"/>
                  </a:lnTo>
                  <a:lnTo>
                    <a:pt x="65" y="33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" name="Freeform 60">
              <a:extLst>
                <a:ext uri="{FF2B5EF4-FFF2-40B4-BE49-F238E27FC236}">
                  <a16:creationId xmlns:a16="http://schemas.microsoft.com/office/drawing/2014/main" id="{29B0E50B-D4A9-477F-9C42-5EEE472F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37196" y="5862638"/>
              <a:ext cx="138113" cy="247650"/>
            </a:xfrm>
            <a:custGeom>
              <a:avLst/>
              <a:gdLst>
                <a:gd name="T0" fmla="*/ 65 w 87"/>
                <a:gd name="T1" fmla="*/ 33 h 156"/>
                <a:gd name="T2" fmla="*/ 87 w 87"/>
                <a:gd name="T3" fmla="*/ 121 h 156"/>
                <a:gd name="T4" fmla="*/ 62 w 87"/>
                <a:gd name="T5" fmla="*/ 156 h 156"/>
                <a:gd name="T6" fmla="*/ 23 w 87"/>
                <a:gd name="T7" fmla="*/ 132 h 156"/>
                <a:gd name="T8" fmla="*/ 0 w 87"/>
                <a:gd name="T9" fmla="*/ 57 h 156"/>
                <a:gd name="T10" fmla="*/ 17 w 87"/>
                <a:gd name="T11" fmla="*/ 0 h 156"/>
                <a:gd name="T12" fmla="*/ 65 w 87"/>
                <a:gd name="T13" fmla="*/ 33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56">
                  <a:moveTo>
                    <a:pt x="65" y="33"/>
                  </a:moveTo>
                  <a:lnTo>
                    <a:pt x="87" y="121"/>
                  </a:lnTo>
                  <a:lnTo>
                    <a:pt x="62" y="156"/>
                  </a:lnTo>
                  <a:lnTo>
                    <a:pt x="23" y="132"/>
                  </a:lnTo>
                  <a:lnTo>
                    <a:pt x="0" y="57"/>
                  </a:lnTo>
                  <a:lnTo>
                    <a:pt x="17" y="0"/>
                  </a:lnTo>
                  <a:lnTo>
                    <a:pt x="65" y="33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" name="Freeform 61">
              <a:extLst>
                <a:ext uri="{FF2B5EF4-FFF2-40B4-BE49-F238E27FC236}">
                  <a16:creationId xmlns:a16="http://schemas.microsoft.com/office/drawing/2014/main" id="{34C84700-1F81-472D-958B-77F25AA352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3721" y="4859338"/>
              <a:ext cx="466725" cy="1112838"/>
            </a:xfrm>
            <a:custGeom>
              <a:avLst/>
              <a:gdLst>
                <a:gd name="T0" fmla="*/ 19 w 402"/>
                <a:gd name="T1" fmla="*/ 137 h 961"/>
                <a:gd name="T2" fmla="*/ 72 w 402"/>
                <a:gd name="T3" fmla="*/ 48 h 961"/>
                <a:gd name="T4" fmla="*/ 267 w 402"/>
                <a:gd name="T5" fmla="*/ 20 h 961"/>
                <a:gd name="T6" fmla="*/ 374 w 402"/>
                <a:gd name="T7" fmla="*/ 109 h 961"/>
                <a:gd name="T8" fmla="*/ 402 w 402"/>
                <a:gd name="T9" fmla="*/ 218 h 961"/>
                <a:gd name="T10" fmla="*/ 376 w 402"/>
                <a:gd name="T11" fmla="*/ 321 h 961"/>
                <a:gd name="T12" fmla="*/ 220 w 402"/>
                <a:gd name="T13" fmla="*/ 961 h 961"/>
                <a:gd name="T14" fmla="*/ 132 w 402"/>
                <a:gd name="T15" fmla="*/ 948 h 961"/>
                <a:gd name="T16" fmla="*/ 126 w 402"/>
                <a:gd name="T17" fmla="*/ 294 h 961"/>
                <a:gd name="T18" fmla="*/ 19 w 402"/>
                <a:gd name="T19" fmla="*/ 137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2" h="961">
                  <a:moveTo>
                    <a:pt x="19" y="137"/>
                  </a:moveTo>
                  <a:cubicBezTo>
                    <a:pt x="28" y="107"/>
                    <a:pt x="43" y="61"/>
                    <a:pt x="72" y="48"/>
                  </a:cubicBezTo>
                  <a:cubicBezTo>
                    <a:pt x="135" y="22"/>
                    <a:pt x="203" y="0"/>
                    <a:pt x="267" y="20"/>
                  </a:cubicBezTo>
                  <a:cubicBezTo>
                    <a:pt x="311" y="33"/>
                    <a:pt x="350" y="65"/>
                    <a:pt x="374" y="109"/>
                  </a:cubicBezTo>
                  <a:cubicBezTo>
                    <a:pt x="392" y="141"/>
                    <a:pt x="402" y="180"/>
                    <a:pt x="402" y="218"/>
                  </a:cubicBezTo>
                  <a:cubicBezTo>
                    <a:pt x="402" y="255"/>
                    <a:pt x="384" y="286"/>
                    <a:pt x="376" y="321"/>
                  </a:cubicBezTo>
                  <a:cubicBezTo>
                    <a:pt x="324" y="534"/>
                    <a:pt x="272" y="748"/>
                    <a:pt x="220" y="961"/>
                  </a:cubicBezTo>
                  <a:cubicBezTo>
                    <a:pt x="132" y="948"/>
                    <a:pt x="132" y="948"/>
                    <a:pt x="132" y="948"/>
                  </a:cubicBezTo>
                  <a:cubicBezTo>
                    <a:pt x="126" y="294"/>
                    <a:pt x="126" y="294"/>
                    <a:pt x="126" y="294"/>
                  </a:cubicBezTo>
                  <a:cubicBezTo>
                    <a:pt x="90" y="257"/>
                    <a:pt x="0" y="198"/>
                    <a:pt x="19" y="13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" name="Freeform 62">
              <a:extLst>
                <a:ext uri="{FF2B5EF4-FFF2-40B4-BE49-F238E27FC236}">
                  <a16:creationId xmlns:a16="http://schemas.microsoft.com/office/drawing/2014/main" id="{4DD214C3-AACC-471B-BDC5-5E091D04E5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78446" y="4860925"/>
              <a:ext cx="422275" cy="1098550"/>
            </a:xfrm>
            <a:custGeom>
              <a:avLst/>
              <a:gdLst>
                <a:gd name="T0" fmla="*/ 6 w 365"/>
                <a:gd name="T1" fmla="*/ 235 h 949"/>
                <a:gd name="T2" fmla="*/ 0 w 365"/>
                <a:gd name="T3" fmla="*/ 166 h 949"/>
                <a:gd name="T4" fmla="*/ 7 w 365"/>
                <a:gd name="T5" fmla="*/ 113 h 949"/>
                <a:gd name="T6" fmla="*/ 39 w 365"/>
                <a:gd name="T7" fmla="*/ 67 h 949"/>
                <a:gd name="T8" fmla="*/ 211 w 365"/>
                <a:gd name="T9" fmla="*/ 15 h 949"/>
                <a:gd name="T10" fmla="*/ 288 w 365"/>
                <a:gd name="T11" fmla="*/ 53 h 949"/>
                <a:gd name="T12" fmla="*/ 361 w 365"/>
                <a:gd name="T13" fmla="*/ 124 h 949"/>
                <a:gd name="T14" fmla="*/ 365 w 365"/>
                <a:gd name="T15" fmla="*/ 133 h 949"/>
                <a:gd name="T16" fmla="*/ 360 w 365"/>
                <a:gd name="T17" fmla="*/ 139 h 949"/>
                <a:gd name="T18" fmla="*/ 283 w 365"/>
                <a:gd name="T19" fmla="*/ 260 h 949"/>
                <a:gd name="T20" fmla="*/ 261 w 365"/>
                <a:gd name="T21" fmla="*/ 433 h 949"/>
                <a:gd name="T22" fmla="*/ 254 w 365"/>
                <a:gd name="T23" fmla="*/ 644 h 949"/>
                <a:gd name="T24" fmla="*/ 243 w 365"/>
                <a:gd name="T25" fmla="*/ 936 h 949"/>
                <a:gd name="T26" fmla="*/ 143 w 365"/>
                <a:gd name="T27" fmla="*/ 949 h 949"/>
                <a:gd name="T28" fmla="*/ 91 w 365"/>
                <a:gd name="T29" fmla="*/ 680 h 949"/>
                <a:gd name="T30" fmla="*/ 17 w 365"/>
                <a:gd name="T31" fmla="*/ 302 h 949"/>
                <a:gd name="T32" fmla="*/ 6 w 365"/>
                <a:gd name="T33" fmla="*/ 235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5" h="949">
                  <a:moveTo>
                    <a:pt x="6" y="235"/>
                  </a:moveTo>
                  <a:cubicBezTo>
                    <a:pt x="3" y="212"/>
                    <a:pt x="1" y="189"/>
                    <a:pt x="0" y="166"/>
                  </a:cubicBezTo>
                  <a:cubicBezTo>
                    <a:pt x="0" y="148"/>
                    <a:pt x="1" y="130"/>
                    <a:pt x="7" y="113"/>
                  </a:cubicBezTo>
                  <a:cubicBezTo>
                    <a:pt x="13" y="94"/>
                    <a:pt x="26" y="80"/>
                    <a:pt x="39" y="67"/>
                  </a:cubicBezTo>
                  <a:cubicBezTo>
                    <a:pt x="87" y="22"/>
                    <a:pt x="149" y="0"/>
                    <a:pt x="211" y="15"/>
                  </a:cubicBezTo>
                  <a:cubicBezTo>
                    <a:pt x="238" y="22"/>
                    <a:pt x="264" y="36"/>
                    <a:pt x="288" y="53"/>
                  </a:cubicBezTo>
                  <a:cubicBezTo>
                    <a:pt x="315" y="72"/>
                    <a:pt x="341" y="95"/>
                    <a:pt x="361" y="124"/>
                  </a:cubicBezTo>
                  <a:cubicBezTo>
                    <a:pt x="363" y="126"/>
                    <a:pt x="365" y="130"/>
                    <a:pt x="365" y="133"/>
                  </a:cubicBezTo>
                  <a:cubicBezTo>
                    <a:pt x="364" y="136"/>
                    <a:pt x="362" y="137"/>
                    <a:pt x="360" y="139"/>
                  </a:cubicBezTo>
                  <a:cubicBezTo>
                    <a:pt x="326" y="171"/>
                    <a:pt x="300" y="214"/>
                    <a:pt x="283" y="260"/>
                  </a:cubicBezTo>
                  <a:cubicBezTo>
                    <a:pt x="263" y="317"/>
                    <a:pt x="264" y="373"/>
                    <a:pt x="261" y="433"/>
                  </a:cubicBezTo>
                  <a:cubicBezTo>
                    <a:pt x="259" y="503"/>
                    <a:pt x="256" y="573"/>
                    <a:pt x="254" y="644"/>
                  </a:cubicBezTo>
                  <a:cubicBezTo>
                    <a:pt x="250" y="741"/>
                    <a:pt x="246" y="839"/>
                    <a:pt x="243" y="936"/>
                  </a:cubicBezTo>
                  <a:cubicBezTo>
                    <a:pt x="143" y="949"/>
                    <a:pt x="143" y="949"/>
                    <a:pt x="143" y="949"/>
                  </a:cubicBezTo>
                  <a:cubicBezTo>
                    <a:pt x="126" y="859"/>
                    <a:pt x="108" y="770"/>
                    <a:pt x="91" y="680"/>
                  </a:cubicBezTo>
                  <a:cubicBezTo>
                    <a:pt x="66" y="554"/>
                    <a:pt x="42" y="428"/>
                    <a:pt x="17" y="302"/>
                  </a:cubicBezTo>
                  <a:cubicBezTo>
                    <a:pt x="13" y="280"/>
                    <a:pt x="9" y="258"/>
                    <a:pt x="6" y="235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" name="Freeform 63">
              <a:extLst>
                <a:ext uri="{FF2B5EF4-FFF2-40B4-BE49-F238E27FC236}">
                  <a16:creationId xmlns:a16="http://schemas.microsoft.com/office/drawing/2014/main" id="{1245E641-4698-4D73-9F50-9354CD0E49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1158" y="3589338"/>
              <a:ext cx="1495425" cy="1450975"/>
            </a:xfrm>
            <a:custGeom>
              <a:avLst/>
              <a:gdLst>
                <a:gd name="T0" fmla="*/ 777 w 1291"/>
                <a:gd name="T1" fmla="*/ 88 h 1254"/>
                <a:gd name="T2" fmla="*/ 585 w 1291"/>
                <a:gd name="T3" fmla="*/ 331 h 1254"/>
                <a:gd name="T4" fmla="*/ 249 w 1291"/>
                <a:gd name="T5" fmla="*/ 315 h 1254"/>
                <a:gd name="T6" fmla="*/ 241 w 1291"/>
                <a:gd name="T7" fmla="*/ 951 h 1254"/>
                <a:gd name="T8" fmla="*/ 603 w 1291"/>
                <a:gd name="T9" fmla="*/ 1145 h 1254"/>
                <a:gd name="T10" fmla="*/ 978 w 1291"/>
                <a:gd name="T11" fmla="*/ 1253 h 1254"/>
                <a:gd name="T12" fmla="*/ 1159 w 1291"/>
                <a:gd name="T13" fmla="*/ 907 h 1254"/>
                <a:gd name="T14" fmla="*/ 1270 w 1291"/>
                <a:gd name="T15" fmla="*/ 511 h 1254"/>
                <a:gd name="T16" fmla="*/ 777 w 1291"/>
                <a:gd name="T17" fmla="*/ 88 h 1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1" h="1254">
                  <a:moveTo>
                    <a:pt x="777" y="88"/>
                  </a:moveTo>
                  <a:cubicBezTo>
                    <a:pt x="676" y="122"/>
                    <a:pt x="576" y="230"/>
                    <a:pt x="585" y="331"/>
                  </a:cubicBezTo>
                  <a:cubicBezTo>
                    <a:pt x="517" y="255"/>
                    <a:pt x="343" y="265"/>
                    <a:pt x="249" y="315"/>
                  </a:cubicBezTo>
                  <a:cubicBezTo>
                    <a:pt x="0" y="448"/>
                    <a:pt x="43" y="792"/>
                    <a:pt x="241" y="951"/>
                  </a:cubicBezTo>
                  <a:cubicBezTo>
                    <a:pt x="347" y="1037"/>
                    <a:pt x="474" y="1097"/>
                    <a:pt x="603" y="1145"/>
                  </a:cubicBezTo>
                  <a:cubicBezTo>
                    <a:pt x="712" y="1185"/>
                    <a:pt x="978" y="1254"/>
                    <a:pt x="978" y="1253"/>
                  </a:cubicBezTo>
                  <a:cubicBezTo>
                    <a:pt x="979" y="1254"/>
                    <a:pt x="1113" y="1013"/>
                    <a:pt x="1159" y="907"/>
                  </a:cubicBezTo>
                  <a:cubicBezTo>
                    <a:pt x="1215" y="781"/>
                    <a:pt x="1258" y="648"/>
                    <a:pt x="1270" y="511"/>
                  </a:cubicBezTo>
                  <a:cubicBezTo>
                    <a:pt x="1291" y="258"/>
                    <a:pt x="1045" y="0"/>
                    <a:pt x="777" y="88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" name="Freeform 64">
              <a:extLst>
                <a:ext uri="{FF2B5EF4-FFF2-40B4-BE49-F238E27FC236}">
                  <a16:creationId xmlns:a16="http://schemas.microsoft.com/office/drawing/2014/main" id="{CF8732D6-AD0A-4081-A5A0-34BA5A95B0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76833" y="4994275"/>
              <a:ext cx="96838" cy="25400"/>
            </a:xfrm>
            <a:custGeom>
              <a:avLst/>
              <a:gdLst>
                <a:gd name="T0" fmla="*/ 0 w 83"/>
                <a:gd name="T1" fmla="*/ 0 h 23"/>
                <a:gd name="T2" fmla="*/ 1 w 83"/>
                <a:gd name="T3" fmla="*/ 0 h 23"/>
                <a:gd name="T4" fmla="*/ 83 w 83"/>
                <a:gd name="T5" fmla="*/ 23 h 23"/>
                <a:gd name="T6" fmla="*/ 83 w 83"/>
                <a:gd name="T7" fmla="*/ 22 h 23"/>
                <a:gd name="T8" fmla="*/ 0 w 83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23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31" y="9"/>
                    <a:pt x="59" y="16"/>
                    <a:pt x="83" y="23"/>
                  </a:cubicBezTo>
                  <a:cubicBezTo>
                    <a:pt x="83" y="23"/>
                    <a:pt x="83" y="22"/>
                    <a:pt x="83" y="22"/>
                  </a:cubicBezTo>
                  <a:cubicBezTo>
                    <a:pt x="59" y="16"/>
                    <a:pt x="30" y="8"/>
                    <a:pt x="0" y="0"/>
                  </a:cubicBezTo>
                </a:path>
              </a:pathLst>
            </a:custGeom>
            <a:solidFill>
              <a:srgbClr val="0D55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" name="Freeform 65">
              <a:extLst>
                <a:ext uri="{FF2B5EF4-FFF2-40B4-BE49-F238E27FC236}">
                  <a16:creationId xmlns:a16="http://schemas.microsoft.com/office/drawing/2014/main" id="{4457800A-2A23-4D02-AEFC-4A3FD57B80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73671" y="5019675"/>
              <a:ext cx="79375" cy="20638"/>
            </a:xfrm>
            <a:custGeom>
              <a:avLst/>
              <a:gdLst>
                <a:gd name="T0" fmla="*/ 0 w 68"/>
                <a:gd name="T1" fmla="*/ 0 h 18"/>
                <a:gd name="T2" fmla="*/ 0 w 68"/>
                <a:gd name="T3" fmla="*/ 1 h 18"/>
                <a:gd name="T4" fmla="*/ 68 w 68"/>
                <a:gd name="T5" fmla="*/ 18 h 18"/>
                <a:gd name="T6" fmla="*/ 68 w 68"/>
                <a:gd name="T7" fmla="*/ 18 h 18"/>
                <a:gd name="T8" fmla="*/ 68 w 68"/>
                <a:gd name="T9" fmla="*/ 18 h 18"/>
                <a:gd name="T10" fmla="*/ 68 w 68"/>
                <a:gd name="T11" fmla="*/ 18 h 18"/>
                <a:gd name="T12" fmla="*/ 0 w 68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18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40" y="11"/>
                    <a:pt x="67" y="18"/>
                    <a:pt x="68" y="18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1" y="17"/>
                    <a:pt x="35" y="10"/>
                    <a:pt x="0" y="0"/>
                  </a:cubicBezTo>
                </a:path>
              </a:pathLst>
            </a:custGeom>
            <a:solidFill>
              <a:srgbClr val="33A3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" name="Freeform 66">
              <a:extLst>
                <a:ext uri="{FF2B5EF4-FFF2-40B4-BE49-F238E27FC236}">
                  <a16:creationId xmlns:a16="http://schemas.microsoft.com/office/drawing/2014/main" id="{CD578AF1-1DC8-4BC1-B56F-FF4CA556C9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84758" y="4967288"/>
              <a:ext cx="93663" cy="26988"/>
            </a:xfrm>
            <a:custGeom>
              <a:avLst/>
              <a:gdLst>
                <a:gd name="T0" fmla="*/ 1 w 81"/>
                <a:gd name="T1" fmla="*/ 0 h 23"/>
                <a:gd name="T2" fmla="*/ 0 w 81"/>
                <a:gd name="T3" fmla="*/ 0 h 23"/>
                <a:gd name="T4" fmla="*/ 81 w 81"/>
                <a:gd name="T5" fmla="*/ 23 h 23"/>
                <a:gd name="T6" fmla="*/ 80 w 81"/>
                <a:gd name="T7" fmla="*/ 23 h 23"/>
                <a:gd name="T8" fmla="*/ 1 w 81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23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7" y="8"/>
                    <a:pt x="54" y="16"/>
                    <a:pt x="81" y="23"/>
                  </a:cubicBezTo>
                  <a:cubicBezTo>
                    <a:pt x="81" y="23"/>
                    <a:pt x="81" y="23"/>
                    <a:pt x="80" y="23"/>
                  </a:cubicBezTo>
                  <a:cubicBezTo>
                    <a:pt x="55" y="16"/>
                    <a:pt x="27" y="8"/>
                    <a:pt x="1" y="0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" name="Freeform 67">
              <a:extLst>
                <a:ext uri="{FF2B5EF4-FFF2-40B4-BE49-F238E27FC236}">
                  <a16:creationId xmlns:a16="http://schemas.microsoft.com/office/drawing/2014/main" id="{666FBA7E-8F7C-49BA-8754-E6302D940D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86346" y="4029075"/>
              <a:ext cx="608013" cy="1011238"/>
            </a:xfrm>
            <a:custGeom>
              <a:avLst/>
              <a:gdLst>
                <a:gd name="T0" fmla="*/ 509 w 525"/>
                <a:gd name="T1" fmla="*/ 0 h 873"/>
                <a:gd name="T2" fmla="*/ 476 w 525"/>
                <a:gd name="T3" fmla="*/ 177 h 873"/>
                <a:gd name="T4" fmla="*/ 353 w 525"/>
                <a:gd name="T5" fmla="*/ 498 h 873"/>
                <a:gd name="T6" fmla="*/ 141 w 525"/>
                <a:gd name="T7" fmla="*/ 753 h 873"/>
                <a:gd name="T8" fmla="*/ 0 w 525"/>
                <a:gd name="T9" fmla="*/ 810 h 873"/>
                <a:gd name="T10" fmla="*/ 79 w 525"/>
                <a:gd name="T11" fmla="*/ 833 h 873"/>
                <a:gd name="T12" fmla="*/ 162 w 525"/>
                <a:gd name="T13" fmla="*/ 855 h 873"/>
                <a:gd name="T14" fmla="*/ 230 w 525"/>
                <a:gd name="T15" fmla="*/ 873 h 873"/>
                <a:gd name="T16" fmla="*/ 411 w 525"/>
                <a:gd name="T17" fmla="*/ 527 h 873"/>
                <a:gd name="T18" fmla="*/ 521 w 525"/>
                <a:gd name="T19" fmla="*/ 131 h 873"/>
                <a:gd name="T20" fmla="*/ 509 w 525"/>
                <a:gd name="T21" fmla="*/ 0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5" h="873">
                  <a:moveTo>
                    <a:pt x="509" y="0"/>
                  </a:moveTo>
                  <a:cubicBezTo>
                    <a:pt x="503" y="60"/>
                    <a:pt x="491" y="119"/>
                    <a:pt x="476" y="177"/>
                  </a:cubicBezTo>
                  <a:cubicBezTo>
                    <a:pt x="447" y="287"/>
                    <a:pt x="406" y="397"/>
                    <a:pt x="353" y="498"/>
                  </a:cubicBezTo>
                  <a:cubicBezTo>
                    <a:pt x="302" y="596"/>
                    <a:pt x="234" y="691"/>
                    <a:pt x="141" y="753"/>
                  </a:cubicBezTo>
                  <a:cubicBezTo>
                    <a:pt x="97" y="783"/>
                    <a:pt x="49" y="802"/>
                    <a:pt x="0" y="810"/>
                  </a:cubicBezTo>
                  <a:cubicBezTo>
                    <a:pt x="26" y="818"/>
                    <a:pt x="54" y="826"/>
                    <a:pt x="79" y="833"/>
                  </a:cubicBezTo>
                  <a:cubicBezTo>
                    <a:pt x="109" y="841"/>
                    <a:pt x="138" y="849"/>
                    <a:pt x="162" y="855"/>
                  </a:cubicBezTo>
                  <a:cubicBezTo>
                    <a:pt x="197" y="865"/>
                    <a:pt x="223" y="872"/>
                    <a:pt x="230" y="873"/>
                  </a:cubicBezTo>
                  <a:cubicBezTo>
                    <a:pt x="234" y="866"/>
                    <a:pt x="365" y="632"/>
                    <a:pt x="411" y="527"/>
                  </a:cubicBezTo>
                  <a:cubicBezTo>
                    <a:pt x="466" y="401"/>
                    <a:pt x="509" y="267"/>
                    <a:pt x="521" y="131"/>
                  </a:cubicBezTo>
                  <a:cubicBezTo>
                    <a:pt x="525" y="87"/>
                    <a:pt x="520" y="43"/>
                    <a:pt x="509" y="0"/>
                  </a:cubicBezTo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" name="Freeform 68">
              <a:extLst>
                <a:ext uri="{FF2B5EF4-FFF2-40B4-BE49-F238E27FC236}">
                  <a16:creationId xmlns:a16="http://schemas.microsoft.com/office/drawing/2014/main" id="{74B4B55E-9EF3-4C9E-805C-EAC88BFF32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6433" y="3938588"/>
              <a:ext cx="1114425" cy="790575"/>
            </a:xfrm>
            <a:custGeom>
              <a:avLst/>
              <a:gdLst>
                <a:gd name="T0" fmla="*/ 933 w 962"/>
                <a:gd name="T1" fmla="*/ 172 h 682"/>
                <a:gd name="T2" fmla="*/ 732 w 962"/>
                <a:gd name="T3" fmla="*/ 264 h 682"/>
                <a:gd name="T4" fmla="*/ 538 w 962"/>
                <a:gd name="T5" fmla="*/ 12 h 682"/>
                <a:gd name="T6" fmla="*/ 511 w 962"/>
                <a:gd name="T7" fmla="*/ 23 h 682"/>
                <a:gd name="T8" fmla="*/ 564 w 962"/>
                <a:gd name="T9" fmla="*/ 584 h 682"/>
                <a:gd name="T10" fmla="*/ 567 w 962"/>
                <a:gd name="T11" fmla="*/ 616 h 682"/>
                <a:gd name="T12" fmla="*/ 322 w 962"/>
                <a:gd name="T13" fmla="*/ 337 h 682"/>
                <a:gd name="T14" fmla="*/ 282 w 962"/>
                <a:gd name="T15" fmla="*/ 293 h 682"/>
                <a:gd name="T16" fmla="*/ 256 w 962"/>
                <a:gd name="T17" fmla="*/ 300 h 682"/>
                <a:gd name="T18" fmla="*/ 245 w 962"/>
                <a:gd name="T19" fmla="*/ 491 h 682"/>
                <a:gd name="T20" fmla="*/ 18 w 962"/>
                <a:gd name="T21" fmla="*/ 588 h 682"/>
                <a:gd name="T22" fmla="*/ 30 w 962"/>
                <a:gd name="T23" fmla="*/ 616 h 682"/>
                <a:gd name="T24" fmla="*/ 266 w 962"/>
                <a:gd name="T25" fmla="*/ 515 h 682"/>
                <a:gd name="T26" fmla="*/ 275 w 962"/>
                <a:gd name="T27" fmla="*/ 503 h 682"/>
                <a:gd name="T28" fmla="*/ 284 w 962"/>
                <a:gd name="T29" fmla="*/ 339 h 682"/>
                <a:gd name="T30" fmla="*/ 536 w 962"/>
                <a:gd name="T31" fmla="*/ 626 h 682"/>
                <a:gd name="T32" fmla="*/ 575 w 962"/>
                <a:gd name="T33" fmla="*/ 671 h 682"/>
                <a:gd name="T34" fmla="*/ 602 w 962"/>
                <a:gd name="T35" fmla="*/ 659 h 682"/>
                <a:gd name="T36" fmla="*/ 548 w 962"/>
                <a:gd name="T37" fmla="*/ 99 h 682"/>
                <a:gd name="T38" fmla="*/ 546 w 962"/>
                <a:gd name="T39" fmla="*/ 72 h 682"/>
                <a:gd name="T40" fmla="*/ 716 w 962"/>
                <a:gd name="T41" fmla="*/ 292 h 682"/>
                <a:gd name="T42" fmla="*/ 734 w 962"/>
                <a:gd name="T43" fmla="*/ 296 h 682"/>
                <a:gd name="T44" fmla="*/ 945 w 962"/>
                <a:gd name="T45" fmla="*/ 199 h 682"/>
                <a:gd name="T46" fmla="*/ 933 w 962"/>
                <a:gd name="T47" fmla="*/ 172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62" h="682">
                  <a:moveTo>
                    <a:pt x="933" y="172"/>
                  </a:moveTo>
                  <a:cubicBezTo>
                    <a:pt x="866" y="202"/>
                    <a:pt x="799" y="233"/>
                    <a:pt x="732" y="264"/>
                  </a:cubicBezTo>
                  <a:cubicBezTo>
                    <a:pt x="667" y="180"/>
                    <a:pt x="602" y="96"/>
                    <a:pt x="538" y="12"/>
                  </a:cubicBezTo>
                  <a:cubicBezTo>
                    <a:pt x="528" y="0"/>
                    <a:pt x="510" y="9"/>
                    <a:pt x="511" y="23"/>
                  </a:cubicBezTo>
                  <a:cubicBezTo>
                    <a:pt x="529" y="210"/>
                    <a:pt x="547" y="397"/>
                    <a:pt x="564" y="584"/>
                  </a:cubicBezTo>
                  <a:cubicBezTo>
                    <a:pt x="565" y="595"/>
                    <a:pt x="566" y="606"/>
                    <a:pt x="567" y="616"/>
                  </a:cubicBezTo>
                  <a:cubicBezTo>
                    <a:pt x="486" y="523"/>
                    <a:pt x="404" y="430"/>
                    <a:pt x="322" y="337"/>
                  </a:cubicBezTo>
                  <a:cubicBezTo>
                    <a:pt x="309" y="322"/>
                    <a:pt x="295" y="308"/>
                    <a:pt x="282" y="293"/>
                  </a:cubicBezTo>
                  <a:cubicBezTo>
                    <a:pt x="274" y="284"/>
                    <a:pt x="256" y="286"/>
                    <a:pt x="256" y="300"/>
                  </a:cubicBezTo>
                  <a:cubicBezTo>
                    <a:pt x="252" y="364"/>
                    <a:pt x="249" y="427"/>
                    <a:pt x="245" y="491"/>
                  </a:cubicBezTo>
                  <a:cubicBezTo>
                    <a:pt x="169" y="524"/>
                    <a:pt x="94" y="556"/>
                    <a:pt x="18" y="588"/>
                  </a:cubicBezTo>
                  <a:cubicBezTo>
                    <a:pt x="0" y="596"/>
                    <a:pt x="12" y="624"/>
                    <a:pt x="30" y="616"/>
                  </a:cubicBezTo>
                  <a:cubicBezTo>
                    <a:pt x="108" y="582"/>
                    <a:pt x="187" y="549"/>
                    <a:pt x="266" y="515"/>
                  </a:cubicBezTo>
                  <a:cubicBezTo>
                    <a:pt x="270" y="513"/>
                    <a:pt x="274" y="508"/>
                    <a:pt x="275" y="503"/>
                  </a:cubicBezTo>
                  <a:cubicBezTo>
                    <a:pt x="278" y="449"/>
                    <a:pt x="281" y="394"/>
                    <a:pt x="284" y="339"/>
                  </a:cubicBezTo>
                  <a:cubicBezTo>
                    <a:pt x="368" y="435"/>
                    <a:pt x="452" y="530"/>
                    <a:pt x="536" y="626"/>
                  </a:cubicBezTo>
                  <a:cubicBezTo>
                    <a:pt x="549" y="641"/>
                    <a:pt x="562" y="656"/>
                    <a:pt x="575" y="671"/>
                  </a:cubicBezTo>
                  <a:cubicBezTo>
                    <a:pt x="585" y="682"/>
                    <a:pt x="603" y="674"/>
                    <a:pt x="602" y="659"/>
                  </a:cubicBezTo>
                  <a:cubicBezTo>
                    <a:pt x="584" y="472"/>
                    <a:pt x="566" y="285"/>
                    <a:pt x="548" y="99"/>
                  </a:cubicBezTo>
                  <a:cubicBezTo>
                    <a:pt x="547" y="90"/>
                    <a:pt x="547" y="81"/>
                    <a:pt x="546" y="72"/>
                  </a:cubicBezTo>
                  <a:cubicBezTo>
                    <a:pt x="602" y="145"/>
                    <a:pt x="659" y="219"/>
                    <a:pt x="716" y="292"/>
                  </a:cubicBezTo>
                  <a:cubicBezTo>
                    <a:pt x="720" y="297"/>
                    <a:pt x="728" y="299"/>
                    <a:pt x="734" y="296"/>
                  </a:cubicBezTo>
                  <a:cubicBezTo>
                    <a:pt x="804" y="264"/>
                    <a:pt x="874" y="232"/>
                    <a:pt x="945" y="199"/>
                  </a:cubicBezTo>
                  <a:cubicBezTo>
                    <a:pt x="962" y="191"/>
                    <a:pt x="951" y="164"/>
                    <a:pt x="933" y="17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" name="Freeform 69">
              <a:extLst>
                <a:ext uri="{FF2B5EF4-FFF2-40B4-BE49-F238E27FC236}">
                  <a16:creationId xmlns:a16="http://schemas.microsoft.com/office/drawing/2014/main" id="{2AB7A0F9-1257-41A6-9E74-506722E796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5108" y="3816350"/>
              <a:ext cx="468313" cy="690563"/>
            </a:xfrm>
            <a:custGeom>
              <a:avLst/>
              <a:gdLst>
                <a:gd name="T0" fmla="*/ 211 w 295"/>
                <a:gd name="T1" fmla="*/ 0 h 435"/>
                <a:gd name="T2" fmla="*/ 135 w 295"/>
                <a:gd name="T3" fmla="*/ 32 h 435"/>
                <a:gd name="T4" fmla="*/ 0 w 295"/>
                <a:gd name="T5" fmla="*/ 333 h 435"/>
                <a:gd name="T6" fmla="*/ 47 w 295"/>
                <a:gd name="T7" fmla="*/ 400 h 435"/>
                <a:gd name="T8" fmla="*/ 289 w 295"/>
                <a:gd name="T9" fmla="*/ 435 h 435"/>
                <a:gd name="T10" fmla="*/ 295 w 295"/>
                <a:gd name="T11" fmla="*/ 379 h 435"/>
                <a:gd name="T12" fmla="*/ 108 w 295"/>
                <a:gd name="T13" fmla="*/ 321 h 435"/>
                <a:gd name="T14" fmla="*/ 167 w 295"/>
                <a:gd name="T15" fmla="*/ 193 h 435"/>
                <a:gd name="T16" fmla="*/ 211 w 295"/>
                <a:gd name="T17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5" h="435">
                  <a:moveTo>
                    <a:pt x="211" y="0"/>
                  </a:moveTo>
                  <a:lnTo>
                    <a:pt x="135" y="32"/>
                  </a:lnTo>
                  <a:lnTo>
                    <a:pt x="0" y="333"/>
                  </a:lnTo>
                  <a:lnTo>
                    <a:pt x="47" y="400"/>
                  </a:lnTo>
                  <a:lnTo>
                    <a:pt x="289" y="435"/>
                  </a:lnTo>
                  <a:lnTo>
                    <a:pt x="295" y="379"/>
                  </a:lnTo>
                  <a:lnTo>
                    <a:pt x="108" y="321"/>
                  </a:lnTo>
                  <a:lnTo>
                    <a:pt x="167" y="193"/>
                  </a:lnTo>
                  <a:lnTo>
                    <a:pt x="21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" name="Freeform 70">
              <a:extLst>
                <a:ext uri="{FF2B5EF4-FFF2-40B4-BE49-F238E27FC236}">
                  <a16:creationId xmlns:a16="http://schemas.microsoft.com/office/drawing/2014/main" id="{701CEB7E-344C-44FD-8ECC-0CCB2489E9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5483" y="4425950"/>
              <a:ext cx="142875" cy="88900"/>
            </a:xfrm>
            <a:custGeom>
              <a:avLst/>
              <a:gdLst>
                <a:gd name="T0" fmla="*/ 5 w 90"/>
                <a:gd name="T1" fmla="*/ 0 h 56"/>
                <a:gd name="T2" fmla="*/ 52 w 90"/>
                <a:gd name="T3" fmla="*/ 1 h 56"/>
                <a:gd name="T4" fmla="*/ 90 w 90"/>
                <a:gd name="T5" fmla="*/ 30 h 56"/>
                <a:gd name="T6" fmla="*/ 84 w 90"/>
                <a:gd name="T7" fmla="*/ 56 h 56"/>
                <a:gd name="T8" fmla="*/ 0 w 90"/>
                <a:gd name="T9" fmla="*/ 44 h 56"/>
                <a:gd name="T10" fmla="*/ 5 w 90"/>
                <a:gd name="T11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" h="56">
                  <a:moveTo>
                    <a:pt x="5" y="0"/>
                  </a:moveTo>
                  <a:lnTo>
                    <a:pt x="52" y="1"/>
                  </a:lnTo>
                  <a:lnTo>
                    <a:pt x="90" y="30"/>
                  </a:lnTo>
                  <a:lnTo>
                    <a:pt x="84" y="56"/>
                  </a:lnTo>
                  <a:lnTo>
                    <a:pt x="0" y="44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" name="Freeform 71">
              <a:extLst>
                <a:ext uri="{FF2B5EF4-FFF2-40B4-BE49-F238E27FC236}">
                  <a16:creationId xmlns:a16="http://schemas.microsoft.com/office/drawing/2014/main" id="{5F3B2985-CF57-4B9F-99C2-1D5ACF6503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64296" y="3890963"/>
              <a:ext cx="196850" cy="127000"/>
            </a:xfrm>
            <a:custGeom>
              <a:avLst/>
              <a:gdLst>
                <a:gd name="T0" fmla="*/ 0 w 124"/>
                <a:gd name="T1" fmla="*/ 57 h 80"/>
                <a:gd name="T2" fmla="*/ 16 w 124"/>
                <a:gd name="T3" fmla="*/ 20 h 80"/>
                <a:gd name="T4" fmla="*/ 54 w 124"/>
                <a:gd name="T5" fmla="*/ 0 h 80"/>
                <a:gd name="T6" fmla="*/ 60 w 124"/>
                <a:gd name="T7" fmla="*/ 11 h 80"/>
                <a:gd name="T8" fmla="*/ 110 w 124"/>
                <a:gd name="T9" fmla="*/ 0 h 80"/>
                <a:gd name="T10" fmla="*/ 124 w 124"/>
                <a:gd name="T11" fmla="*/ 29 h 80"/>
                <a:gd name="T12" fmla="*/ 63 w 124"/>
                <a:gd name="T13" fmla="*/ 70 h 80"/>
                <a:gd name="T14" fmla="*/ 26 w 124"/>
                <a:gd name="T15" fmla="*/ 80 h 80"/>
                <a:gd name="T16" fmla="*/ 0 w 124"/>
                <a:gd name="T17" fmla="*/ 5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4" h="80">
                  <a:moveTo>
                    <a:pt x="0" y="57"/>
                  </a:moveTo>
                  <a:lnTo>
                    <a:pt x="16" y="20"/>
                  </a:lnTo>
                  <a:lnTo>
                    <a:pt x="54" y="0"/>
                  </a:lnTo>
                  <a:lnTo>
                    <a:pt x="60" y="11"/>
                  </a:lnTo>
                  <a:lnTo>
                    <a:pt x="110" y="0"/>
                  </a:lnTo>
                  <a:lnTo>
                    <a:pt x="124" y="29"/>
                  </a:lnTo>
                  <a:lnTo>
                    <a:pt x="63" y="70"/>
                  </a:lnTo>
                  <a:lnTo>
                    <a:pt x="26" y="80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" name="Freeform 72">
              <a:extLst>
                <a:ext uri="{FF2B5EF4-FFF2-40B4-BE49-F238E27FC236}">
                  <a16:creationId xmlns:a16="http://schemas.microsoft.com/office/drawing/2014/main" id="{7410D672-86D5-4291-BFEA-E79CC596A0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2908" y="4057650"/>
              <a:ext cx="0" cy="1588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7A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" name="Freeform 73">
              <a:extLst>
                <a:ext uri="{FF2B5EF4-FFF2-40B4-BE49-F238E27FC236}">
                  <a16:creationId xmlns:a16="http://schemas.microsoft.com/office/drawing/2014/main" id="{27F4E57C-3969-4D3C-B19C-41F170E107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21533" y="3719513"/>
              <a:ext cx="1085850" cy="1354138"/>
            </a:xfrm>
            <a:custGeom>
              <a:avLst/>
              <a:gdLst>
                <a:gd name="T0" fmla="*/ 726 w 937"/>
                <a:gd name="T1" fmla="*/ 294 h 1170"/>
                <a:gd name="T2" fmla="*/ 726 w 937"/>
                <a:gd name="T3" fmla="*/ 293 h 1170"/>
                <a:gd name="T4" fmla="*/ 609 w 937"/>
                <a:gd name="T5" fmla="*/ 73 h 1170"/>
                <a:gd name="T6" fmla="*/ 540 w 937"/>
                <a:gd name="T7" fmla="*/ 6 h 1170"/>
                <a:gd name="T8" fmla="*/ 475 w 937"/>
                <a:gd name="T9" fmla="*/ 6 h 1170"/>
                <a:gd name="T10" fmla="*/ 297 w 937"/>
                <a:gd name="T11" fmla="*/ 32 h 1170"/>
                <a:gd name="T12" fmla="*/ 275 w 937"/>
                <a:gd name="T13" fmla="*/ 35 h 1170"/>
                <a:gd name="T14" fmla="*/ 142 w 937"/>
                <a:gd name="T15" fmla="*/ 378 h 1170"/>
                <a:gd name="T16" fmla="*/ 0 w 937"/>
                <a:gd name="T17" fmla="*/ 909 h 1170"/>
                <a:gd name="T18" fmla="*/ 8 w 937"/>
                <a:gd name="T19" fmla="*/ 1034 h 1170"/>
                <a:gd name="T20" fmla="*/ 29 w 937"/>
                <a:gd name="T21" fmla="*/ 1103 h 1170"/>
                <a:gd name="T22" fmla="*/ 159 w 937"/>
                <a:gd name="T23" fmla="*/ 1147 h 1170"/>
                <a:gd name="T24" fmla="*/ 444 w 937"/>
                <a:gd name="T25" fmla="*/ 1114 h 1170"/>
                <a:gd name="T26" fmla="*/ 728 w 937"/>
                <a:gd name="T27" fmla="*/ 1166 h 1170"/>
                <a:gd name="T28" fmla="*/ 726 w 937"/>
                <a:gd name="T29" fmla="*/ 294 h 1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37" h="1170">
                  <a:moveTo>
                    <a:pt x="726" y="294"/>
                  </a:moveTo>
                  <a:cubicBezTo>
                    <a:pt x="726" y="293"/>
                    <a:pt x="726" y="293"/>
                    <a:pt x="726" y="293"/>
                  </a:cubicBezTo>
                  <a:cubicBezTo>
                    <a:pt x="694" y="217"/>
                    <a:pt x="655" y="143"/>
                    <a:pt x="609" y="73"/>
                  </a:cubicBezTo>
                  <a:cubicBezTo>
                    <a:pt x="591" y="45"/>
                    <a:pt x="571" y="16"/>
                    <a:pt x="540" y="6"/>
                  </a:cubicBezTo>
                  <a:cubicBezTo>
                    <a:pt x="519" y="0"/>
                    <a:pt x="496" y="3"/>
                    <a:pt x="475" y="6"/>
                  </a:cubicBezTo>
                  <a:cubicBezTo>
                    <a:pt x="415" y="15"/>
                    <a:pt x="356" y="23"/>
                    <a:pt x="297" y="32"/>
                  </a:cubicBezTo>
                  <a:cubicBezTo>
                    <a:pt x="289" y="33"/>
                    <a:pt x="282" y="34"/>
                    <a:pt x="275" y="35"/>
                  </a:cubicBezTo>
                  <a:cubicBezTo>
                    <a:pt x="146" y="55"/>
                    <a:pt x="162" y="247"/>
                    <a:pt x="142" y="378"/>
                  </a:cubicBezTo>
                  <a:cubicBezTo>
                    <a:pt x="124" y="490"/>
                    <a:pt x="21" y="726"/>
                    <a:pt x="0" y="909"/>
                  </a:cubicBezTo>
                  <a:cubicBezTo>
                    <a:pt x="2" y="951"/>
                    <a:pt x="4" y="992"/>
                    <a:pt x="8" y="1034"/>
                  </a:cubicBezTo>
                  <a:cubicBezTo>
                    <a:pt x="14" y="1062"/>
                    <a:pt x="21" y="1085"/>
                    <a:pt x="29" y="1103"/>
                  </a:cubicBezTo>
                  <a:cubicBezTo>
                    <a:pt x="77" y="1170"/>
                    <a:pt x="159" y="1147"/>
                    <a:pt x="159" y="1147"/>
                  </a:cubicBezTo>
                  <a:cubicBezTo>
                    <a:pt x="159" y="1147"/>
                    <a:pt x="299" y="1093"/>
                    <a:pt x="444" y="1114"/>
                  </a:cubicBezTo>
                  <a:cubicBezTo>
                    <a:pt x="549" y="1117"/>
                    <a:pt x="648" y="1157"/>
                    <a:pt x="728" y="1166"/>
                  </a:cubicBezTo>
                  <a:cubicBezTo>
                    <a:pt x="937" y="926"/>
                    <a:pt x="727" y="297"/>
                    <a:pt x="726" y="294"/>
                  </a:cubicBezTo>
                </a:path>
              </a:pathLst>
            </a:custGeom>
            <a:solidFill>
              <a:srgbClr val="D9D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" name="Freeform 74">
              <a:extLst>
                <a:ext uri="{FF2B5EF4-FFF2-40B4-BE49-F238E27FC236}">
                  <a16:creationId xmlns:a16="http://schemas.microsoft.com/office/drawing/2014/main" id="{FC950795-44B1-452B-8402-747577D7CD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54883" y="3716338"/>
              <a:ext cx="625475" cy="1368425"/>
            </a:xfrm>
            <a:custGeom>
              <a:avLst/>
              <a:gdLst>
                <a:gd name="T0" fmla="*/ 309 w 541"/>
                <a:gd name="T1" fmla="*/ 389 h 1183"/>
                <a:gd name="T2" fmla="*/ 330 w 541"/>
                <a:gd name="T3" fmla="*/ 503 h 1183"/>
                <a:gd name="T4" fmla="*/ 541 w 541"/>
                <a:gd name="T5" fmla="*/ 1183 h 1183"/>
                <a:gd name="T6" fmla="*/ 20 w 541"/>
                <a:gd name="T7" fmla="*/ 1150 h 1183"/>
                <a:gd name="T8" fmla="*/ 6 w 541"/>
                <a:gd name="T9" fmla="*/ 979 h 1183"/>
                <a:gd name="T10" fmla="*/ 4 w 541"/>
                <a:gd name="T11" fmla="*/ 810 h 1183"/>
                <a:gd name="T12" fmla="*/ 58 w 541"/>
                <a:gd name="T13" fmla="*/ 545 h 1183"/>
                <a:gd name="T14" fmla="*/ 189 w 541"/>
                <a:gd name="T15" fmla="*/ 67 h 1183"/>
                <a:gd name="T16" fmla="*/ 199 w 541"/>
                <a:gd name="T17" fmla="*/ 43 h 1183"/>
                <a:gd name="T18" fmla="*/ 224 w 541"/>
                <a:gd name="T19" fmla="*/ 28 h 1183"/>
                <a:gd name="T20" fmla="*/ 367 w 541"/>
                <a:gd name="T21" fmla="*/ 3 h 1183"/>
                <a:gd name="T22" fmla="*/ 340 w 541"/>
                <a:gd name="T23" fmla="*/ 183 h 1183"/>
                <a:gd name="T24" fmla="*/ 309 w 541"/>
                <a:gd name="T25" fmla="*/ 389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1" h="1183">
                  <a:moveTo>
                    <a:pt x="309" y="389"/>
                  </a:moveTo>
                  <a:cubicBezTo>
                    <a:pt x="312" y="427"/>
                    <a:pt x="321" y="465"/>
                    <a:pt x="330" y="503"/>
                  </a:cubicBezTo>
                  <a:cubicBezTo>
                    <a:pt x="386" y="732"/>
                    <a:pt x="484" y="954"/>
                    <a:pt x="541" y="1183"/>
                  </a:cubicBezTo>
                  <a:cubicBezTo>
                    <a:pt x="387" y="1183"/>
                    <a:pt x="408" y="1059"/>
                    <a:pt x="20" y="1150"/>
                  </a:cubicBezTo>
                  <a:cubicBezTo>
                    <a:pt x="15" y="1062"/>
                    <a:pt x="10" y="1066"/>
                    <a:pt x="6" y="979"/>
                  </a:cubicBezTo>
                  <a:cubicBezTo>
                    <a:pt x="3" y="922"/>
                    <a:pt x="0" y="866"/>
                    <a:pt x="4" y="810"/>
                  </a:cubicBezTo>
                  <a:cubicBezTo>
                    <a:pt x="10" y="719"/>
                    <a:pt x="34" y="632"/>
                    <a:pt x="58" y="545"/>
                  </a:cubicBezTo>
                  <a:cubicBezTo>
                    <a:pt x="102" y="386"/>
                    <a:pt x="145" y="226"/>
                    <a:pt x="189" y="67"/>
                  </a:cubicBezTo>
                  <a:cubicBezTo>
                    <a:pt x="191" y="58"/>
                    <a:pt x="194" y="49"/>
                    <a:pt x="199" y="43"/>
                  </a:cubicBezTo>
                  <a:cubicBezTo>
                    <a:pt x="206" y="35"/>
                    <a:pt x="215" y="31"/>
                    <a:pt x="224" y="28"/>
                  </a:cubicBezTo>
                  <a:cubicBezTo>
                    <a:pt x="269" y="14"/>
                    <a:pt x="320" y="0"/>
                    <a:pt x="367" y="3"/>
                  </a:cubicBezTo>
                  <a:cubicBezTo>
                    <a:pt x="384" y="49"/>
                    <a:pt x="351" y="137"/>
                    <a:pt x="340" y="183"/>
                  </a:cubicBezTo>
                  <a:cubicBezTo>
                    <a:pt x="325" y="250"/>
                    <a:pt x="305" y="318"/>
                    <a:pt x="309" y="38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" name="Freeform 75">
              <a:extLst>
                <a:ext uri="{FF2B5EF4-FFF2-40B4-BE49-F238E27FC236}">
                  <a16:creationId xmlns:a16="http://schemas.microsoft.com/office/drawing/2014/main" id="{6CEF098D-6024-4EBA-821E-6827CA5475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02521" y="3268663"/>
              <a:ext cx="158750" cy="238125"/>
            </a:xfrm>
            <a:custGeom>
              <a:avLst/>
              <a:gdLst>
                <a:gd name="T0" fmla="*/ 68 w 137"/>
                <a:gd name="T1" fmla="*/ 75 h 206"/>
                <a:gd name="T2" fmla="*/ 41 w 137"/>
                <a:gd name="T3" fmla="*/ 166 h 206"/>
                <a:gd name="T4" fmla="*/ 32 w 137"/>
                <a:gd name="T5" fmla="*/ 189 h 206"/>
                <a:gd name="T6" fmla="*/ 25 w 137"/>
                <a:gd name="T7" fmla="*/ 199 h 206"/>
                <a:gd name="T8" fmla="*/ 1 w 137"/>
                <a:gd name="T9" fmla="*/ 157 h 206"/>
                <a:gd name="T10" fmla="*/ 3 w 137"/>
                <a:gd name="T11" fmla="*/ 93 h 206"/>
                <a:gd name="T12" fmla="*/ 22 w 137"/>
                <a:gd name="T13" fmla="*/ 41 h 206"/>
                <a:gd name="T14" fmla="*/ 49 w 137"/>
                <a:gd name="T15" fmla="*/ 22 h 206"/>
                <a:gd name="T16" fmla="*/ 93 w 137"/>
                <a:gd name="T17" fmla="*/ 4 h 206"/>
                <a:gd name="T18" fmla="*/ 112 w 137"/>
                <a:gd name="T19" fmla="*/ 28 h 206"/>
                <a:gd name="T20" fmla="*/ 68 w 137"/>
                <a:gd name="T21" fmla="*/ 75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206">
                  <a:moveTo>
                    <a:pt x="68" y="75"/>
                  </a:moveTo>
                  <a:cubicBezTo>
                    <a:pt x="52" y="102"/>
                    <a:pt x="43" y="134"/>
                    <a:pt x="41" y="166"/>
                  </a:cubicBezTo>
                  <a:cubicBezTo>
                    <a:pt x="40" y="174"/>
                    <a:pt x="39" y="184"/>
                    <a:pt x="32" y="189"/>
                  </a:cubicBezTo>
                  <a:cubicBezTo>
                    <a:pt x="25" y="194"/>
                    <a:pt x="31" y="206"/>
                    <a:pt x="25" y="199"/>
                  </a:cubicBezTo>
                  <a:cubicBezTo>
                    <a:pt x="20" y="191"/>
                    <a:pt x="2" y="166"/>
                    <a:pt x="1" y="157"/>
                  </a:cubicBezTo>
                  <a:cubicBezTo>
                    <a:pt x="0" y="135"/>
                    <a:pt x="0" y="114"/>
                    <a:pt x="3" y="93"/>
                  </a:cubicBezTo>
                  <a:cubicBezTo>
                    <a:pt x="5" y="74"/>
                    <a:pt x="10" y="55"/>
                    <a:pt x="22" y="41"/>
                  </a:cubicBezTo>
                  <a:cubicBezTo>
                    <a:pt x="30" y="33"/>
                    <a:pt x="40" y="27"/>
                    <a:pt x="49" y="22"/>
                  </a:cubicBezTo>
                  <a:cubicBezTo>
                    <a:pt x="63" y="14"/>
                    <a:pt x="77" y="6"/>
                    <a:pt x="93" y="4"/>
                  </a:cubicBezTo>
                  <a:cubicBezTo>
                    <a:pt x="120" y="0"/>
                    <a:pt x="137" y="10"/>
                    <a:pt x="112" y="28"/>
                  </a:cubicBezTo>
                  <a:cubicBezTo>
                    <a:pt x="95" y="41"/>
                    <a:pt x="80" y="56"/>
                    <a:pt x="68" y="75"/>
                  </a:cubicBezTo>
                  <a:close/>
                </a:path>
              </a:pathLst>
            </a:custGeom>
            <a:solidFill>
              <a:srgbClr val="1A3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" name="Freeform 76">
              <a:extLst>
                <a:ext uri="{FF2B5EF4-FFF2-40B4-BE49-F238E27FC236}">
                  <a16:creationId xmlns:a16="http://schemas.microsoft.com/office/drawing/2014/main" id="{356A91DE-922A-4C77-8DEA-CE0FE12DD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29508" y="3271838"/>
              <a:ext cx="361950" cy="515938"/>
            </a:xfrm>
            <a:custGeom>
              <a:avLst/>
              <a:gdLst>
                <a:gd name="T0" fmla="*/ 203 w 313"/>
                <a:gd name="T1" fmla="*/ 441 h 446"/>
                <a:gd name="T2" fmla="*/ 136 w 313"/>
                <a:gd name="T3" fmla="*/ 445 h 446"/>
                <a:gd name="T4" fmla="*/ 86 w 313"/>
                <a:gd name="T5" fmla="*/ 401 h 446"/>
                <a:gd name="T6" fmla="*/ 84 w 313"/>
                <a:gd name="T7" fmla="*/ 350 h 446"/>
                <a:gd name="T8" fmla="*/ 4 w 313"/>
                <a:gd name="T9" fmla="*/ 297 h 446"/>
                <a:gd name="T10" fmla="*/ 1 w 313"/>
                <a:gd name="T11" fmla="*/ 264 h 446"/>
                <a:gd name="T12" fmla="*/ 4 w 313"/>
                <a:gd name="T13" fmla="*/ 122 h 446"/>
                <a:gd name="T14" fmla="*/ 11 w 313"/>
                <a:gd name="T15" fmla="*/ 74 h 446"/>
                <a:gd name="T16" fmla="*/ 71 w 313"/>
                <a:gd name="T17" fmla="*/ 24 h 446"/>
                <a:gd name="T18" fmla="*/ 263 w 313"/>
                <a:gd name="T19" fmla="*/ 41 h 446"/>
                <a:gd name="T20" fmla="*/ 300 w 313"/>
                <a:gd name="T21" fmla="*/ 81 h 446"/>
                <a:gd name="T22" fmla="*/ 308 w 313"/>
                <a:gd name="T23" fmla="*/ 169 h 446"/>
                <a:gd name="T24" fmla="*/ 299 w 313"/>
                <a:gd name="T25" fmla="*/ 251 h 446"/>
                <a:gd name="T26" fmla="*/ 265 w 313"/>
                <a:gd name="T27" fmla="*/ 335 h 446"/>
                <a:gd name="T28" fmla="*/ 223 w 313"/>
                <a:gd name="T29" fmla="*/ 356 h 446"/>
                <a:gd name="T30" fmla="*/ 203 w 313"/>
                <a:gd name="T31" fmla="*/ 441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3" h="446">
                  <a:moveTo>
                    <a:pt x="203" y="441"/>
                  </a:moveTo>
                  <a:cubicBezTo>
                    <a:pt x="136" y="445"/>
                    <a:pt x="136" y="445"/>
                    <a:pt x="136" y="445"/>
                  </a:cubicBezTo>
                  <a:cubicBezTo>
                    <a:pt x="110" y="446"/>
                    <a:pt x="87" y="427"/>
                    <a:pt x="86" y="401"/>
                  </a:cubicBezTo>
                  <a:cubicBezTo>
                    <a:pt x="84" y="384"/>
                    <a:pt x="84" y="367"/>
                    <a:pt x="84" y="350"/>
                  </a:cubicBezTo>
                  <a:cubicBezTo>
                    <a:pt x="51" y="343"/>
                    <a:pt x="14" y="332"/>
                    <a:pt x="4" y="297"/>
                  </a:cubicBezTo>
                  <a:cubicBezTo>
                    <a:pt x="0" y="287"/>
                    <a:pt x="1" y="275"/>
                    <a:pt x="1" y="264"/>
                  </a:cubicBezTo>
                  <a:cubicBezTo>
                    <a:pt x="2" y="216"/>
                    <a:pt x="3" y="169"/>
                    <a:pt x="4" y="122"/>
                  </a:cubicBezTo>
                  <a:cubicBezTo>
                    <a:pt x="4" y="106"/>
                    <a:pt x="5" y="89"/>
                    <a:pt x="11" y="74"/>
                  </a:cubicBezTo>
                  <a:cubicBezTo>
                    <a:pt x="21" y="48"/>
                    <a:pt x="47" y="33"/>
                    <a:pt x="71" y="24"/>
                  </a:cubicBezTo>
                  <a:cubicBezTo>
                    <a:pt x="134" y="0"/>
                    <a:pt x="207" y="4"/>
                    <a:pt x="263" y="41"/>
                  </a:cubicBezTo>
                  <a:cubicBezTo>
                    <a:pt x="278" y="51"/>
                    <a:pt x="292" y="64"/>
                    <a:pt x="300" y="81"/>
                  </a:cubicBezTo>
                  <a:cubicBezTo>
                    <a:pt x="313" y="107"/>
                    <a:pt x="311" y="139"/>
                    <a:pt x="308" y="169"/>
                  </a:cubicBezTo>
                  <a:cubicBezTo>
                    <a:pt x="305" y="197"/>
                    <a:pt x="302" y="224"/>
                    <a:pt x="299" y="251"/>
                  </a:cubicBezTo>
                  <a:cubicBezTo>
                    <a:pt x="296" y="283"/>
                    <a:pt x="290" y="319"/>
                    <a:pt x="265" y="335"/>
                  </a:cubicBezTo>
                  <a:cubicBezTo>
                    <a:pt x="252" y="344"/>
                    <a:pt x="235" y="345"/>
                    <a:pt x="223" y="356"/>
                  </a:cubicBezTo>
                  <a:cubicBezTo>
                    <a:pt x="203" y="376"/>
                    <a:pt x="211" y="412"/>
                    <a:pt x="203" y="44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" name="Freeform 77">
              <a:extLst>
                <a:ext uri="{FF2B5EF4-FFF2-40B4-BE49-F238E27FC236}">
                  <a16:creationId xmlns:a16="http://schemas.microsoft.com/office/drawing/2014/main" id="{4C1DAE45-98E7-4DB1-A70C-C05D284B66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96171" y="3182938"/>
              <a:ext cx="434975" cy="355600"/>
            </a:xfrm>
            <a:custGeom>
              <a:avLst/>
              <a:gdLst>
                <a:gd name="T0" fmla="*/ 20 w 376"/>
                <a:gd name="T1" fmla="*/ 65 h 307"/>
                <a:gd name="T2" fmla="*/ 14 w 376"/>
                <a:gd name="T3" fmla="*/ 30 h 307"/>
                <a:gd name="T4" fmla="*/ 48 w 376"/>
                <a:gd name="T5" fmla="*/ 34 h 307"/>
                <a:gd name="T6" fmla="*/ 49 w 376"/>
                <a:gd name="T7" fmla="*/ 14 h 307"/>
                <a:gd name="T8" fmla="*/ 131 w 376"/>
                <a:gd name="T9" fmla="*/ 6 h 307"/>
                <a:gd name="T10" fmla="*/ 294 w 376"/>
                <a:gd name="T11" fmla="*/ 33 h 307"/>
                <a:gd name="T12" fmla="*/ 371 w 376"/>
                <a:gd name="T13" fmla="*/ 153 h 307"/>
                <a:gd name="T14" fmla="*/ 328 w 376"/>
                <a:gd name="T15" fmla="*/ 307 h 307"/>
                <a:gd name="T16" fmla="*/ 334 w 376"/>
                <a:gd name="T17" fmla="*/ 250 h 307"/>
                <a:gd name="T18" fmla="*/ 323 w 376"/>
                <a:gd name="T19" fmla="*/ 214 h 307"/>
                <a:gd name="T20" fmla="*/ 273 w 376"/>
                <a:gd name="T21" fmla="*/ 158 h 307"/>
                <a:gd name="T22" fmla="*/ 162 w 376"/>
                <a:gd name="T23" fmla="*/ 117 h 307"/>
                <a:gd name="T24" fmla="*/ 46 w 376"/>
                <a:gd name="T25" fmla="*/ 114 h 307"/>
                <a:gd name="T26" fmla="*/ 16 w 376"/>
                <a:gd name="T27" fmla="*/ 104 h 307"/>
                <a:gd name="T28" fmla="*/ 2 w 376"/>
                <a:gd name="T29" fmla="*/ 65 h 307"/>
                <a:gd name="T30" fmla="*/ 20 w 376"/>
                <a:gd name="T31" fmla="*/ 65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6" h="307">
                  <a:moveTo>
                    <a:pt x="20" y="65"/>
                  </a:moveTo>
                  <a:cubicBezTo>
                    <a:pt x="17" y="54"/>
                    <a:pt x="15" y="42"/>
                    <a:pt x="14" y="30"/>
                  </a:cubicBezTo>
                  <a:cubicBezTo>
                    <a:pt x="25" y="34"/>
                    <a:pt x="37" y="36"/>
                    <a:pt x="48" y="34"/>
                  </a:cubicBezTo>
                  <a:cubicBezTo>
                    <a:pt x="48" y="28"/>
                    <a:pt x="48" y="21"/>
                    <a:pt x="49" y="14"/>
                  </a:cubicBezTo>
                  <a:cubicBezTo>
                    <a:pt x="49" y="8"/>
                    <a:pt x="125" y="7"/>
                    <a:pt x="131" y="6"/>
                  </a:cubicBezTo>
                  <a:cubicBezTo>
                    <a:pt x="189" y="3"/>
                    <a:pt x="242" y="0"/>
                    <a:pt x="294" y="33"/>
                  </a:cubicBezTo>
                  <a:cubicBezTo>
                    <a:pt x="338" y="61"/>
                    <a:pt x="365" y="101"/>
                    <a:pt x="371" y="153"/>
                  </a:cubicBezTo>
                  <a:cubicBezTo>
                    <a:pt x="376" y="203"/>
                    <a:pt x="358" y="267"/>
                    <a:pt x="328" y="307"/>
                  </a:cubicBezTo>
                  <a:cubicBezTo>
                    <a:pt x="329" y="294"/>
                    <a:pt x="337" y="263"/>
                    <a:pt x="334" y="250"/>
                  </a:cubicBezTo>
                  <a:cubicBezTo>
                    <a:pt x="333" y="238"/>
                    <a:pt x="329" y="225"/>
                    <a:pt x="323" y="214"/>
                  </a:cubicBezTo>
                  <a:cubicBezTo>
                    <a:pt x="312" y="192"/>
                    <a:pt x="294" y="172"/>
                    <a:pt x="273" y="158"/>
                  </a:cubicBezTo>
                  <a:cubicBezTo>
                    <a:pt x="240" y="136"/>
                    <a:pt x="201" y="124"/>
                    <a:pt x="162" y="117"/>
                  </a:cubicBezTo>
                  <a:cubicBezTo>
                    <a:pt x="126" y="111"/>
                    <a:pt x="82" y="105"/>
                    <a:pt x="46" y="114"/>
                  </a:cubicBezTo>
                  <a:cubicBezTo>
                    <a:pt x="28" y="118"/>
                    <a:pt x="25" y="122"/>
                    <a:pt x="16" y="104"/>
                  </a:cubicBezTo>
                  <a:cubicBezTo>
                    <a:pt x="14" y="101"/>
                    <a:pt x="0" y="65"/>
                    <a:pt x="2" y="65"/>
                  </a:cubicBezTo>
                  <a:cubicBezTo>
                    <a:pt x="8" y="65"/>
                    <a:pt x="14" y="65"/>
                    <a:pt x="20" y="65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" name="Freeform 78">
              <a:extLst>
                <a:ext uri="{FF2B5EF4-FFF2-40B4-BE49-F238E27FC236}">
                  <a16:creationId xmlns:a16="http://schemas.microsoft.com/office/drawing/2014/main" id="{64BEF653-E284-428E-84E2-D9C38A58DD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15208" y="5889625"/>
              <a:ext cx="138113" cy="246063"/>
            </a:xfrm>
            <a:custGeom>
              <a:avLst/>
              <a:gdLst>
                <a:gd name="T0" fmla="*/ 22 w 87"/>
                <a:gd name="T1" fmla="*/ 33 h 155"/>
                <a:gd name="T2" fmla="*/ 0 w 87"/>
                <a:gd name="T3" fmla="*/ 120 h 155"/>
                <a:gd name="T4" fmla="*/ 24 w 87"/>
                <a:gd name="T5" fmla="*/ 155 h 155"/>
                <a:gd name="T6" fmla="*/ 64 w 87"/>
                <a:gd name="T7" fmla="*/ 132 h 155"/>
                <a:gd name="T8" fmla="*/ 87 w 87"/>
                <a:gd name="T9" fmla="*/ 56 h 155"/>
                <a:gd name="T10" fmla="*/ 70 w 87"/>
                <a:gd name="T11" fmla="*/ 0 h 155"/>
                <a:gd name="T12" fmla="*/ 22 w 87"/>
                <a:gd name="T13" fmla="*/ 3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55">
                  <a:moveTo>
                    <a:pt x="22" y="33"/>
                  </a:moveTo>
                  <a:lnTo>
                    <a:pt x="0" y="120"/>
                  </a:lnTo>
                  <a:lnTo>
                    <a:pt x="24" y="155"/>
                  </a:lnTo>
                  <a:lnTo>
                    <a:pt x="64" y="132"/>
                  </a:lnTo>
                  <a:lnTo>
                    <a:pt x="87" y="56"/>
                  </a:lnTo>
                  <a:lnTo>
                    <a:pt x="70" y="0"/>
                  </a:lnTo>
                  <a:lnTo>
                    <a:pt x="22" y="33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" name="Freeform 79">
              <a:extLst>
                <a:ext uri="{FF2B5EF4-FFF2-40B4-BE49-F238E27FC236}">
                  <a16:creationId xmlns:a16="http://schemas.microsoft.com/office/drawing/2014/main" id="{A163BB81-6297-44BC-8CDB-65779C25C1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7783" y="5862638"/>
              <a:ext cx="139700" cy="247650"/>
            </a:xfrm>
            <a:custGeom>
              <a:avLst/>
              <a:gdLst>
                <a:gd name="T0" fmla="*/ 23 w 88"/>
                <a:gd name="T1" fmla="*/ 33 h 156"/>
                <a:gd name="T2" fmla="*/ 0 w 88"/>
                <a:gd name="T3" fmla="*/ 121 h 156"/>
                <a:gd name="T4" fmla="*/ 25 w 88"/>
                <a:gd name="T5" fmla="*/ 156 h 156"/>
                <a:gd name="T6" fmla="*/ 65 w 88"/>
                <a:gd name="T7" fmla="*/ 132 h 156"/>
                <a:gd name="T8" fmla="*/ 88 w 88"/>
                <a:gd name="T9" fmla="*/ 57 h 156"/>
                <a:gd name="T10" fmla="*/ 70 w 88"/>
                <a:gd name="T11" fmla="*/ 0 h 156"/>
                <a:gd name="T12" fmla="*/ 23 w 88"/>
                <a:gd name="T13" fmla="*/ 33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156">
                  <a:moveTo>
                    <a:pt x="23" y="33"/>
                  </a:moveTo>
                  <a:lnTo>
                    <a:pt x="0" y="121"/>
                  </a:lnTo>
                  <a:lnTo>
                    <a:pt x="25" y="156"/>
                  </a:lnTo>
                  <a:lnTo>
                    <a:pt x="65" y="132"/>
                  </a:lnTo>
                  <a:lnTo>
                    <a:pt x="88" y="57"/>
                  </a:lnTo>
                  <a:lnTo>
                    <a:pt x="70" y="0"/>
                  </a:lnTo>
                  <a:lnTo>
                    <a:pt x="23" y="33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9" name="Freeform 80">
              <a:extLst>
                <a:ext uri="{FF2B5EF4-FFF2-40B4-BE49-F238E27FC236}">
                  <a16:creationId xmlns:a16="http://schemas.microsoft.com/office/drawing/2014/main" id="{098103D0-7F89-4BF7-ADCC-67E2097D20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34233" y="4859338"/>
              <a:ext cx="465138" cy="1112838"/>
            </a:xfrm>
            <a:custGeom>
              <a:avLst/>
              <a:gdLst>
                <a:gd name="T0" fmla="*/ 383 w 402"/>
                <a:gd name="T1" fmla="*/ 137 h 961"/>
                <a:gd name="T2" fmla="*/ 330 w 402"/>
                <a:gd name="T3" fmla="*/ 48 h 961"/>
                <a:gd name="T4" fmla="*/ 135 w 402"/>
                <a:gd name="T5" fmla="*/ 20 h 961"/>
                <a:gd name="T6" fmla="*/ 28 w 402"/>
                <a:gd name="T7" fmla="*/ 109 h 961"/>
                <a:gd name="T8" fmla="*/ 0 w 402"/>
                <a:gd name="T9" fmla="*/ 218 h 961"/>
                <a:gd name="T10" fmla="*/ 26 w 402"/>
                <a:gd name="T11" fmla="*/ 321 h 961"/>
                <a:gd name="T12" fmla="*/ 182 w 402"/>
                <a:gd name="T13" fmla="*/ 961 h 961"/>
                <a:gd name="T14" fmla="*/ 270 w 402"/>
                <a:gd name="T15" fmla="*/ 948 h 961"/>
                <a:gd name="T16" fmla="*/ 276 w 402"/>
                <a:gd name="T17" fmla="*/ 294 h 961"/>
                <a:gd name="T18" fmla="*/ 383 w 402"/>
                <a:gd name="T19" fmla="*/ 137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2" h="961">
                  <a:moveTo>
                    <a:pt x="383" y="137"/>
                  </a:moveTo>
                  <a:cubicBezTo>
                    <a:pt x="374" y="107"/>
                    <a:pt x="359" y="61"/>
                    <a:pt x="330" y="48"/>
                  </a:cubicBezTo>
                  <a:cubicBezTo>
                    <a:pt x="267" y="22"/>
                    <a:pt x="199" y="0"/>
                    <a:pt x="135" y="20"/>
                  </a:cubicBezTo>
                  <a:cubicBezTo>
                    <a:pt x="91" y="33"/>
                    <a:pt x="52" y="65"/>
                    <a:pt x="28" y="109"/>
                  </a:cubicBezTo>
                  <a:cubicBezTo>
                    <a:pt x="10" y="141"/>
                    <a:pt x="0" y="180"/>
                    <a:pt x="0" y="218"/>
                  </a:cubicBezTo>
                  <a:cubicBezTo>
                    <a:pt x="0" y="255"/>
                    <a:pt x="18" y="286"/>
                    <a:pt x="26" y="321"/>
                  </a:cubicBezTo>
                  <a:cubicBezTo>
                    <a:pt x="78" y="534"/>
                    <a:pt x="130" y="748"/>
                    <a:pt x="182" y="961"/>
                  </a:cubicBezTo>
                  <a:cubicBezTo>
                    <a:pt x="270" y="948"/>
                    <a:pt x="270" y="948"/>
                    <a:pt x="270" y="948"/>
                  </a:cubicBezTo>
                  <a:cubicBezTo>
                    <a:pt x="276" y="294"/>
                    <a:pt x="276" y="294"/>
                    <a:pt x="276" y="294"/>
                  </a:cubicBezTo>
                  <a:cubicBezTo>
                    <a:pt x="312" y="257"/>
                    <a:pt x="402" y="198"/>
                    <a:pt x="383" y="13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0" name="Freeform 81">
              <a:extLst>
                <a:ext uri="{FF2B5EF4-FFF2-40B4-BE49-F238E27FC236}">
                  <a16:creationId xmlns:a16="http://schemas.microsoft.com/office/drawing/2014/main" id="{8489CF0D-3459-4A96-9446-116A80182C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3958" y="4860925"/>
              <a:ext cx="422275" cy="1098550"/>
            </a:xfrm>
            <a:custGeom>
              <a:avLst/>
              <a:gdLst>
                <a:gd name="T0" fmla="*/ 359 w 365"/>
                <a:gd name="T1" fmla="*/ 235 h 949"/>
                <a:gd name="T2" fmla="*/ 365 w 365"/>
                <a:gd name="T3" fmla="*/ 166 h 949"/>
                <a:gd name="T4" fmla="*/ 358 w 365"/>
                <a:gd name="T5" fmla="*/ 113 h 949"/>
                <a:gd name="T6" fmla="*/ 326 w 365"/>
                <a:gd name="T7" fmla="*/ 67 h 949"/>
                <a:gd name="T8" fmla="*/ 154 w 365"/>
                <a:gd name="T9" fmla="*/ 15 h 949"/>
                <a:gd name="T10" fmla="*/ 77 w 365"/>
                <a:gd name="T11" fmla="*/ 53 h 949"/>
                <a:gd name="T12" fmla="*/ 4 w 365"/>
                <a:gd name="T13" fmla="*/ 124 h 949"/>
                <a:gd name="T14" fmla="*/ 0 w 365"/>
                <a:gd name="T15" fmla="*/ 133 h 949"/>
                <a:gd name="T16" fmla="*/ 5 w 365"/>
                <a:gd name="T17" fmla="*/ 139 h 949"/>
                <a:gd name="T18" fmla="*/ 82 w 365"/>
                <a:gd name="T19" fmla="*/ 260 h 949"/>
                <a:gd name="T20" fmla="*/ 104 w 365"/>
                <a:gd name="T21" fmla="*/ 433 h 949"/>
                <a:gd name="T22" fmla="*/ 111 w 365"/>
                <a:gd name="T23" fmla="*/ 644 h 949"/>
                <a:gd name="T24" fmla="*/ 122 w 365"/>
                <a:gd name="T25" fmla="*/ 936 h 949"/>
                <a:gd name="T26" fmla="*/ 222 w 365"/>
                <a:gd name="T27" fmla="*/ 949 h 949"/>
                <a:gd name="T28" fmla="*/ 274 w 365"/>
                <a:gd name="T29" fmla="*/ 680 h 949"/>
                <a:gd name="T30" fmla="*/ 348 w 365"/>
                <a:gd name="T31" fmla="*/ 302 h 949"/>
                <a:gd name="T32" fmla="*/ 359 w 365"/>
                <a:gd name="T33" fmla="*/ 235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5" h="949">
                  <a:moveTo>
                    <a:pt x="359" y="235"/>
                  </a:moveTo>
                  <a:cubicBezTo>
                    <a:pt x="362" y="212"/>
                    <a:pt x="364" y="189"/>
                    <a:pt x="365" y="166"/>
                  </a:cubicBezTo>
                  <a:cubicBezTo>
                    <a:pt x="365" y="148"/>
                    <a:pt x="364" y="130"/>
                    <a:pt x="358" y="113"/>
                  </a:cubicBezTo>
                  <a:cubicBezTo>
                    <a:pt x="352" y="94"/>
                    <a:pt x="339" y="80"/>
                    <a:pt x="326" y="67"/>
                  </a:cubicBezTo>
                  <a:cubicBezTo>
                    <a:pt x="278" y="22"/>
                    <a:pt x="216" y="0"/>
                    <a:pt x="154" y="15"/>
                  </a:cubicBezTo>
                  <a:cubicBezTo>
                    <a:pt x="127" y="22"/>
                    <a:pt x="101" y="36"/>
                    <a:pt x="77" y="53"/>
                  </a:cubicBezTo>
                  <a:cubicBezTo>
                    <a:pt x="50" y="72"/>
                    <a:pt x="24" y="95"/>
                    <a:pt x="4" y="124"/>
                  </a:cubicBezTo>
                  <a:cubicBezTo>
                    <a:pt x="2" y="126"/>
                    <a:pt x="0" y="130"/>
                    <a:pt x="0" y="133"/>
                  </a:cubicBezTo>
                  <a:cubicBezTo>
                    <a:pt x="1" y="136"/>
                    <a:pt x="3" y="137"/>
                    <a:pt x="5" y="139"/>
                  </a:cubicBezTo>
                  <a:cubicBezTo>
                    <a:pt x="39" y="171"/>
                    <a:pt x="65" y="214"/>
                    <a:pt x="82" y="260"/>
                  </a:cubicBezTo>
                  <a:cubicBezTo>
                    <a:pt x="102" y="317"/>
                    <a:pt x="101" y="373"/>
                    <a:pt x="104" y="433"/>
                  </a:cubicBezTo>
                  <a:cubicBezTo>
                    <a:pt x="106" y="503"/>
                    <a:pt x="109" y="573"/>
                    <a:pt x="111" y="644"/>
                  </a:cubicBezTo>
                  <a:cubicBezTo>
                    <a:pt x="115" y="741"/>
                    <a:pt x="119" y="839"/>
                    <a:pt x="122" y="936"/>
                  </a:cubicBezTo>
                  <a:cubicBezTo>
                    <a:pt x="222" y="949"/>
                    <a:pt x="222" y="949"/>
                    <a:pt x="222" y="949"/>
                  </a:cubicBezTo>
                  <a:cubicBezTo>
                    <a:pt x="239" y="859"/>
                    <a:pt x="257" y="770"/>
                    <a:pt x="274" y="680"/>
                  </a:cubicBezTo>
                  <a:cubicBezTo>
                    <a:pt x="299" y="554"/>
                    <a:pt x="323" y="428"/>
                    <a:pt x="348" y="302"/>
                  </a:cubicBezTo>
                  <a:cubicBezTo>
                    <a:pt x="352" y="280"/>
                    <a:pt x="356" y="258"/>
                    <a:pt x="359" y="235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1" name="Freeform 82">
              <a:extLst>
                <a:ext uri="{FF2B5EF4-FFF2-40B4-BE49-F238E27FC236}">
                  <a16:creationId xmlns:a16="http://schemas.microsoft.com/office/drawing/2014/main" id="{9804355C-28BF-45B6-BF8B-8044141386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2883" y="3733800"/>
              <a:ext cx="392113" cy="585788"/>
            </a:xfrm>
            <a:custGeom>
              <a:avLst/>
              <a:gdLst>
                <a:gd name="T0" fmla="*/ 0 w 247"/>
                <a:gd name="T1" fmla="*/ 0 h 369"/>
                <a:gd name="T2" fmla="*/ 93 w 247"/>
                <a:gd name="T3" fmla="*/ 49 h 369"/>
                <a:gd name="T4" fmla="*/ 247 w 247"/>
                <a:gd name="T5" fmla="*/ 309 h 369"/>
                <a:gd name="T6" fmla="*/ 147 w 247"/>
                <a:gd name="T7" fmla="*/ 369 h 369"/>
                <a:gd name="T8" fmla="*/ 84 w 247"/>
                <a:gd name="T9" fmla="*/ 239 h 369"/>
                <a:gd name="T10" fmla="*/ 0 w 247"/>
                <a:gd name="T11" fmla="*/ 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7" h="369">
                  <a:moveTo>
                    <a:pt x="0" y="0"/>
                  </a:moveTo>
                  <a:lnTo>
                    <a:pt x="93" y="49"/>
                  </a:lnTo>
                  <a:lnTo>
                    <a:pt x="247" y="309"/>
                  </a:lnTo>
                  <a:lnTo>
                    <a:pt x="147" y="369"/>
                  </a:lnTo>
                  <a:lnTo>
                    <a:pt x="84" y="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" name="Freeform 83">
              <a:extLst>
                <a:ext uri="{FF2B5EF4-FFF2-40B4-BE49-F238E27FC236}">
                  <a16:creationId xmlns:a16="http://schemas.microsoft.com/office/drawing/2014/main" id="{75699C17-884D-4802-B23F-6FE8DC4FBC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65971" y="3765550"/>
              <a:ext cx="352425" cy="514350"/>
            </a:xfrm>
            <a:custGeom>
              <a:avLst/>
              <a:gdLst>
                <a:gd name="T0" fmla="*/ 222 w 222"/>
                <a:gd name="T1" fmla="*/ 0 h 324"/>
                <a:gd name="T2" fmla="*/ 143 w 222"/>
                <a:gd name="T3" fmla="*/ 29 h 324"/>
                <a:gd name="T4" fmla="*/ 0 w 222"/>
                <a:gd name="T5" fmla="*/ 260 h 324"/>
                <a:gd name="T6" fmla="*/ 164 w 222"/>
                <a:gd name="T7" fmla="*/ 324 h 324"/>
                <a:gd name="T8" fmla="*/ 222 w 222"/>
                <a:gd name="T9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324">
                  <a:moveTo>
                    <a:pt x="222" y="0"/>
                  </a:moveTo>
                  <a:lnTo>
                    <a:pt x="143" y="29"/>
                  </a:lnTo>
                  <a:lnTo>
                    <a:pt x="0" y="260"/>
                  </a:lnTo>
                  <a:lnTo>
                    <a:pt x="164" y="324"/>
                  </a:lnTo>
                  <a:lnTo>
                    <a:pt x="222" y="0"/>
                  </a:lnTo>
                  <a:close/>
                </a:path>
              </a:pathLst>
            </a:custGeom>
            <a:solidFill>
              <a:srgbClr val="D9D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3" name="Freeform 84">
              <a:extLst>
                <a:ext uri="{FF2B5EF4-FFF2-40B4-BE49-F238E27FC236}">
                  <a16:creationId xmlns:a16="http://schemas.microsoft.com/office/drawing/2014/main" id="{7F72C3D8-4CC0-44A0-AEB1-41C6A21BC2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96121" y="4198938"/>
              <a:ext cx="246063" cy="315913"/>
            </a:xfrm>
            <a:custGeom>
              <a:avLst/>
              <a:gdLst>
                <a:gd name="T0" fmla="*/ 18 w 155"/>
                <a:gd name="T1" fmla="*/ 199 h 199"/>
                <a:gd name="T2" fmla="*/ 79 w 155"/>
                <a:gd name="T3" fmla="*/ 182 h 199"/>
                <a:gd name="T4" fmla="*/ 155 w 155"/>
                <a:gd name="T5" fmla="*/ 34 h 199"/>
                <a:gd name="T6" fmla="*/ 76 w 155"/>
                <a:gd name="T7" fmla="*/ 0 h 199"/>
                <a:gd name="T8" fmla="*/ 0 w 155"/>
                <a:gd name="T9" fmla="*/ 146 h 199"/>
                <a:gd name="T10" fmla="*/ 18 w 155"/>
                <a:gd name="T11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5" h="199">
                  <a:moveTo>
                    <a:pt x="18" y="199"/>
                  </a:moveTo>
                  <a:lnTo>
                    <a:pt x="79" y="182"/>
                  </a:lnTo>
                  <a:lnTo>
                    <a:pt x="155" y="34"/>
                  </a:lnTo>
                  <a:lnTo>
                    <a:pt x="76" y="0"/>
                  </a:lnTo>
                  <a:lnTo>
                    <a:pt x="0" y="146"/>
                  </a:lnTo>
                  <a:lnTo>
                    <a:pt x="18" y="199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4" name="Freeform 85">
              <a:extLst>
                <a:ext uri="{FF2B5EF4-FFF2-40B4-BE49-F238E27FC236}">
                  <a16:creationId xmlns:a16="http://schemas.microsoft.com/office/drawing/2014/main" id="{8517B64C-F510-4657-B142-E759AD25CB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21646" y="4217377"/>
              <a:ext cx="287338" cy="365125"/>
            </a:xfrm>
            <a:custGeom>
              <a:avLst/>
              <a:gdLst>
                <a:gd name="T0" fmla="*/ 84 w 181"/>
                <a:gd name="T1" fmla="*/ 0 h 230"/>
                <a:gd name="T2" fmla="*/ 181 w 181"/>
                <a:gd name="T3" fmla="*/ 167 h 230"/>
                <a:gd name="T4" fmla="*/ 151 w 181"/>
                <a:gd name="T5" fmla="*/ 230 h 230"/>
                <a:gd name="T6" fmla="*/ 91 w 181"/>
                <a:gd name="T7" fmla="*/ 210 h 230"/>
                <a:gd name="T8" fmla="*/ 0 w 181"/>
                <a:gd name="T9" fmla="*/ 46 h 230"/>
                <a:gd name="T10" fmla="*/ 84 w 181"/>
                <a:gd name="T11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1" h="230">
                  <a:moveTo>
                    <a:pt x="84" y="0"/>
                  </a:moveTo>
                  <a:lnTo>
                    <a:pt x="181" y="167"/>
                  </a:lnTo>
                  <a:lnTo>
                    <a:pt x="151" y="230"/>
                  </a:lnTo>
                  <a:lnTo>
                    <a:pt x="91" y="210"/>
                  </a:lnTo>
                  <a:lnTo>
                    <a:pt x="0" y="46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5" name="Freeform 86">
              <a:extLst>
                <a:ext uri="{FF2B5EF4-FFF2-40B4-BE49-F238E27FC236}">
                  <a16:creationId xmlns:a16="http://schemas.microsoft.com/office/drawing/2014/main" id="{29DEC817-2014-4396-90FC-BF31A14039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8346" y="4011613"/>
              <a:ext cx="374650" cy="376238"/>
            </a:xfrm>
            <a:custGeom>
              <a:avLst/>
              <a:gdLst>
                <a:gd name="T0" fmla="*/ 312 w 324"/>
                <a:gd name="T1" fmla="*/ 184 h 325"/>
                <a:gd name="T2" fmla="*/ 141 w 324"/>
                <a:gd name="T3" fmla="*/ 313 h 325"/>
                <a:gd name="T4" fmla="*/ 12 w 324"/>
                <a:gd name="T5" fmla="*/ 141 h 325"/>
                <a:gd name="T6" fmla="*/ 184 w 324"/>
                <a:gd name="T7" fmla="*/ 12 h 325"/>
                <a:gd name="T8" fmla="*/ 312 w 324"/>
                <a:gd name="T9" fmla="*/ 184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325">
                  <a:moveTo>
                    <a:pt x="312" y="184"/>
                  </a:moveTo>
                  <a:cubicBezTo>
                    <a:pt x="300" y="267"/>
                    <a:pt x="224" y="325"/>
                    <a:pt x="141" y="313"/>
                  </a:cubicBezTo>
                  <a:cubicBezTo>
                    <a:pt x="58" y="301"/>
                    <a:pt x="0" y="224"/>
                    <a:pt x="12" y="141"/>
                  </a:cubicBezTo>
                  <a:cubicBezTo>
                    <a:pt x="24" y="58"/>
                    <a:pt x="101" y="0"/>
                    <a:pt x="184" y="12"/>
                  </a:cubicBezTo>
                  <a:cubicBezTo>
                    <a:pt x="267" y="24"/>
                    <a:pt x="324" y="101"/>
                    <a:pt x="312" y="184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6" name="Freeform 87">
              <a:extLst>
                <a:ext uri="{FF2B5EF4-FFF2-40B4-BE49-F238E27FC236}">
                  <a16:creationId xmlns:a16="http://schemas.microsoft.com/office/drawing/2014/main" id="{EC3916B4-D235-436A-9FFF-0A2A775BC7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47083" y="4070350"/>
              <a:ext cx="258763" cy="257175"/>
            </a:xfrm>
            <a:custGeom>
              <a:avLst/>
              <a:gdLst>
                <a:gd name="T0" fmla="*/ 214 w 223"/>
                <a:gd name="T1" fmla="*/ 126 h 223"/>
                <a:gd name="T2" fmla="*/ 96 w 223"/>
                <a:gd name="T3" fmla="*/ 215 h 223"/>
                <a:gd name="T4" fmla="*/ 8 w 223"/>
                <a:gd name="T5" fmla="*/ 96 h 223"/>
                <a:gd name="T6" fmla="*/ 126 w 223"/>
                <a:gd name="T7" fmla="*/ 8 h 223"/>
                <a:gd name="T8" fmla="*/ 214 w 223"/>
                <a:gd name="T9" fmla="*/ 12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223">
                  <a:moveTo>
                    <a:pt x="214" y="126"/>
                  </a:moveTo>
                  <a:cubicBezTo>
                    <a:pt x="206" y="183"/>
                    <a:pt x="153" y="223"/>
                    <a:pt x="96" y="215"/>
                  </a:cubicBezTo>
                  <a:cubicBezTo>
                    <a:pt x="39" y="206"/>
                    <a:pt x="0" y="153"/>
                    <a:pt x="8" y="96"/>
                  </a:cubicBezTo>
                  <a:cubicBezTo>
                    <a:pt x="16" y="39"/>
                    <a:pt x="69" y="0"/>
                    <a:pt x="126" y="8"/>
                  </a:cubicBezTo>
                  <a:cubicBezTo>
                    <a:pt x="183" y="16"/>
                    <a:pt x="223" y="69"/>
                    <a:pt x="214" y="126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7" name="Freeform 88">
              <a:extLst>
                <a:ext uri="{FF2B5EF4-FFF2-40B4-BE49-F238E27FC236}">
                  <a16:creationId xmlns:a16="http://schemas.microsoft.com/office/drawing/2014/main" id="{33306EF7-35AA-4CE0-8EC9-B0B5CBC722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50258" y="4267200"/>
              <a:ext cx="138113" cy="642938"/>
            </a:xfrm>
            <a:custGeom>
              <a:avLst/>
              <a:gdLst>
                <a:gd name="T0" fmla="*/ 29 w 87"/>
                <a:gd name="T1" fmla="*/ 405 h 405"/>
                <a:gd name="T2" fmla="*/ 0 w 87"/>
                <a:gd name="T3" fmla="*/ 401 h 405"/>
                <a:gd name="T4" fmla="*/ 58 w 87"/>
                <a:gd name="T5" fmla="*/ 0 h 405"/>
                <a:gd name="T6" fmla="*/ 87 w 87"/>
                <a:gd name="T7" fmla="*/ 5 h 405"/>
                <a:gd name="T8" fmla="*/ 29 w 87"/>
                <a:gd name="T9" fmla="*/ 40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405">
                  <a:moveTo>
                    <a:pt x="29" y="405"/>
                  </a:moveTo>
                  <a:lnTo>
                    <a:pt x="0" y="401"/>
                  </a:lnTo>
                  <a:lnTo>
                    <a:pt x="58" y="0"/>
                  </a:lnTo>
                  <a:lnTo>
                    <a:pt x="87" y="5"/>
                  </a:lnTo>
                  <a:lnTo>
                    <a:pt x="29" y="40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8" name="Freeform 89">
              <a:extLst>
                <a:ext uri="{FF2B5EF4-FFF2-40B4-BE49-F238E27FC236}">
                  <a16:creationId xmlns:a16="http://schemas.microsoft.com/office/drawing/2014/main" id="{5CE4B6AE-9786-4C75-A99E-1330AA23A6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50258" y="4267200"/>
              <a:ext cx="138113" cy="642938"/>
            </a:xfrm>
            <a:custGeom>
              <a:avLst/>
              <a:gdLst>
                <a:gd name="T0" fmla="*/ 29 w 87"/>
                <a:gd name="T1" fmla="*/ 405 h 405"/>
                <a:gd name="T2" fmla="*/ 0 w 87"/>
                <a:gd name="T3" fmla="*/ 401 h 405"/>
                <a:gd name="T4" fmla="*/ 58 w 87"/>
                <a:gd name="T5" fmla="*/ 0 h 405"/>
                <a:gd name="T6" fmla="*/ 87 w 87"/>
                <a:gd name="T7" fmla="*/ 5 h 405"/>
                <a:gd name="T8" fmla="*/ 29 w 87"/>
                <a:gd name="T9" fmla="*/ 40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405">
                  <a:moveTo>
                    <a:pt x="29" y="405"/>
                  </a:moveTo>
                  <a:lnTo>
                    <a:pt x="0" y="401"/>
                  </a:lnTo>
                  <a:lnTo>
                    <a:pt x="58" y="0"/>
                  </a:lnTo>
                  <a:lnTo>
                    <a:pt x="87" y="5"/>
                  </a:lnTo>
                  <a:lnTo>
                    <a:pt x="29" y="405"/>
                  </a:ln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9" name="Freeform 90">
              <a:extLst>
                <a:ext uri="{FF2B5EF4-FFF2-40B4-BE49-F238E27FC236}">
                  <a16:creationId xmlns:a16="http://schemas.microsoft.com/office/drawing/2014/main" id="{584A6FA8-BCEF-4D82-8002-E523EE97F9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29633" y="4159250"/>
              <a:ext cx="88900" cy="87313"/>
            </a:xfrm>
            <a:custGeom>
              <a:avLst/>
              <a:gdLst>
                <a:gd name="T0" fmla="*/ 73 w 76"/>
                <a:gd name="T1" fmla="*/ 43 h 76"/>
                <a:gd name="T2" fmla="*/ 33 w 76"/>
                <a:gd name="T3" fmla="*/ 73 h 76"/>
                <a:gd name="T4" fmla="*/ 3 w 76"/>
                <a:gd name="T5" fmla="*/ 33 h 76"/>
                <a:gd name="T6" fmla="*/ 43 w 76"/>
                <a:gd name="T7" fmla="*/ 3 h 76"/>
                <a:gd name="T8" fmla="*/ 73 w 76"/>
                <a:gd name="T9" fmla="*/ 4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76">
                  <a:moveTo>
                    <a:pt x="73" y="43"/>
                  </a:moveTo>
                  <a:cubicBezTo>
                    <a:pt x="70" y="63"/>
                    <a:pt x="52" y="76"/>
                    <a:pt x="33" y="73"/>
                  </a:cubicBezTo>
                  <a:cubicBezTo>
                    <a:pt x="13" y="70"/>
                    <a:pt x="0" y="52"/>
                    <a:pt x="3" y="33"/>
                  </a:cubicBezTo>
                  <a:cubicBezTo>
                    <a:pt x="5" y="13"/>
                    <a:pt x="23" y="0"/>
                    <a:pt x="43" y="3"/>
                  </a:cubicBezTo>
                  <a:cubicBezTo>
                    <a:pt x="63" y="5"/>
                    <a:pt x="76" y="24"/>
                    <a:pt x="73" y="43"/>
                  </a:cubicBezTo>
                </a:path>
              </a:pathLst>
            </a:custGeom>
            <a:solidFill>
              <a:srgbClr val="1A31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0" name="Freeform 91">
              <a:extLst>
                <a:ext uri="{FF2B5EF4-FFF2-40B4-BE49-F238E27FC236}">
                  <a16:creationId xmlns:a16="http://schemas.microsoft.com/office/drawing/2014/main" id="{1DDAD7AD-D38E-4495-81DA-16157E535F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05833" y="4370388"/>
              <a:ext cx="9525" cy="1588"/>
            </a:xfrm>
            <a:custGeom>
              <a:avLst/>
              <a:gdLst>
                <a:gd name="T0" fmla="*/ 8 w 8"/>
                <a:gd name="T1" fmla="*/ 0 h 2"/>
                <a:gd name="T2" fmla="*/ 0 w 8"/>
                <a:gd name="T3" fmla="*/ 2 h 2"/>
                <a:gd name="T4" fmla="*/ 0 w 8"/>
                <a:gd name="T5" fmla="*/ 2 h 2"/>
                <a:gd name="T6" fmla="*/ 8 w 8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2">
                  <a:moveTo>
                    <a:pt x="8" y="0"/>
                  </a:moveTo>
                  <a:cubicBezTo>
                    <a:pt x="5" y="1"/>
                    <a:pt x="3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" y="1"/>
                    <a:pt x="6" y="1"/>
                    <a:pt x="8" y="0"/>
                  </a:cubicBezTo>
                </a:path>
              </a:pathLst>
            </a:custGeom>
            <a:solidFill>
              <a:srgbClr val="0D55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1" name="Freeform 92">
              <a:extLst>
                <a:ext uri="{FF2B5EF4-FFF2-40B4-BE49-F238E27FC236}">
                  <a16:creationId xmlns:a16="http://schemas.microsoft.com/office/drawing/2014/main" id="{3E43578D-54F1-47C3-8B6C-D04D635FA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02658" y="4371975"/>
              <a:ext cx="3175" cy="0"/>
            </a:xfrm>
            <a:custGeom>
              <a:avLst/>
              <a:gdLst>
                <a:gd name="T0" fmla="*/ 3 w 3"/>
                <a:gd name="T1" fmla="*/ 0 w 3"/>
                <a:gd name="T2" fmla="*/ 3 w 3"/>
                <a:gd name="T3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cubicBezTo>
                    <a:pt x="2" y="0"/>
                    <a:pt x="1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3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2" name="Freeform 93">
              <a:extLst>
                <a:ext uri="{FF2B5EF4-FFF2-40B4-BE49-F238E27FC236}">
                  <a16:creationId xmlns:a16="http://schemas.microsoft.com/office/drawing/2014/main" id="{BE5CBAED-7BFD-4ECB-9E21-38A566349C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4083" y="4314825"/>
              <a:ext cx="41275" cy="58738"/>
            </a:xfrm>
            <a:custGeom>
              <a:avLst/>
              <a:gdLst>
                <a:gd name="T0" fmla="*/ 31 w 36"/>
                <a:gd name="T1" fmla="*/ 0 h 52"/>
                <a:gd name="T2" fmla="*/ 7 w 36"/>
                <a:gd name="T3" fmla="*/ 5 h 52"/>
                <a:gd name="T4" fmla="*/ 0 w 36"/>
                <a:gd name="T5" fmla="*/ 52 h 52"/>
                <a:gd name="T6" fmla="*/ 25 w 36"/>
                <a:gd name="T7" fmla="*/ 50 h 52"/>
                <a:gd name="T8" fmla="*/ 28 w 36"/>
                <a:gd name="T9" fmla="*/ 50 h 52"/>
                <a:gd name="T10" fmla="*/ 36 w 36"/>
                <a:gd name="T11" fmla="*/ 48 h 52"/>
                <a:gd name="T12" fmla="*/ 36 w 36"/>
                <a:gd name="T13" fmla="*/ 48 h 52"/>
                <a:gd name="T14" fmla="*/ 31 w 36"/>
                <a:gd name="T1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52">
                  <a:moveTo>
                    <a:pt x="31" y="0"/>
                  </a:moveTo>
                  <a:cubicBezTo>
                    <a:pt x="23" y="3"/>
                    <a:pt x="15" y="4"/>
                    <a:pt x="7" y="5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13" y="52"/>
                    <a:pt x="25" y="50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31" y="49"/>
                    <a:pt x="33" y="49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1" y="0"/>
                    <a:pt x="31" y="0"/>
                    <a:pt x="31" y="0"/>
                  </a:cubicBezTo>
                </a:path>
              </a:pathLst>
            </a:custGeom>
            <a:solidFill>
              <a:srgbClr val="172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3" name="Freeform 94">
              <a:extLst>
                <a:ext uri="{FF2B5EF4-FFF2-40B4-BE49-F238E27FC236}">
                  <a16:creationId xmlns:a16="http://schemas.microsoft.com/office/drawing/2014/main" id="{221F1311-3DE8-406A-8B33-E54008ACF6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82021" y="4233863"/>
              <a:ext cx="28575" cy="85725"/>
            </a:xfrm>
            <a:custGeom>
              <a:avLst/>
              <a:gdLst>
                <a:gd name="T0" fmla="*/ 16 w 24"/>
                <a:gd name="T1" fmla="*/ 0 h 74"/>
                <a:gd name="T2" fmla="*/ 10 w 24"/>
                <a:gd name="T3" fmla="*/ 4 h 74"/>
                <a:gd name="T4" fmla="*/ 5 w 24"/>
                <a:gd name="T5" fmla="*/ 35 h 74"/>
                <a:gd name="T6" fmla="*/ 5 w 24"/>
                <a:gd name="T7" fmla="*/ 35 h 74"/>
                <a:gd name="T8" fmla="*/ 0 w 24"/>
                <a:gd name="T9" fmla="*/ 74 h 74"/>
                <a:gd name="T10" fmla="*/ 24 w 24"/>
                <a:gd name="T11" fmla="*/ 69 h 74"/>
                <a:gd name="T12" fmla="*/ 16 w 24"/>
                <a:gd name="T13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74">
                  <a:moveTo>
                    <a:pt x="16" y="0"/>
                  </a:moveTo>
                  <a:cubicBezTo>
                    <a:pt x="14" y="2"/>
                    <a:pt x="12" y="3"/>
                    <a:pt x="10" y="4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8" y="73"/>
                    <a:pt x="16" y="72"/>
                    <a:pt x="24" y="69"/>
                  </a:cubicBezTo>
                  <a:cubicBezTo>
                    <a:pt x="16" y="0"/>
                    <a:pt x="16" y="0"/>
                    <a:pt x="16" y="0"/>
                  </a:cubicBezTo>
                </a:path>
              </a:pathLst>
            </a:custGeom>
            <a:solidFill>
              <a:srgbClr val="C7C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4" name="Freeform 95">
              <a:extLst>
                <a:ext uri="{FF2B5EF4-FFF2-40B4-BE49-F238E27FC236}">
                  <a16:creationId xmlns:a16="http://schemas.microsoft.com/office/drawing/2014/main" id="{1F8D9AF7-09D6-48B8-BEBA-234304ACC7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4083" y="4275138"/>
              <a:ext cx="14288" cy="98425"/>
            </a:xfrm>
            <a:custGeom>
              <a:avLst/>
              <a:gdLst>
                <a:gd name="T0" fmla="*/ 12 w 12"/>
                <a:gd name="T1" fmla="*/ 0 h 86"/>
                <a:gd name="T2" fmla="*/ 0 w 12"/>
                <a:gd name="T3" fmla="*/ 86 h 86"/>
                <a:gd name="T4" fmla="*/ 0 w 12"/>
                <a:gd name="T5" fmla="*/ 86 h 86"/>
                <a:gd name="T6" fmla="*/ 7 w 12"/>
                <a:gd name="T7" fmla="*/ 39 h 86"/>
                <a:gd name="T8" fmla="*/ 12 w 12"/>
                <a:gd name="T9" fmla="*/ 0 h 86"/>
                <a:gd name="T10" fmla="*/ 12 w 12"/>
                <a:gd name="T11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86">
                  <a:moveTo>
                    <a:pt x="12" y="0"/>
                  </a:moveTo>
                  <a:cubicBezTo>
                    <a:pt x="0" y="86"/>
                    <a:pt x="0" y="86"/>
                    <a:pt x="0" y="86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5" name="Freeform 96">
              <a:extLst>
                <a:ext uri="{FF2B5EF4-FFF2-40B4-BE49-F238E27FC236}">
                  <a16:creationId xmlns:a16="http://schemas.microsoft.com/office/drawing/2014/main" id="{322B8E70-C070-4BE5-A45F-887C04067B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3133" y="4233863"/>
              <a:ext cx="7938" cy="4763"/>
            </a:xfrm>
            <a:custGeom>
              <a:avLst/>
              <a:gdLst>
                <a:gd name="T0" fmla="*/ 6 w 6"/>
                <a:gd name="T1" fmla="*/ 0 h 4"/>
                <a:gd name="T2" fmla="*/ 0 w 6"/>
                <a:gd name="T3" fmla="*/ 4 h 4"/>
                <a:gd name="T4" fmla="*/ 0 w 6"/>
                <a:gd name="T5" fmla="*/ 4 h 4"/>
                <a:gd name="T6" fmla="*/ 6 w 6"/>
                <a:gd name="T7" fmla="*/ 0 h 4"/>
                <a:gd name="T8" fmla="*/ 6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3"/>
                    <a:pt x="4" y="2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172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6" name="Freeform 97">
              <a:extLst>
                <a:ext uri="{FF2B5EF4-FFF2-40B4-BE49-F238E27FC236}">
                  <a16:creationId xmlns:a16="http://schemas.microsoft.com/office/drawing/2014/main" id="{EC52B94A-0D27-4B59-B236-F9993324BF5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13633" y="4679950"/>
              <a:ext cx="1027113" cy="736600"/>
            </a:xfrm>
            <a:custGeom>
              <a:avLst/>
              <a:gdLst>
                <a:gd name="T0" fmla="*/ 3 w 886"/>
                <a:gd name="T1" fmla="*/ 163 h 636"/>
                <a:gd name="T2" fmla="*/ 562 w 886"/>
                <a:gd name="T3" fmla="*/ 582 h 636"/>
                <a:gd name="T4" fmla="*/ 865 w 886"/>
                <a:gd name="T5" fmla="*/ 160 h 636"/>
                <a:gd name="T6" fmla="*/ 882 w 886"/>
                <a:gd name="T7" fmla="*/ 75 h 636"/>
                <a:gd name="T8" fmla="*/ 800 w 886"/>
                <a:gd name="T9" fmla="*/ 120 h 636"/>
                <a:gd name="T10" fmla="*/ 781 w 886"/>
                <a:gd name="T11" fmla="*/ 195 h 636"/>
                <a:gd name="T12" fmla="*/ 780 w 886"/>
                <a:gd name="T13" fmla="*/ 197 h 636"/>
                <a:gd name="T14" fmla="*/ 765 w 886"/>
                <a:gd name="T15" fmla="*/ 243 h 636"/>
                <a:gd name="T16" fmla="*/ 684 w 886"/>
                <a:gd name="T17" fmla="*/ 403 h 636"/>
                <a:gd name="T18" fmla="*/ 666 w 886"/>
                <a:gd name="T19" fmla="*/ 426 h 636"/>
                <a:gd name="T20" fmla="*/ 620 w 886"/>
                <a:gd name="T21" fmla="*/ 474 h 636"/>
                <a:gd name="T22" fmla="*/ 607 w 886"/>
                <a:gd name="T23" fmla="*/ 485 h 636"/>
                <a:gd name="T24" fmla="*/ 569 w 886"/>
                <a:gd name="T25" fmla="*/ 511 h 636"/>
                <a:gd name="T26" fmla="*/ 540 w 886"/>
                <a:gd name="T27" fmla="*/ 526 h 636"/>
                <a:gd name="T28" fmla="*/ 487 w 886"/>
                <a:gd name="T29" fmla="*/ 543 h 636"/>
                <a:gd name="T30" fmla="*/ 482 w 886"/>
                <a:gd name="T31" fmla="*/ 544 h 636"/>
                <a:gd name="T32" fmla="*/ 470 w 886"/>
                <a:gd name="T33" fmla="*/ 546 h 636"/>
                <a:gd name="T34" fmla="*/ 418 w 886"/>
                <a:gd name="T35" fmla="*/ 550 h 636"/>
                <a:gd name="T36" fmla="*/ 418 w 886"/>
                <a:gd name="T37" fmla="*/ 550 h 636"/>
                <a:gd name="T38" fmla="*/ 413 w 886"/>
                <a:gd name="T39" fmla="*/ 550 h 636"/>
                <a:gd name="T40" fmla="*/ 395 w 886"/>
                <a:gd name="T41" fmla="*/ 549 h 636"/>
                <a:gd name="T42" fmla="*/ 336 w 886"/>
                <a:gd name="T43" fmla="*/ 540 h 636"/>
                <a:gd name="T44" fmla="*/ 318 w 886"/>
                <a:gd name="T45" fmla="*/ 536 h 636"/>
                <a:gd name="T46" fmla="*/ 268 w 886"/>
                <a:gd name="T47" fmla="*/ 518 h 636"/>
                <a:gd name="T48" fmla="*/ 267 w 886"/>
                <a:gd name="T49" fmla="*/ 517 h 636"/>
                <a:gd name="T50" fmla="*/ 249 w 886"/>
                <a:gd name="T51" fmla="*/ 508 h 636"/>
                <a:gd name="T52" fmla="*/ 221 w 886"/>
                <a:gd name="T53" fmla="*/ 491 h 636"/>
                <a:gd name="T54" fmla="*/ 181 w 886"/>
                <a:gd name="T55" fmla="*/ 456 h 636"/>
                <a:gd name="T56" fmla="*/ 163 w 886"/>
                <a:gd name="T57" fmla="*/ 435 h 636"/>
                <a:gd name="T58" fmla="*/ 114 w 886"/>
                <a:gd name="T59" fmla="*/ 351 h 636"/>
                <a:gd name="T60" fmla="*/ 112 w 886"/>
                <a:gd name="T61" fmla="*/ 347 h 636"/>
                <a:gd name="T62" fmla="*/ 102 w 886"/>
                <a:gd name="T63" fmla="*/ 317 h 636"/>
                <a:gd name="T64" fmla="*/ 78 w 886"/>
                <a:gd name="T65" fmla="*/ 195 h 636"/>
                <a:gd name="T66" fmla="*/ 75 w 886"/>
                <a:gd name="T67" fmla="*/ 166 h 636"/>
                <a:gd name="T68" fmla="*/ 74 w 886"/>
                <a:gd name="T69" fmla="*/ 124 h 636"/>
                <a:gd name="T70" fmla="*/ 82 w 886"/>
                <a:gd name="T71" fmla="*/ 12 h 636"/>
                <a:gd name="T72" fmla="*/ 9 w 886"/>
                <a:gd name="T73" fmla="*/ 0 h 636"/>
                <a:gd name="T74" fmla="*/ 335 w 886"/>
                <a:gd name="T75" fmla="*/ 540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86" h="636">
                  <a:moveTo>
                    <a:pt x="9" y="0"/>
                  </a:moveTo>
                  <a:cubicBezTo>
                    <a:pt x="1" y="54"/>
                    <a:pt x="0" y="109"/>
                    <a:pt x="3" y="163"/>
                  </a:cubicBezTo>
                  <a:cubicBezTo>
                    <a:pt x="9" y="276"/>
                    <a:pt x="35" y="401"/>
                    <a:pt x="131" y="495"/>
                  </a:cubicBezTo>
                  <a:cubicBezTo>
                    <a:pt x="233" y="595"/>
                    <a:pt x="421" y="636"/>
                    <a:pt x="562" y="582"/>
                  </a:cubicBezTo>
                  <a:cubicBezTo>
                    <a:pt x="696" y="530"/>
                    <a:pt x="770" y="416"/>
                    <a:pt x="816" y="310"/>
                  </a:cubicBezTo>
                  <a:cubicBezTo>
                    <a:pt x="837" y="261"/>
                    <a:pt x="853" y="211"/>
                    <a:pt x="865" y="160"/>
                  </a:cubicBezTo>
                  <a:cubicBezTo>
                    <a:pt x="872" y="133"/>
                    <a:pt x="878" y="106"/>
                    <a:pt x="881" y="79"/>
                  </a:cubicBezTo>
                  <a:cubicBezTo>
                    <a:pt x="881" y="78"/>
                    <a:pt x="881" y="76"/>
                    <a:pt x="882" y="75"/>
                  </a:cubicBezTo>
                  <a:cubicBezTo>
                    <a:pt x="886" y="39"/>
                    <a:pt x="813" y="31"/>
                    <a:pt x="809" y="66"/>
                  </a:cubicBezTo>
                  <a:cubicBezTo>
                    <a:pt x="807" y="85"/>
                    <a:pt x="804" y="103"/>
                    <a:pt x="800" y="120"/>
                  </a:cubicBezTo>
                  <a:cubicBezTo>
                    <a:pt x="796" y="140"/>
                    <a:pt x="791" y="159"/>
                    <a:pt x="786" y="178"/>
                  </a:cubicBezTo>
                  <a:cubicBezTo>
                    <a:pt x="784" y="184"/>
                    <a:pt x="783" y="190"/>
                    <a:pt x="781" y="195"/>
                  </a:cubicBezTo>
                  <a:cubicBezTo>
                    <a:pt x="781" y="196"/>
                    <a:pt x="781" y="196"/>
                    <a:pt x="781" y="197"/>
                  </a:cubicBezTo>
                  <a:cubicBezTo>
                    <a:pt x="780" y="197"/>
                    <a:pt x="780" y="197"/>
                    <a:pt x="780" y="197"/>
                  </a:cubicBezTo>
                  <a:cubicBezTo>
                    <a:pt x="779" y="201"/>
                    <a:pt x="778" y="204"/>
                    <a:pt x="777" y="207"/>
                  </a:cubicBezTo>
                  <a:cubicBezTo>
                    <a:pt x="774" y="219"/>
                    <a:pt x="769" y="231"/>
                    <a:pt x="765" y="243"/>
                  </a:cubicBezTo>
                  <a:cubicBezTo>
                    <a:pt x="746" y="296"/>
                    <a:pt x="722" y="347"/>
                    <a:pt x="689" y="395"/>
                  </a:cubicBezTo>
                  <a:cubicBezTo>
                    <a:pt x="687" y="398"/>
                    <a:pt x="685" y="401"/>
                    <a:pt x="684" y="403"/>
                  </a:cubicBezTo>
                  <a:cubicBezTo>
                    <a:pt x="686" y="400"/>
                    <a:pt x="681" y="406"/>
                    <a:pt x="680" y="408"/>
                  </a:cubicBezTo>
                  <a:cubicBezTo>
                    <a:pt x="676" y="414"/>
                    <a:pt x="671" y="420"/>
                    <a:pt x="666" y="426"/>
                  </a:cubicBezTo>
                  <a:cubicBezTo>
                    <a:pt x="656" y="438"/>
                    <a:pt x="646" y="449"/>
                    <a:pt x="636" y="459"/>
                  </a:cubicBezTo>
                  <a:cubicBezTo>
                    <a:pt x="631" y="464"/>
                    <a:pt x="626" y="469"/>
                    <a:pt x="620" y="474"/>
                  </a:cubicBezTo>
                  <a:cubicBezTo>
                    <a:pt x="618" y="476"/>
                    <a:pt x="615" y="478"/>
                    <a:pt x="613" y="481"/>
                  </a:cubicBezTo>
                  <a:cubicBezTo>
                    <a:pt x="611" y="482"/>
                    <a:pt x="609" y="483"/>
                    <a:pt x="607" y="485"/>
                  </a:cubicBezTo>
                  <a:cubicBezTo>
                    <a:pt x="607" y="485"/>
                    <a:pt x="606" y="486"/>
                    <a:pt x="605" y="487"/>
                  </a:cubicBezTo>
                  <a:cubicBezTo>
                    <a:pt x="593" y="495"/>
                    <a:pt x="582" y="503"/>
                    <a:pt x="569" y="511"/>
                  </a:cubicBezTo>
                  <a:cubicBezTo>
                    <a:pt x="563" y="514"/>
                    <a:pt x="556" y="518"/>
                    <a:pt x="550" y="521"/>
                  </a:cubicBezTo>
                  <a:cubicBezTo>
                    <a:pt x="547" y="523"/>
                    <a:pt x="544" y="524"/>
                    <a:pt x="540" y="526"/>
                  </a:cubicBezTo>
                  <a:cubicBezTo>
                    <a:pt x="549" y="522"/>
                    <a:pt x="535" y="528"/>
                    <a:pt x="533" y="529"/>
                  </a:cubicBezTo>
                  <a:cubicBezTo>
                    <a:pt x="518" y="534"/>
                    <a:pt x="503" y="539"/>
                    <a:pt x="487" y="543"/>
                  </a:cubicBezTo>
                  <a:cubicBezTo>
                    <a:pt x="486" y="543"/>
                    <a:pt x="484" y="543"/>
                    <a:pt x="482" y="544"/>
                  </a:cubicBezTo>
                  <a:cubicBezTo>
                    <a:pt x="482" y="544"/>
                    <a:pt x="482" y="544"/>
                    <a:pt x="482" y="544"/>
                  </a:cubicBezTo>
                  <a:cubicBezTo>
                    <a:pt x="482" y="544"/>
                    <a:pt x="482" y="544"/>
                    <a:pt x="482" y="544"/>
                  </a:cubicBezTo>
                  <a:cubicBezTo>
                    <a:pt x="478" y="545"/>
                    <a:pt x="474" y="545"/>
                    <a:pt x="470" y="546"/>
                  </a:cubicBezTo>
                  <a:cubicBezTo>
                    <a:pt x="461" y="547"/>
                    <a:pt x="452" y="548"/>
                    <a:pt x="443" y="549"/>
                  </a:cubicBezTo>
                  <a:cubicBezTo>
                    <a:pt x="435" y="549"/>
                    <a:pt x="426" y="550"/>
                    <a:pt x="418" y="550"/>
                  </a:cubicBezTo>
                  <a:cubicBezTo>
                    <a:pt x="417" y="550"/>
                    <a:pt x="416" y="550"/>
                    <a:pt x="415" y="550"/>
                  </a:cubicBezTo>
                  <a:cubicBezTo>
                    <a:pt x="416" y="550"/>
                    <a:pt x="417" y="550"/>
                    <a:pt x="418" y="550"/>
                  </a:cubicBezTo>
                  <a:cubicBezTo>
                    <a:pt x="416" y="550"/>
                    <a:pt x="415" y="550"/>
                    <a:pt x="414" y="550"/>
                  </a:cubicBezTo>
                  <a:cubicBezTo>
                    <a:pt x="413" y="550"/>
                    <a:pt x="413" y="550"/>
                    <a:pt x="413" y="550"/>
                  </a:cubicBezTo>
                  <a:cubicBezTo>
                    <a:pt x="413" y="550"/>
                    <a:pt x="412" y="550"/>
                    <a:pt x="412" y="550"/>
                  </a:cubicBezTo>
                  <a:cubicBezTo>
                    <a:pt x="406" y="549"/>
                    <a:pt x="401" y="549"/>
                    <a:pt x="395" y="549"/>
                  </a:cubicBezTo>
                  <a:cubicBezTo>
                    <a:pt x="375" y="547"/>
                    <a:pt x="356" y="544"/>
                    <a:pt x="336" y="540"/>
                  </a:cubicBezTo>
                  <a:cubicBezTo>
                    <a:pt x="336" y="540"/>
                    <a:pt x="336" y="540"/>
                    <a:pt x="336" y="540"/>
                  </a:cubicBezTo>
                  <a:cubicBezTo>
                    <a:pt x="334" y="540"/>
                    <a:pt x="332" y="539"/>
                    <a:pt x="330" y="539"/>
                  </a:cubicBezTo>
                  <a:cubicBezTo>
                    <a:pt x="326" y="538"/>
                    <a:pt x="322" y="537"/>
                    <a:pt x="318" y="536"/>
                  </a:cubicBezTo>
                  <a:cubicBezTo>
                    <a:pt x="308" y="533"/>
                    <a:pt x="299" y="530"/>
                    <a:pt x="290" y="526"/>
                  </a:cubicBezTo>
                  <a:cubicBezTo>
                    <a:pt x="282" y="524"/>
                    <a:pt x="275" y="521"/>
                    <a:pt x="268" y="518"/>
                  </a:cubicBezTo>
                  <a:cubicBezTo>
                    <a:pt x="268" y="518"/>
                    <a:pt x="268" y="518"/>
                    <a:pt x="268" y="518"/>
                  </a:cubicBezTo>
                  <a:cubicBezTo>
                    <a:pt x="267" y="517"/>
                    <a:pt x="267" y="517"/>
                    <a:pt x="267" y="517"/>
                  </a:cubicBezTo>
                  <a:cubicBezTo>
                    <a:pt x="266" y="517"/>
                    <a:pt x="264" y="516"/>
                    <a:pt x="263" y="515"/>
                  </a:cubicBezTo>
                  <a:cubicBezTo>
                    <a:pt x="258" y="513"/>
                    <a:pt x="254" y="511"/>
                    <a:pt x="249" y="508"/>
                  </a:cubicBezTo>
                  <a:cubicBezTo>
                    <a:pt x="243" y="505"/>
                    <a:pt x="237" y="501"/>
                    <a:pt x="231" y="497"/>
                  </a:cubicBezTo>
                  <a:cubicBezTo>
                    <a:pt x="227" y="495"/>
                    <a:pt x="224" y="493"/>
                    <a:pt x="221" y="491"/>
                  </a:cubicBezTo>
                  <a:cubicBezTo>
                    <a:pt x="219" y="489"/>
                    <a:pt x="210" y="483"/>
                    <a:pt x="213" y="484"/>
                  </a:cubicBezTo>
                  <a:cubicBezTo>
                    <a:pt x="201" y="475"/>
                    <a:pt x="191" y="466"/>
                    <a:pt x="181" y="456"/>
                  </a:cubicBezTo>
                  <a:cubicBezTo>
                    <a:pt x="176" y="451"/>
                    <a:pt x="172" y="446"/>
                    <a:pt x="167" y="441"/>
                  </a:cubicBezTo>
                  <a:cubicBezTo>
                    <a:pt x="166" y="440"/>
                    <a:pt x="160" y="432"/>
                    <a:pt x="163" y="435"/>
                  </a:cubicBezTo>
                  <a:cubicBezTo>
                    <a:pt x="160" y="432"/>
                    <a:pt x="158" y="429"/>
                    <a:pt x="156" y="426"/>
                  </a:cubicBezTo>
                  <a:cubicBezTo>
                    <a:pt x="139" y="402"/>
                    <a:pt x="125" y="377"/>
                    <a:pt x="114" y="351"/>
                  </a:cubicBezTo>
                  <a:cubicBezTo>
                    <a:pt x="114" y="350"/>
                    <a:pt x="113" y="350"/>
                    <a:pt x="113" y="349"/>
                  </a:cubicBezTo>
                  <a:cubicBezTo>
                    <a:pt x="113" y="349"/>
                    <a:pt x="113" y="348"/>
                    <a:pt x="112" y="347"/>
                  </a:cubicBezTo>
                  <a:cubicBezTo>
                    <a:pt x="111" y="344"/>
                    <a:pt x="110" y="341"/>
                    <a:pt x="109" y="338"/>
                  </a:cubicBezTo>
                  <a:cubicBezTo>
                    <a:pt x="106" y="331"/>
                    <a:pt x="104" y="324"/>
                    <a:pt x="102" y="317"/>
                  </a:cubicBezTo>
                  <a:cubicBezTo>
                    <a:pt x="97" y="303"/>
                    <a:pt x="94" y="290"/>
                    <a:pt x="91" y="276"/>
                  </a:cubicBezTo>
                  <a:cubicBezTo>
                    <a:pt x="84" y="249"/>
                    <a:pt x="80" y="222"/>
                    <a:pt x="78" y="195"/>
                  </a:cubicBezTo>
                  <a:cubicBezTo>
                    <a:pt x="77" y="188"/>
                    <a:pt x="76" y="182"/>
                    <a:pt x="76" y="176"/>
                  </a:cubicBezTo>
                  <a:cubicBezTo>
                    <a:pt x="76" y="173"/>
                    <a:pt x="76" y="169"/>
                    <a:pt x="75" y="166"/>
                  </a:cubicBezTo>
                  <a:cubicBezTo>
                    <a:pt x="76" y="175"/>
                    <a:pt x="75" y="163"/>
                    <a:pt x="75" y="161"/>
                  </a:cubicBezTo>
                  <a:cubicBezTo>
                    <a:pt x="75" y="149"/>
                    <a:pt x="74" y="137"/>
                    <a:pt x="74" y="124"/>
                  </a:cubicBezTo>
                  <a:cubicBezTo>
                    <a:pt x="74" y="103"/>
                    <a:pt x="75" y="81"/>
                    <a:pt x="77" y="60"/>
                  </a:cubicBezTo>
                  <a:cubicBezTo>
                    <a:pt x="78" y="44"/>
                    <a:pt x="80" y="28"/>
                    <a:pt x="82" y="12"/>
                  </a:cubicBezTo>
                  <a:cubicBezTo>
                    <a:pt x="71" y="13"/>
                    <a:pt x="59" y="12"/>
                    <a:pt x="49" y="10"/>
                  </a:cubicBezTo>
                  <a:cubicBezTo>
                    <a:pt x="36" y="8"/>
                    <a:pt x="22" y="5"/>
                    <a:pt x="9" y="0"/>
                  </a:cubicBezTo>
                  <a:moveTo>
                    <a:pt x="335" y="540"/>
                  </a:moveTo>
                  <a:cubicBezTo>
                    <a:pt x="334" y="540"/>
                    <a:pt x="330" y="539"/>
                    <a:pt x="335" y="540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" name="Freeform 98">
              <a:extLst>
                <a:ext uri="{FF2B5EF4-FFF2-40B4-BE49-F238E27FC236}">
                  <a16:creationId xmlns:a16="http://schemas.microsoft.com/office/drawing/2014/main" id="{688AF3A3-EBB9-4B46-B73F-CFE5763EF7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8371" y="3690938"/>
              <a:ext cx="241300" cy="409575"/>
            </a:xfrm>
            <a:custGeom>
              <a:avLst/>
              <a:gdLst>
                <a:gd name="T0" fmla="*/ 188 w 208"/>
                <a:gd name="T1" fmla="*/ 19 h 354"/>
                <a:gd name="T2" fmla="*/ 67 w 208"/>
                <a:gd name="T3" fmla="*/ 1 h 354"/>
                <a:gd name="T4" fmla="*/ 49 w 208"/>
                <a:gd name="T5" fmla="*/ 15 h 354"/>
                <a:gd name="T6" fmla="*/ 9 w 208"/>
                <a:gd name="T7" fmla="*/ 290 h 354"/>
                <a:gd name="T8" fmla="*/ 3 w 208"/>
                <a:gd name="T9" fmla="*/ 329 h 354"/>
                <a:gd name="T10" fmla="*/ 35 w 208"/>
                <a:gd name="T11" fmla="*/ 334 h 354"/>
                <a:gd name="T12" fmla="*/ 75 w 208"/>
                <a:gd name="T13" fmla="*/ 58 h 354"/>
                <a:gd name="T14" fmla="*/ 78 w 208"/>
                <a:gd name="T15" fmla="*/ 35 h 354"/>
                <a:gd name="T16" fmla="*/ 183 w 208"/>
                <a:gd name="T17" fmla="*/ 51 h 354"/>
                <a:gd name="T18" fmla="*/ 188 w 208"/>
                <a:gd name="T19" fmla="*/ 19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8" h="354">
                  <a:moveTo>
                    <a:pt x="188" y="19"/>
                  </a:moveTo>
                  <a:cubicBezTo>
                    <a:pt x="147" y="13"/>
                    <a:pt x="107" y="7"/>
                    <a:pt x="67" y="1"/>
                  </a:cubicBezTo>
                  <a:cubicBezTo>
                    <a:pt x="58" y="0"/>
                    <a:pt x="50" y="6"/>
                    <a:pt x="49" y="15"/>
                  </a:cubicBezTo>
                  <a:cubicBezTo>
                    <a:pt x="35" y="107"/>
                    <a:pt x="22" y="198"/>
                    <a:pt x="9" y="290"/>
                  </a:cubicBezTo>
                  <a:cubicBezTo>
                    <a:pt x="7" y="303"/>
                    <a:pt x="5" y="316"/>
                    <a:pt x="3" y="329"/>
                  </a:cubicBezTo>
                  <a:cubicBezTo>
                    <a:pt x="0" y="350"/>
                    <a:pt x="32" y="354"/>
                    <a:pt x="35" y="334"/>
                  </a:cubicBezTo>
                  <a:cubicBezTo>
                    <a:pt x="48" y="242"/>
                    <a:pt x="62" y="150"/>
                    <a:pt x="75" y="58"/>
                  </a:cubicBezTo>
                  <a:cubicBezTo>
                    <a:pt x="76" y="51"/>
                    <a:pt x="77" y="43"/>
                    <a:pt x="78" y="35"/>
                  </a:cubicBezTo>
                  <a:cubicBezTo>
                    <a:pt x="113" y="40"/>
                    <a:pt x="148" y="46"/>
                    <a:pt x="183" y="51"/>
                  </a:cubicBezTo>
                  <a:cubicBezTo>
                    <a:pt x="204" y="54"/>
                    <a:pt x="208" y="22"/>
                    <a:pt x="188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" name="Freeform 99">
              <a:extLst>
                <a:ext uri="{FF2B5EF4-FFF2-40B4-BE49-F238E27FC236}">
                  <a16:creationId xmlns:a16="http://schemas.microsoft.com/office/drawing/2014/main" id="{444B9102-2C15-4050-A3EC-88C957AD8A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39033" y="3694113"/>
              <a:ext cx="82550" cy="82550"/>
            </a:xfrm>
            <a:custGeom>
              <a:avLst/>
              <a:gdLst>
                <a:gd name="T0" fmla="*/ 41 w 71"/>
                <a:gd name="T1" fmla="*/ 70 h 71"/>
                <a:gd name="T2" fmla="*/ 0 w 71"/>
                <a:gd name="T3" fmla="*/ 64 h 71"/>
                <a:gd name="T4" fmla="*/ 9 w 71"/>
                <a:gd name="T5" fmla="*/ 0 h 71"/>
                <a:gd name="T6" fmla="*/ 50 w 71"/>
                <a:gd name="T7" fmla="*/ 6 h 71"/>
                <a:gd name="T8" fmla="*/ 70 w 71"/>
                <a:gd name="T9" fmla="*/ 32 h 71"/>
                <a:gd name="T10" fmla="*/ 67 w 71"/>
                <a:gd name="T11" fmla="*/ 50 h 71"/>
                <a:gd name="T12" fmla="*/ 41 w 71"/>
                <a:gd name="T13" fmla="*/ 7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71">
                  <a:moveTo>
                    <a:pt x="41" y="70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63" y="8"/>
                    <a:pt x="71" y="20"/>
                    <a:pt x="70" y="32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5" y="63"/>
                    <a:pt x="53" y="71"/>
                    <a:pt x="41" y="7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9" name="Freeform 100">
              <a:extLst>
                <a:ext uri="{FF2B5EF4-FFF2-40B4-BE49-F238E27FC236}">
                  <a16:creationId xmlns:a16="http://schemas.microsoft.com/office/drawing/2014/main" id="{E2DF38EA-3C9E-4A8D-90F1-195628C965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73946" y="3681413"/>
              <a:ext cx="82550" cy="92075"/>
            </a:xfrm>
            <a:custGeom>
              <a:avLst/>
              <a:gdLst>
                <a:gd name="T0" fmla="*/ 60 w 71"/>
                <a:gd name="T1" fmla="*/ 80 h 80"/>
                <a:gd name="T2" fmla="*/ 25 w 71"/>
                <a:gd name="T3" fmla="*/ 75 h 80"/>
                <a:gd name="T4" fmla="*/ 2 w 71"/>
                <a:gd name="T5" fmla="*/ 45 h 80"/>
                <a:gd name="T6" fmla="*/ 5 w 71"/>
                <a:gd name="T7" fmla="*/ 25 h 80"/>
                <a:gd name="T8" fmla="*/ 35 w 71"/>
                <a:gd name="T9" fmla="*/ 2 h 80"/>
                <a:gd name="T10" fmla="*/ 71 w 71"/>
                <a:gd name="T11" fmla="*/ 7 h 80"/>
                <a:gd name="T12" fmla="*/ 60 w 71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80">
                  <a:moveTo>
                    <a:pt x="60" y="80"/>
                  </a:moveTo>
                  <a:cubicBezTo>
                    <a:pt x="25" y="75"/>
                    <a:pt x="25" y="75"/>
                    <a:pt x="25" y="75"/>
                  </a:cubicBezTo>
                  <a:cubicBezTo>
                    <a:pt x="10" y="73"/>
                    <a:pt x="0" y="60"/>
                    <a:pt x="2" y="4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7" y="10"/>
                    <a:pt x="21" y="0"/>
                    <a:pt x="35" y="2"/>
                  </a:cubicBezTo>
                  <a:cubicBezTo>
                    <a:pt x="71" y="7"/>
                    <a:pt x="71" y="7"/>
                    <a:pt x="71" y="7"/>
                  </a:cubicBezTo>
                  <a:lnTo>
                    <a:pt x="60" y="80"/>
                  </a:ln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0" name="Freeform 101">
              <a:extLst>
                <a:ext uri="{FF2B5EF4-FFF2-40B4-BE49-F238E27FC236}">
                  <a16:creationId xmlns:a16="http://schemas.microsoft.com/office/drawing/2014/main" id="{4206289B-CE95-46DB-A5FF-54D3E652FA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73996" y="3759200"/>
              <a:ext cx="184150" cy="431800"/>
            </a:xfrm>
            <a:custGeom>
              <a:avLst/>
              <a:gdLst>
                <a:gd name="T0" fmla="*/ 25 w 160"/>
                <a:gd name="T1" fmla="*/ 3 h 374"/>
                <a:gd name="T2" fmla="*/ 146 w 160"/>
                <a:gd name="T3" fmla="*/ 21 h 374"/>
                <a:gd name="T4" fmla="*/ 159 w 160"/>
                <a:gd name="T5" fmla="*/ 39 h 374"/>
                <a:gd name="T6" fmla="*/ 119 w 160"/>
                <a:gd name="T7" fmla="*/ 314 h 374"/>
                <a:gd name="T8" fmla="*/ 114 w 160"/>
                <a:gd name="T9" fmla="*/ 353 h 374"/>
                <a:gd name="T10" fmla="*/ 82 w 160"/>
                <a:gd name="T11" fmla="*/ 349 h 374"/>
                <a:gd name="T12" fmla="*/ 122 w 160"/>
                <a:gd name="T13" fmla="*/ 73 h 374"/>
                <a:gd name="T14" fmla="*/ 125 w 160"/>
                <a:gd name="T15" fmla="*/ 50 h 374"/>
                <a:gd name="T16" fmla="*/ 20 w 160"/>
                <a:gd name="T17" fmla="*/ 35 h 374"/>
                <a:gd name="T18" fmla="*/ 25 w 160"/>
                <a:gd name="T19" fmla="*/ 3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374">
                  <a:moveTo>
                    <a:pt x="25" y="3"/>
                  </a:moveTo>
                  <a:cubicBezTo>
                    <a:pt x="65" y="9"/>
                    <a:pt x="105" y="15"/>
                    <a:pt x="146" y="21"/>
                  </a:cubicBezTo>
                  <a:cubicBezTo>
                    <a:pt x="154" y="22"/>
                    <a:pt x="160" y="30"/>
                    <a:pt x="159" y="39"/>
                  </a:cubicBezTo>
                  <a:cubicBezTo>
                    <a:pt x="146" y="131"/>
                    <a:pt x="133" y="222"/>
                    <a:pt x="119" y="314"/>
                  </a:cubicBezTo>
                  <a:cubicBezTo>
                    <a:pt x="118" y="327"/>
                    <a:pt x="116" y="340"/>
                    <a:pt x="114" y="353"/>
                  </a:cubicBezTo>
                  <a:cubicBezTo>
                    <a:pt x="111" y="374"/>
                    <a:pt x="79" y="369"/>
                    <a:pt x="82" y="349"/>
                  </a:cubicBezTo>
                  <a:cubicBezTo>
                    <a:pt x="95" y="257"/>
                    <a:pt x="108" y="165"/>
                    <a:pt x="122" y="73"/>
                  </a:cubicBezTo>
                  <a:cubicBezTo>
                    <a:pt x="123" y="65"/>
                    <a:pt x="124" y="58"/>
                    <a:pt x="125" y="50"/>
                  </a:cubicBezTo>
                  <a:cubicBezTo>
                    <a:pt x="90" y="45"/>
                    <a:pt x="55" y="40"/>
                    <a:pt x="20" y="35"/>
                  </a:cubicBezTo>
                  <a:cubicBezTo>
                    <a:pt x="0" y="32"/>
                    <a:pt x="4" y="0"/>
                    <a:pt x="25" y="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1" name="Freeform 102">
              <a:extLst>
                <a:ext uri="{FF2B5EF4-FFF2-40B4-BE49-F238E27FC236}">
                  <a16:creationId xmlns:a16="http://schemas.microsoft.com/office/drawing/2014/main" id="{3F339B9A-5C38-403A-9740-F619A657D2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12083" y="3732213"/>
              <a:ext cx="82550" cy="82550"/>
            </a:xfrm>
            <a:custGeom>
              <a:avLst/>
              <a:gdLst>
                <a:gd name="T0" fmla="*/ 21 w 71"/>
                <a:gd name="T1" fmla="*/ 66 h 72"/>
                <a:gd name="T2" fmla="*/ 62 w 71"/>
                <a:gd name="T3" fmla="*/ 72 h 72"/>
                <a:gd name="T4" fmla="*/ 71 w 71"/>
                <a:gd name="T5" fmla="*/ 8 h 72"/>
                <a:gd name="T6" fmla="*/ 30 w 71"/>
                <a:gd name="T7" fmla="*/ 2 h 72"/>
                <a:gd name="T8" fmla="*/ 4 w 71"/>
                <a:gd name="T9" fmla="*/ 22 h 72"/>
                <a:gd name="T10" fmla="*/ 1 w 71"/>
                <a:gd name="T11" fmla="*/ 39 h 72"/>
                <a:gd name="T12" fmla="*/ 21 w 71"/>
                <a:gd name="T13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72">
                  <a:moveTo>
                    <a:pt x="21" y="66"/>
                  </a:moveTo>
                  <a:cubicBezTo>
                    <a:pt x="62" y="72"/>
                    <a:pt x="62" y="72"/>
                    <a:pt x="62" y="72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18" y="0"/>
                    <a:pt x="6" y="9"/>
                    <a:pt x="4" y="22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52"/>
                    <a:pt x="9" y="64"/>
                    <a:pt x="21" y="66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2" name="Freeform 103">
              <a:extLst>
                <a:ext uri="{FF2B5EF4-FFF2-40B4-BE49-F238E27FC236}">
                  <a16:creationId xmlns:a16="http://schemas.microsoft.com/office/drawing/2014/main" id="{C40A70CE-4110-4E23-B57B-2BBFA24E5A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77171" y="3733800"/>
              <a:ext cx="82550" cy="93663"/>
            </a:xfrm>
            <a:custGeom>
              <a:avLst/>
              <a:gdLst>
                <a:gd name="T0" fmla="*/ 0 w 71"/>
                <a:gd name="T1" fmla="*/ 74 h 81"/>
                <a:gd name="T2" fmla="*/ 36 w 71"/>
                <a:gd name="T3" fmla="*/ 79 h 81"/>
                <a:gd name="T4" fmla="*/ 66 w 71"/>
                <a:gd name="T5" fmla="*/ 56 h 81"/>
                <a:gd name="T6" fmla="*/ 69 w 71"/>
                <a:gd name="T7" fmla="*/ 36 h 81"/>
                <a:gd name="T8" fmla="*/ 46 w 71"/>
                <a:gd name="T9" fmla="*/ 5 h 81"/>
                <a:gd name="T10" fmla="*/ 11 w 71"/>
                <a:gd name="T11" fmla="*/ 0 h 81"/>
                <a:gd name="T12" fmla="*/ 0 w 71"/>
                <a:gd name="T13" fmla="*/ 7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81">
                  <a:moveTo>
                    <a:pt x="0" y="74"/>
                  </a:moveTo>
                  <a:cubicBezTo>
                    <a:pt x="36" y="79"/>
                    <a:pt x="36" y="79"/>
                    <a:pt x="36" y="79"/>
                  </a:cubicBezTo>
                  <a:cubicBezTo>
                    <a:pt x="50" y="81"/>
                    <a:pt x="64" y="71"/>
                    <a:pt x="66" y="56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71" y="21"/>
                    <a:pt x="61" y="8"/>
                    <a:pt x="46" y="5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0" y="74"/>
                  </a:lnTo>
                  <a:close/>
                </a:path>
              </a:pathLst>
            </a:custGeom>
            <a:solidFill>
              <a:srgbClr val="E5D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" name="Freeform 104">
              <a:extLst>
                <a:ext uri="{FF2B5EF4-FFF2-40B4-BE49-F238E27FC236}">
                  <a16:creationId xmlns:a16="http://schemas.microsoft.com/office/drawing/2014/main" id="{F831E462-35CC-4878-908B-77263D0196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0946" y="4745038"/>
              <a:ext cx="3175" cy="46038"/>
            </a:xfrm>
            <a:custGeom>
              <a:avLst/>
              <a:gdLst>
                <a:gd name="T0" fmla="*/ 2 w 2"/>
                <a:gd name="T1" fmla="*/ 0 h 40"/>
                <a:gd name="T2" fmla="*/ 2 w 2"/>
                <a:gd name="T3" fmla="*/ 4 h 40"/>
                <a:gd name="T4" fmla="*/ 0 w 2"/>
                <a:gd name="T5" fmla="*/ 40 h 40"/>
                <a:gd name="T6" fmla="*/ 0 w 2"/>
                <a:gd name="T7" fmla="*/ 40 h 40"/>
                <a:gd name="T8" fmla="*/ 2 w 2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0">
                  <a:moveTo>
                    <a:pt x="2" y="0"/>
                  </a:moveTo>
                  <a:cubicBezTo>
                    <a:pt x="2" y="1"/>
                    <a:pt x="2" y="2"/>
                    <a:pt x="2" y="4"/>
                  </a:cubicBezTo>
                  <a:cubicBezTo>
                    <a:pt x="1" y="16"/>
                    <a:pt x="0" y="28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24"/>
                    <a:pt x="1" y="9"/>
                    <a:pt x="2" y="0"/>
                  </a:cubicBezTo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4" name="Freeform 105">
              <a:extLst>
                <a:ext uri="{FF2B5EF4-FFF2-40B4-BE49-F238E27FC236}">
                  <a16:creationId xmlns:a16="http://schemas.microsoft.com/office/drawing/2014/main" id="{9676A424-4BC7-47CB-924D-2AC0A6AF52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18396" y="4711700"/>
              <a:ext cx="85725" cy="79375"/>
            </a:xfrm>
            <a:custGeom>
              <a:avLst/>
              <a:gdLst>
                <a:gd name="T0" fmla="*/ 4 w 74"/>
                <a:gd name="T1" fmla="*/ 0 h 69"/>
                <a:gd name="T2" fmla="*/ 0 w 74"/>
                <a:gd name="T3" fmla="*/ 28 h 69"/>
                <a:gd name="T4" fmla="*/ 71 w 74"/>
                <a:gd name="T5" fmla="*/ 69 h 69"/>
                <a:gd name="T6" fmla="*/ 73 w 74"/>
                <a:gd name="T7" fmla="*/ 33 h 69"/>
                <a:gd name="T8" fmla="*/ 73 w 74"/>
                <a:gd name="T9" fmla="*/ 29 h 69"/>
                <a:gd name="T10" fmla="*/ 74 w 74"/>
                <a:gd name="T11" fmla="*/ 18 h 69"/>
                <a:gd name="T12" fmla="*/ 4 w 74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69">
                  <a:moveTo>
                    <a:pt x="4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57"/>
                    <a:pt x="72" y="45"/>
                    <a:pt x="73" y="33"/>
                  </a:cubicBezTo>
                  <a:cubicBezTo>
                    <a:pt x="73" y="31"/>
                    <a:pt x="73" y="30"/>
                    <a:pt x="73" y="29"/>
                  </a:cubicBezTo>
                  <a:cubicBezTo>
                    <a:pt x="74" y="22"/>
                    <a:pt x="74" y="18"/>
                    <a:pt x="74" y="18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172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5" name="Freeform 106">
              <a:extLst>
                <a:ext uri="{FF2B5EF4-FFF2-40B4-BE49-F238E27FC236}">
                  <a16:creationId xmlns:a16="http://schemas.microsoft.com/office/drawing/2014/main" id="{A19765E0-3A84-4E5C-BB2A-22DD0EAE20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8208" y="4044950"/>
              <a:ext cx="733425" cy="730250"/>
            </a:xfrm>
            <a:custGeom>
              <a:avLst/>
              <a:gdLst>
                <a:gd name="T0" fmla="*/ 1 w 633"/>
                <a:gd name="T1" fmla="*/ 199 h 631"/>
                <a:gd name="T2" fmla="*/ 377 w 633"/>
                <a:gd name="T3" fmla="*/ 580 h 631"/>
                <a:gd name="T4" fmla="*/ 613 w 633"/>
                <a:gd name="T5" fmla="*/ 190 h 631"/>
                <a:gd name="T6" fmla="*/ 628 w 633"/>
                <a:gd name="T7" fmla="*/ 112 h 631"/>
                <a:gd name="T8" fmla="*/ 568 w 633"/>
                <a:gd name="T9" fmla="*/ 154 h 631"/>
                <a:gd name="T10" fmla="*/ 551 w 633"/>
                <a:gd name="T11" fmla="*/ 223 h 631"/>
                <a:gd name="T12" fmla="*/ 548 w 633"/>
                <a:gd name="T13" fmla="*/ 234 h 631"/>
                <a:gd name="T14" fmla="*/ 476 w 633"/>
                <a:gd name="T15" fmla="*/ 408 h 631"/>
                <a:gd name="T16" fmla="*/ 469 w 633"/>
                <a:gd name="T17" fmla="*/ 419 h 631"/>
                <a:gd name="T18" fmla="*/ 435 w 633"/>
                <a:gd name="T19" fmla="*/ 467 h 631"/>
                <a:gd name="T20" fmla="*/ 418 w 633"/>
                <a:gd name="T21" fmla="*/ 487 h 631"/>
                <a:gd name="T22" fmla="*/ 413 w 633"/>
                <a:gd name="T23" fmla="*/ 491 h 631"/>
                <a:gd name="T24" fmla="*/ 371 w 633"/>
                <a:gd name="T25" fmla="*/ 524 h 631"/>
                <a:gd name="T26" fmla="*/ 359 w 633"/>
                <a:gd name="T27" fmla="*/ 531 h 631"/>
                <a:gd name="T28" fmla="*/ 322 w 633"/>
                <a:gd name="T29" fmla="*/ 546 h 631"/>
                <a:gd name="T30" fmla="*/ 314 w 633"/>
                <a:gd name="T31" fmla="*/ 548 h 631"/>
                <a:gd name="T32" fmla="*/ 276 w 633"/>
                <a:gd name="T33" fmla="*/ 552 h 631"/>
                <a:gd name="T34" fmla="*/ 272 w 633"/>
                <a:gd name="T35" fmla="*/ 551 h 631"/>
                <a:gd name="T36" fmla="*/ 218 w 633"/>
                <a:gd name="T37" fmla="*/ 543 h 631"/>
                <a:gd name="T38" fmla="*/ 214 w 633"/>
                <a:gd name="T39" fmla="*/ 542 h 631"/>
                <a:gd name="T40" fmla="*/ 186 w 633"/>
                <a:gd name="T41" fmla="*/ 531 h 631"/>
                <a:gd name="T42" fmla="*/ 171 w 633"/>
                <a:gd name="T43" fmla="*/ 523 h 631"/>
                <a:gd name="T44" fmla="*/ 159 w 633"/>
                <a:gd name="T45" fmla="*/ 515 h 631"/>
                <a:gd name="T46" fmla="*/ 139 w 633"/>
                <a:gd name="T47" fmla="*/ 499 h 631"/>
                <a:gd name="T48" fmla="*/ 113 w 633"/>
                <a:gd name="T49" fmla="*/ 467 h 631"/>
                <a:gd name="T50" fmla="*/ 102 w 633"/>
                <a:gd name="T51" fmla="*/ 450 h 631"/>
                <a:gd name="T52" fmla="*/ 70 w 633"/>
                <a:gd name="T53" fmla="*/ 371 h 631"/>
                <a:gd name="T54" fmla="*/ 69 w 633"/>
                <a:gd name="T55" fmla="*/ 367 h 631"/>
                <a:gd name="T56" fmla="*/ 63 w 633"/>
                <a:gd name="T57" fmla="*/ 340 h 631"/>
                <a:gd name="T58" fmla="*/ 52 w 633"/>
                <a:gd name="T59" fmla="*/ 228 h 631"/>
                <a:gd name="T60" fmla="*/ 52 w 633"/>
                <a:gd name="T61" fmla="*/ 202 h 631"/>
                <a:gd name="T62" fmla="*/ 53 w 633"/>
                <a:gd name="T63" fmla="*/ 163 h 631"/>
                <a:gd name="T64" fmla="*/ 68 w 633"/>
                <a:gd name="T65" fmla="*/ 35 h 631"/>
                <a:gd name="T66" fmla="*/ 47 w 633"/>
                <a:gd name="T67" fmla="*/ 2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33" h="631">
                  <a:moveTo>
                    <a:pt x="18" y="24"/>
                  </a:moveTo>
                  <a:cubicBezTo>
                    <a:pt x="6" y="81"/>
                    <a:pt x="1" y="141"/>
                    <a:pt x="1" y="199"/>
                  </a:cubicBezTo>
                  <a:cubicBezTo>
                    <a:pt x="0" y="303"/>
                    <a:pt x="12" y="418"/>
                    <a:pt x="75" y="503"/>
                  </a:cubicBezTo>
                  <a:cubicBezTo>
                    <a:pt x="143" y="594"/>
                    <a:pt x="274" y="631"/>
                    <a:pt x="377" y="580"/>
                  </a:cubicBezTo>
                  <a:cubicBezTo>
                    <a:pt x="475" y="531"/>
                    <a:pt x="532" y="426"/>
                    <a:pt x="570" y="328"/>
                  </a:cubicBezTo>
                  <a:cubicBezTo>
                    <a:pt x="587" y="283"/>
                    <a:pt x="601" y="237"/>
                    <a:pt x="613" y="190"/>
                  </a:cubicBezTo>
                  <a:cubicBezTo>
                    <a:pt x="618" y="165"/>
                    <a:pt x="624" y="140"/>
                    <a:pt x="628" y="115"/>
                  </a:cubicBezTo>
                  <a:cubicBezTo>
                    <a:pt x="628" y="114"/>
                    <a:pt x="628" y="113"/>
                    <a:pt x="628" y="112"/>
                  </a:cubicBezTo>
                  <a:cubicBezTo>
                    <a:pt x="633" y="79"/>
                    <a:pt x="582" y="72"/>
                    <a:pt x="577" y="104"/>
                  </a:cubicBezTo>
                  <a:cubicBezTo>
                    <a:pt x="575" y="121"/>
                    <a:pt x="572" y="138"/>
                    <a:pt x="568" y="154"/>
                  </a:cubicBezTo>
                  <a:cubicBezTo>
                    <a:pt x="564" y="172"/>
                    <a:pt x="560" y="190"/>
                    <a:pt x="555" y="208"/>
                  </a:cubicBezTo>
                  <a:cubicBezTo>
                    <a:pt x="554" y="213"/>
                    <a:pt x="552" y="218"/>
                    <a:pt x="551" y="223"/>
                  </a:cubicBezTo>
                  <a:cubicBezTo>
                    <a:pt x="549" y="230"/>
                    <a:pt x="552" y="219"/>
                    <a:pt x="550" y="225"/>
                  </a:cubicBezTo>
                  <a:cubicBezTo>
                    <a:pt x="550" y="228"/>
                    <a:pt x="549" y="231"/>
                    <a:pt x="548" y="234"/>
                  </a:cubicBezTo>
                  <a:cubicBezTo>
                    <a:pt x="545" y="245"/>
                    <a:pt x="541" y="256"/>
                    <a:pt x="537" y="267"/>
                  </a:cubicBezTo>
                  <a:cubicBezTo>
                    <a:pt x="521" y="316"/>
                    <a:pt x="502" y="363"/>
                    <a:pt x="476" y="408"/>
                  </a:cubicBezTo>
                  <a:cubicBezTo>
                    <a:pt x="475" y="410"/>
                    <a:pt x="473" y="413"/>
                    <a:pt x="471" y="416"/>
                  </a:cubicBezTo>
                  <a:cubicBezTo>
                    <a:pt x="474" y="411"/>
                    <a:pt x="470" y="418"/>
                    <a:pt x="469" y="419"/>
                  </a:cubicBezTo>
                  <a:cubicBezTo>
                    <a:pt x="465" y="425"/>
                    <a:pt x="462" y="431"/>
                    <a:pt x="458" y="436"/>
                  </a:cubicBezTo>
                  <a:cubicBezTo>
                    <a:pt x="451" y="447"/>
                    <a:pt x="443" y="457"/>
                    <a:pt x="435" y="467"/>
                  </a:cubicBezTo>
                  <a:cubicBezTo>
                    <a:pt x="431" y="472"/>
                    <a:pt x="427" y="476"/>
                    <a:pt x="423" y="480"/>
                  </a:cubicBezTo>
                  <a:cubicBezTo>
                    <a:pt x="421" y="483"/>
                    <a:pt x="420" y="485"/>
                    <a:pt x="418" y="487"/>
                  </a:cubicBezTo>
                  <a:cubicBezTo>
                    <a:pt x="416" y="488"/>
                    <a:pt x="415" y="489"/>
                    <a:pt x="414" y="491"/>
                  </a:cubicBezTo>
                  <a:cubicBezTo>
                    <a:pt x="413" y="492"/>
                    <a:pt x="408" y="496"/>
                    <a:pt x="413" y="491"/>
                  </a:cubicBezTo>
                  <a:cubicBezTo>
                    <a:pt x="404" y="500"/>
                    <a:pt x="395" y="507"/>
                    <a:pt x="385" y="515"/>
                  </a:cubicBezTo>
                  <a:cubicBezTo>
                    <a:pt x="381" y="518"/>
                    <a:pt x="376" y="521"/>
                    <a:pt x="371" y="524"/>
                  </a:cubicBezTo>
                  <a:cubicBezTo>
                    <a:pt x="369" y="526"/>
                    <a:pt x="366" y="527"/>
                    <a:pt x="364" y="528"/>
                  </a:cubicBezTo>
                  <a:cubicBezTo>
                    <a:pt x="370" y="525"/>
                    <a:pt x="361" y="530"/>
                    <a:pt x="359" y="531"/>
                  </a:cubicBezTo>
                  <a:cubicBezTo>
                    <a:pt x="348" y="537"/>
                    <a:pt x="337" y="541"/>
                    <a:pt x="326" y="545"/>
                  </a:cubicBezTo>
                  <a:cubicBezTo>
                    <a:pt x="324" y="545"/>
                    <a:pt x="323" y="545"/>
                    <a:pt x="322" y="546"/>
                  </a:cubicBezTo>
                  <a:cubicBezTo>
                    <a:pt x="316" y="548"/>
                    <a:pt x="328" y="544"/>
                    <a:pt x="322" y="546"/>
                  </a:cubicBezTo>
                  <a:cubicBezTo>
                    <a:pt x="319" y="546"/>
                    <a:pt x="316" y="547"/>
                    <a:pt x="314" y="548"/>
                  </a:cubicBezTo>
                  <a:cubicBezTo>
                    <a:pt x="307" y="549"/>
                    <a:pt x="301" y="550"/>
                    <a:pt x="294" y="551"/>
                  </a:cubicBezTo>
                  <a:cubicBezTo>
                    <a:pt x="288" y="551"/>
                    <a:pt x="282" y="551"/>
                    <a:pt x="276" y="552"/>
                  </a:cubicBezTo>
                  <a:cubicBezTo>
                    <a:pt x="274" y="552"/>
                    <a:pt x="270" y="551"/>
                    <a:pt x="276" y="552"/>
                  </a:cubicBezTo>
                  <a:cubicBezTo>
                    <a:pt x="275" y="552"/>
                    <a:pt x="273" y="552"/>
                    <a:pt x="272" y="551"/>
                  </a:cubicBezTo>
                  <a:cubicBezTo>
                    <a:pt x="268" y="551"/>
                    <a:pt x="264" y="551"/>
                    <a:pt x="260" y="551"/>
                  </a:cubicBezTo>
                  <a:cubicBezTo>
                    <a:pt x="246" y="549"/>
                    <a:pt x="232" y="547"/>
                    <a:pt x="218" y="543"/>
                  </a:cubicBezTo>
                  <a:cubicBezTo>
                    <a:pt x="217" y="543"/>
                    <a:pt x="214" y="542"/>
                    <a:pt x="219" y="544"/>
                  </a:cubicBezTo>
                  <a:cubicBezTo>
                    <a:pt x="218" y="543"/>
                    <a:pt x="216" y="543"/>
                    <a:pt x="214" y="542"/>
                  </a:cubicBezTo>
                  <a:cubicBezTo>
                    <a:pt x="212" y="541"/>
                    <a:pt x="209" y="540"/>
                    <a:pt x="206" y="539"/>
                  </a:cubicBezTo>
                  <a:cubicBezTo>
                    <a:pt x="199" y="537"/>
                    <a:pt x="193" y="534"/>
                    <a:pt x="186" y="531"/>
                  </a:cubicBezTo>
                  <a:cubicBezTo>
                    <a:pt x="181" y="529"/>
                    <a:pt x="176" y="526"/>
                    <a:pt x="171" y="523"/>
                  </a:cubicBezTo>
                  <a:cubicBezTo>
                    <a:pt x="166" y="520"/>
                    <a:pt x="176" y="526"/>
                    <a:pt x="171" y="523"/>
                  </a:cubicBezTo>
                  <a:cubicBezTo>
                    <a:pt x="170" y="522"/>
                    <a:pt x="169" y="522"/>
                    <a:pt x="168" y="521"/>
                  </a:cubicBezTo>
                  <a:cubicBezTo>
                    <a:pt x="165" y="519"/>
                    <a:pt x="162" y="517"/>
                    <a:pt x="159" y="515"/>
                  </a:cubicBezTo>
                  <a:cubicBezTo>
                    <a:pt x="154" y="511"/>
                    <a:pt x="150" y="508"/>
                    <a:pt x="146" y="505"/>
                  </a:cubicBezTo>
                  <a:cubicBezTo>
                    <a:pt x="144" y="503"/>
                    <a:pt x="141" y="501"/>
                    <a:pt x="139" y="499"/>
                  </a:cubicBezTo>
                  <a:cubicBezTo>
                    <a:pt x="138" y="497"/>
                    <a:pt x="130" y="489"/>
                    <a:pt x="135" y="494"/>
                  </a:cubicBezTo>
                  <a:cubicBezTo>
                    <a:pt x="127" y="486"/>
                    <a:pt x="119" y="477"/>
                    <a:pt x="113" y="467"/>
                  </a:cubicBezTo>
                  <a:cubicBezTo>
                    <a:pt x="109" y="462"/>
                    <a:pt x="107" y="458"/>
                    <a:pt x="104" y="453"/>
                  </a:cubicBezTo>
                  <a:cubicBezTo>
                    <a:pt x="103" y="452"/>
                    <a:pt x="98" y="443"/>
                    <a:pt x="102" y="450"/>
                  </a:cubicBezTo>
                  <a:cubicBezTo>
                    <a:pt x="100" y="447"/>
                    <a:pt x="98" y="443"/>
                    <a:pt x="96" y="440"/>
                  </a:cubicBezTo>
                  <a:cubicBezTo>
                    <a:pt x="85" y="418"/>
                    <a:pt x="77" y="395"/>
                    <a:pt x="70" y="371"/>
                  </a:cubicBezTo>
                  <a:cubicBezTo>
                    <a:pt x="70" y="370"/>
                    <a:pt x="70" y="369"/>
                    <a:pt x="69" y="367"/>
                  </a:cubicBezTo>
                  <a:cubicBezTo>
                    <a:pt x="71" y="373"/>
                    <a:pt x="70" y="369"/>
                    <a:pt x="69" y="367"/>
                  </a:cubicBezTo>
                  <a:cubicBezTo>
                    <a:pt x="69" y="365"/>
                    <a:pt x="68" y="362"/>
                    <a:pt x="67" y="359"/>
                  </a:cubicBezTo>
                  <a:cubicBezTo>
                    <a:pt x="66" y="353"/>
                    <a:pt x="64" y="346"/>
                    <a:pt x="63" y="340"/>
                  </a:cubicBezTo>
                  <a:cubicBezTo>
                    <a:pt x="61" y="327"/>
                    <a:pt x="59" y="315"/>
                    <a:pt x="57" y="302"/>
                  </a:cubicBezTo>
                  <a:cubicBezTo>
                    <a:pt x="54" y="277"/>
                    <a:pt x="53" y="253"/>
                    <a:pt x="52" y="228"/>
                  </a:cubicBezTo>
                  <a:cubicBezTo>
                    <a:pt x="52" y="222"/>
                    <a:pt x="52" y="216"/>
                    <a:pt x="52" y="210"/>
                  </a:cubicBezTo>
                  <a:cubicBezTo>
                    <a:pt x="52" y="207"/>
                    <a:pt x="52" y="204"/>
                    <a:pt x="52" y="202"/>
                  </a:cubicBezTo>
                  <a:cubicBezTo>
                    <a:pt x="52" y="209"/>
                    <a:pt x="52" y="199"/>
                    <a:pt x="52" y="197"/>
                  </a:cubicBezTo>
                  <a:cubicBezTo>
                    <a:pt x="52" y="186"/>
                    <a:pt x="53" y="174"/>
                    <a:pt x="53" y="163"/>
                  </a:cubicBezTo>
                  <a:cubicBezTo>
                    <a:pt x="54" y="143"/>
                    <a:pt x="56" y="123"/>
                    <a:pt x="58" y="104"/>
                  </a:cubicBezTo>
                  <a:cubicBezTo>
                    <a:pt x="61" y="80"/>
                    <a:pt x="64" y="58"/>
                    <a:pt x="68" y="35"/>
                  </a:cubicBezTo>
                  <a:cubicBezTo>
                    <a:pt x="68" y="34"/>
                    <a:pt x="68" y="33"/>
                    <a:pt x="69" y="31"/>
                  </a:cubicBezTo>
                  <a:cubicBezTo>
                    <a:pt x="71" y="18"/>
                    <a:pt x="60" y="4"/>
                    <a:pt x="47" y="2"/>
                  </a:cubicBezTo>
                  <a:cubicBezTo>
                    <a:pt x="32" y="0"/>
                    <a:pt x="21" y="10"/>
                    <a:pt x="18" y="2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6" name="Freeform 107">
              <a:extLst>
                <a:ext uri="{FF2B5EF4-FFF2-40B4-BE49-F238E27FC236}">
                  <a16:creationId xmlns:a16="http://schemas.microsoft.com/office/drawing/2014/main" id="{A23C8B07-723F-46A6-99D8-F59EC2E0C7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93058" y="4262438"/>
              <a:ext cx="415925" cy="342900"/>
            </a:xfrm>
            <a:custGeom>
              <a:avLst/>
              <a:gdLst>
                <a:gd name="T0" fmla="*/ 360 w 360"/>
                <a:gd name="T1" fmla="*/ 197 h 296"/>
                <a:gd name="T2" fmla="*/ 239 w 360"/>
                <a:gd name="T3" fmla="*/ 118 h 296"/>
                <a:gd name="T4" fmla="*/ 30 w 360"/>
                <a:gd name="T5" fmla="*/ 0 h 296"/>
                <a:gd name="T6" fmla="*/ 0 w 360"/>
                <a:gd name="T7" fmla="*/ 48 h 296"/>
                <a:gd name="T8" fmla="*/ 198 w 360"/>
                <a:gd name="T9" fmla="*/ 273 h 296"/>
                <a:gd name="T10" fmla="*/ 318 w 360"/>
                <a:gd name="T11" fmla="*/ 284 h 296"/>
                <a:gd name="T12" fmla="*/ 360 w 360"/>
                <a:gd name="T13" fmla="*/ 197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0" h="296">
                  <a:moveTo>
                    <a:pt x="360" y="197"/>
                  </a:moveTo>
                  <a:cubicBezTo>
                    <a:pt x="239" y="118"/>
                    <a:pt x="239" y="118"/>
                    <a:pt x="239" y="118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98" y="273"/>
                    <a:pt x="198" y="273"/>
                    <a:pt x="198" y="273"/>
                  </a:cubicBezTo>
                  <a:cubicBezTo>
                    <a:pt x="198" y="273"/>
                    <a:pt x="314" y="296"/>
                    <a:pt x="318" y="284"/>
                  </a:cubicBezTo>
                  <a:cubicBezTo>
                    <a:pt x="322" y="272"/>
                    <a:pt x="360" y="197"/>
                    <a:pt x="360" y="197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7" name="Freeform 108">
              <a:extLst>
                <a:ext uri="{FF2B5EF4-FFF2-40B4-BE49-F238E27FC236}">
                  <a16:creationId xmlns:a16="http://schemas.microsoft.com/office/drawing/2014/main" id="{888795F8-64E8-4A56-8398-44404B9E34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94633" y="4181475"/>
              <a:ext cx="158750" cy="158750"/>
            </a:xfrm>
            <a:custGeom>
              <a:avLst/>
              <a:gdLst>
                <a:gd name="T0" fmla="*/ 90 w 100"/>
                <a:gd name="T1" fmla="*/ 59 h 100"/>
                <a:gd name="T2" fmla="*/ 58 w 100"/>
                <a:gd name="T3" fmla="*/ 0 h 100"/>
                <a:gd name="T4" fmla="*/ 0 w 100"/>
                <a:gd name="T5" fmla="*/ 8 h 100"/>
                <a:gd name="T6" fmla="*/ 0 w 100"/>
                <a:gd name="T7" fmla="*/ 92 h 100"/>
                <a:gd name="T8" fmla="*/ 11 w 100"/>
                <a:gd name="T9" fmla="*/ 99 h 100"/>
                <a:gd name="T10" fmla="*/ 17 w 100"/>
                <a:gd name="T11" fmla="*/ 83 h 100"/>
                <a:gd name="T12" fmla="*/ 56 w 100"/>
                <a:gd name="T13" fmla="*/ 100 h 100"/>
                <a:gd name="T14" fmla="*/ 100 w 100"/>
                <a:gd name="T15" fmla="*/ 78 h 100"/>
                <a:gd name="T16" fmla="*/ 90 w 100"/>
                <a:gd name="T17" fmla="*/ 5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" h="100">
                  <a:moveTo>
                    <a:pt x="90" y="59"/>
                  </a:moveTo>
                  <a:lnTo>
                    <a:pt x="58" y="0"/>
                  </a:lnTo>
                  <a:lnTo>
                    <a:pt x="0" y="8"/>
                  </a:lnTo>
                  <a:lnTo>
                    <a:pt x="0" y="92"/>
                  </a:lnTo>
                  <a:lnTo>
                    <a:pt x="11" y="99"/>
                  </a:lnTo>
                  <a:lnTo>
                    <a:pt x="17" y="83"/>
                  </a:lnTo>
                  <a:lnTo>
                    <a:pt x="56" y="100"/>
                  </a:lnTo>
                  <a:lnTo>
                    <a:pt x="100" y="78"/>
                  </a:lnTo>
                  <a:lnTo>
                    <a:pt x="90" y="59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8" name="Freeform 109">
              <a:extLst>
                <a:ext uri="{FF2B5EF4-FFF2-40B4-BE49-F238E27FC236}">
                  <a16:creationId xmlns:a16="http://schemas.microsoft.com/office/drawing/2014/main" id="{B1E528DE-14A9-4295-8734-CD12F65F4E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83421" y="4024313"/>
              <a:ext cx="328613" cy="490538"/>
            </a:xfrm>
            <a:custGeom>
              <a:avLst/>
              <a:gdLst>
                <a:gd name="T0" fmla="*/ 0 w 284"/>
                <a:gd name="T1" fmla="*/ 320 h 424"/>
                <a:gd name="T2" fmla="*/ 20 w 284"/>
                <a:gd name="T3" fmla="*/ 232 h 424"/>
                <a:gd name="T4" fmla="*/ 192 w 284"/>
                <a:gd name="T5" fmla="*/ 20 h 424"/>
                <a:gd name="T6" fmla="*/ 268 w 284"/>
                <a:gd name="T7" fmla="*/ 0 h 424"/>
                <a:gd name="T8" fmla="*/ 284 w 284"/>
                <a:gd name="T9" fmla="*/ 60 h 424"/>
                <a:gd name="T10" fmla="*/ 232 w 284"/>
                <a:gd name="T11" fmla="*/ 150 h 424"/>
                <a:gd name="T12" fmla="*/ 224 w 284"/>
                <a:gd name="T13" fmla="*/ 136 h 424"/>
                <a:gd name="T14" fmla="*/ 182 w 284"/>
                <a:gd name="T15" fmla="*/ 134 h 424"/>
                <a:gd name="T16" fmla="*/ 176 w 284"/>
                <a:gd name="T17" fmla="*/ 160 h 424"/>
                <a:gd name="T18" fmla="*/ 142 w 284"/>
                <a:gd name="T19" fmla="*/ 162 h 424"/>
                <a:gd name="T20" fmla="*/ 120 w 284"/>
                <a:gd name="T21" fmla="*/ 372 h 424"/>
                <a:gd name="T22" fmla="*/ 36 w 284"/>
                <a:gd name="T23" fmla="*/ 424 h 424"/>
                <a:gd name="T24" fmla="*/ 0 w 284"/>
                <a:gd name="T25" fmla="*/ 320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4" h="424">
                  <a:moveTo>
                    <a:pt x="0" y="320"/>
                  </a:moveTo>
                  <a:cubicBezTo>
                    <a:pt x="0" y="316"/>
                    <a:pt x="20" y="232"/>
                    <a:pt x="20" y="232"/>
                  </a:cubicBezTo>
                  <a:cubicBezTo>
                    <a:pt x="192" y="20"/>
                    <a:pt x="192" y="20"/>
                    <a:pt x="192" y="20"/>
                  </a:cubicBezTo>
                  <a:cubicBezTo>
                    <a:pt x="192" y="20"/>
                    <a:pt x="260" y="0"/>
                    <a:pt x="268" y="0"/>
                  </a:cubicBezTo>
                  <a:cubicBezTo>
                    <a:pt x="276" y="0"/>
                    <a:pt x="284" y="60"/>
                    <a:pt x="284" y="60"/>
                  </a:cubicBezTo>
                  <a:cubicBezTo>
                    <a:pt x="232" y="150"/>
                    <a:pt x="232" y="150"/>
                    <a:pt x="232" y="150"/>
                  </a:cubicBezTo>
                  <a:cubicBezTo>
                    <a:pt x="224" y="136"/>
                    <a:pt x="224" y="136"/>
                    <a:pt x="224" y="136"/>
                  </a:cubicBezTo>
                  <a:cubicBezTo>
                    <a:pt x="182" y="134"/>
                    <a:pt x="182" y="134"/>
                    <a:pt x="182" y="134"/>
                  </a:cubicBezTo>
                  <a:cubicBezTo>
                    <a:pt x="176" y="160"/>
                    <a:pt x="176" y="160"/>
                    <a:pt x="176" y="160"/>
                  </a:cubicBezTo>
                  <a:cubicBezTo>
                    <a:pt x="142" y="162"/>
                    <a:pt x="142" y="162"/>
                    <a:pt x="142" y="162"/>
                  </a:cubicBezTo>
                  <a:cubicBezTo>
                    <a:pt x="120" y="372"/>
                    <a:pt x="120" y="372"/>
                    <a:pt x="120" y="372"/>
                  </a:cubicBezTo>
                  <a:cubicBezTo>
                    <a:pt x="36" y="424"/>
                    <a:pt x="36" y="424"/>
                    <a:pt x="36" y="424"/>
                  </a:cubicBezTo>
                  <a:lnTo>
                    <a:pt x="0" y="320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4"/>
            <a:ext cx="10845798" cy="3074708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5542294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5246023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9/9/1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1.xml"/><Relationship Id="rId1" Type="http://schemas.openxmlformats.org/officeDocument/2006/relationships/themeOverride" Target="../theme/themeOverride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16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3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.png"/><Relationship Id="rId5" Type="http://schemas.microsoft.com/office/2007/relationships/hdphoto" Target="../media/hdphoto2.wdp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F338B7E4-1553-41B2-86A9-85BE9B61DF76}"/>
              </a:ext>
            </a:extLst>
          </p:cNvPr>
          <p:cNvSpPr/>
          <p:nvPr/>
        </p:nvSpPr>
        <p:spPr>
          <a:xfrm>
            <a:off x="9442352" y="3716399"/>
            <a:ext cx="2215661" cy="558799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8950959" y="3792174"/>
            <a:ext cx="2406109" cy="558799"/>
          </a:xfrm>
        </p:spPr>
        <p:txBody>
          <a:bodyPr>
            <a:normAutofit/>
          </a:bodyPr>
          <a:lstStyle/>
          <a:p>
            <a:r>
              <a:rPr lang="zh-CN" altLang="en-US" sz="2800" dirty="0">
                <a:solidFill>
                  <a:schemeClr val="bg1"/>
                </a:solidFill>
              </a:rPr>
              <a:t>外科护理</a:t>
            </a:r>
            <a:endParaRPr lang="en-US" altLang="zh-CN" sz="2800" dirty="0">
              <a:solidFill>
                <a:schemeClr val="bg1"/>
              </a:solidFill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74688" y="1317185"/>
            <a:ext cx="10845800" cy="1779587"/>
          </a:xfrm>
        </p:spPr>
        <p:txBody>
          <a:bodyPr>
            <a:normAutofit/>
          </a:bodyPr>
          <a:lstStyle/>
          <a:p>
            <a:r>
              <a:rPr lang="zh-CN" altLang="en-US" sz="6600" dirty="0">
                <a:solidFill>
                  <a:schemeClr val="accent2"/>
                </a:solidFill>
                <a:effectLst>
                  <a:outerShdw dist="50800" algn="tl" rotWithShape="0">
                    <a:schemeClr val="bg1"/>
                  </a:outerShdw>
                </a:effectLst>
              </a:rPr>
              <a:t>肠梗阻病人的护理</a:t>
            </a:r>
            <a:endParaRPr lang="zh-CN" altLang="en-US" sz="6600" dirty="0">
              <a:solidFill>
                <a:schemeClr val="accent2"/>
              </a:solidFill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1A3AD36F-CE6A-4994-B3FD-807F87E3A0B6}"/>
              </a:ext>
            </a:extLst>
          </p:cNvPr>
          <p:cNvSpPr txBox="1"/>
          <p:nvPr/>
        </p:nvSpPr>
        <p:spPr>
          <a:xfrm>
            <a:off x="10078720" y="4450080"/>
            <a:ext cx="1341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dirty="0"/>
              <a:t>杨玉华</a:t>
            </a: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2FD0AC1-8D34-4C3F-9F9C-20485C32D1B6}"/>
              </a:ext>
            </a:extLst>
          </p:cNvPr>
          <p:cNvSpPr txBox="1"/>
          <p:nvPr/>
        </p:nvSpPr>
        <p:spPr>
          <a:xfrm>
            <a:off x="669925" y="483969"/>
            <a:ext cx="2591435" cy="646331"/>
          </a:xfrm>
          <a:prstGeom prst="rect">
            <a:avLst/>
          </a:prstGeom>
          <a:solidFill>
            <a:srgbClr val="E1F8F7"/>
          </a:solidFill>
        </p:spPr>
        <p:txBody>
          <a:bodyPr wrap="square" rtlCol="0">
            <a:spAutoFit/>
          </a:bodyPr>
          <a:lstStyle/>
          <a:p>
            <a:r>
              <a:rPr lang="zh-CN" altLang="en-US" sz="3600" b="1" dirty="0"/>
              <a:t>治疗要点</a:t>
            </a:r>
          </a:p>
        </p:txBody>
      </p:sp>
      <p:grpSp>
        <p:nvGrpSpPr>
          <p:cNvPr id="4" name="24804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0021AD7-97AC-4E17-877D-8F48553A4AA3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73100" y="1642367"/>
            <a:ext cx="10845800" cy="3992366"/>
            <a:chOff x="673100" y="1642367"/>
            <a:chExt cx="10845800" cy="3992366"/>
          </a:xfrm>
        </p:grpSpPr>
        <p:sp>
          <p:nvSpPr>
            <p:cNvPr id="5" name="î$ľíḋé">
              <a:extLst>
                <a:ext uri="{FF2B5EF4-FFF2-40B4-BE49-F238E27FC236}">
                  <a16:creationId xmlns:a16="http://schemas.microsoft.com/office/drawing/2014/main" id="{C26A9862-3E08-4ECC-A3D3-1C669B953A8A}"/>
                </a:ext>
              </a:extLst>
            </p:cNvPr>
            <p:cNvSpPr/>
            <p:nvPr/>
          </p:nvSpPr>
          <p:spPr bwMode="auto">
            <a:xfrm flipH="1">
              <a:off x="4177476" y="2143125"/>
              <a:ext cx="3837048" cy="2990850"/>
            </a:xfrm>
            <a:custGeom>
              <a:avLst/>
              <a:gdLst>
                <a:gd name="connsiteX0" fmla="*/ 1560439 w 3875235"/>
                <a:gd name="connsiteY0" fmla="*/ 2610469 h 3020616"/>
                <a:gd name="connsiteX1" fmla="*/ 1505807 w 3875235"/>
                <a:gd name="connsiteY1" fmla="*/ 2668581 h 3020616"/>
                <a:gd name="connsiteX2" fmla="*/ 1119965 w 3875235"/>
                <a:gd name="connsiteY2" fmla="*/ 2866843 h 3020616"/>
                <a:gd name="connsiteX3" fmla="*/ 1020944 w 3875235"/>
                <a:gd name="connsiteY3" fmla="*/ 2942046 h 3020616"/>
                <a:gd name="connsiteX4" fmla="*/ 945824 w 3875235"/>
                <a:gd name="connsiteY4" fmla="*/ 2952301 h 3020616"/>
                <a:gd name="connsiteX5" fmla="*/ 956068 w 3875235"/>
                <a:gd name="connsiteY5" fmla="*/ 2894189 h 3020616"/>
                <a:gd name="connsiteX6" fmla="*/ 1072162 w 3875235"/>
                <a:gd name="connsiteY6" fmla="*/ 2760875 h 3020616"/>
                <a:gd name="connsiteX7" fmla="*/ 1270204 w 3875235"/>
                <a:gd name="connsiteY7" fmla="*/ 2692509 h 3020616"/>
                <a:gd name="connsiteX8" fmla="*/ 1014115 w 3875235"/>
                <a:gd name="connsiteY8" fmla="*/ 2901026 h 3020616"/>
                <a:gd name="connsiteX9" fmla="*/ 1560439 w 3875235"/>
                <a:gd name="connsiteY9" fmla="*/ 2610469 h 3020616"/>
                <a:gd name="connsiteX10" fmla="*/ 443888 w 3875235"/>
                <a:gd name="connsiteY10" fmla="*/ 2299403 h 3020616"/>
                <a:gd name="connsiteX11" fmla="*/ 1594584 w 3875235"/>
                <a:gd name="connsiteY11" fmla="*/ 2521593 h 3020616"/>
                <a:gd name="connsiteX12" fmla="*/ 1526294 w 3875235"/>
                <a:gd name="connsiteY12" fmla="*/ 2538685 h 3020616"/>
                <a:gd name="connsiteX13" fmla="*/ 1218986 w 3875235"/>
                <a:gd name="connsiteY13" fmla="*/ 2630979 h 3020616"/>
                <a:gd name="connsiteX14" fmla="*/ 997042 w 3875235"/>
                <a:gd name="connsiteY14" fmla="*/ 2607051 h 3020616"/>
                <a:gd name="connsiteX15" fmla="*/ 1338495 w 3875235"/>
                <a:gd name="connsiteY15" fmla="*/ 2576286 h 3020616"/>
                <a:gd name="connsiteX16" fmla="*/ 1215572 w 3875235"/>
                <a:gd name="connsiteY16" fmla="*/ 2586541 h 3020616"/>
                <a:gd name="connsiteX17" fmla="*/ 1092649 w 3875235"/>
                <a:gd name="connsiteY17" fmla="*/ 2583123 h 3020616"/>
                <a:gd name="connsiteX18" fmla="*/ 1092649 w 3875235"/>
                <a:gd name="connsiteY18" fmla="*/ 2569450 h 3020616"/>
                <a:gd name="connsiteX19" fmla="*/ 1256546 w 3875235"/>
                <a:gd name="connsiteY19" fmla="*/ 2562613 h 3020616"/>
                <a:gd name="connsiteX20" fmla="*/ 1417029 w 3875235"/>
                <a:gd name="connsiteY20" fmla="*/ 2538685 h 3020616"/>
                <a:gd name="connsiteX21" fmla="*/ 1417029 w 3875235"/>
                <a:gd name="connsiteY21" fmla="*/ 2531848 h 3020616"/>
                <a:gd name="connsiteX22" fmla="*/ 1174597 w 3875235"/>
                <a:gd name="connsiteY22" fmla="*/ 2542103 h 3020616"/>
                <a:gd name="connsiteX23" fmla="*/ 1174597 w 3875235"/>
                <a:gd name="connsiteY23" fmla="*/ 2525011 h 3020616"/>
                <a:gd name="connsiteX24" fmla="*/ 1314593 w 3875235"/>
                <a:gd name="connsiteY24" fmla="*/ 2501083 h 3020616"/>
                <a:gd name="connsiteX25" fmla="*/ 1287277 w 3875235"/>
                <a:gd name="connsiteY25" fmla="*/ 2494247 h 3020616"/>
                <a:gd name="connsiteX26" fmla="*/ 962897 w 3875235"/>
                <a:gd name="connsiteY26" fmla="*/ 2576286 h 3020616"/>
                <a:gd name="connsiteX27" fmla="*/ 915093 w 3875235"/>
                <a:gd name="connsiteY27" fmla="*/ 2593378 h 3020616"/>
                <a:gd name="connsiteX28" fmla="*/ 706807 w 3875235"/>
                <a:gd name="connsiteY28" fmla="*/ 2531848 h 3020616"/>
                <a:gd name="connsiteX29" fmla="*/ 710222 w 3875235"/>
                <a:gd name="connsiteY29" fmla="*/ 2525011 h 3020616"/>
                <a:gd name="connsiteX30" fmla="*/ 911679 w 3875235"/>
                <a:gd name="connsiteY30" fmla="*/ 2559195 h 3020616"/>
                <a:gd name="connsiteX31" fmla="*/ 915093 w 3875235"/>
                <a:gd name="connsiteY31" fmla="*/ 2552358 h 3020616"/>
                <a:gd name="connsiteX32" fmla="*/ 549739 w 3875235"/>
                <a:gd name="connsiteY32" fmla="*/ 2449809 h 3020616"/>
                <a:gd name="connsiteX33" fmla="*/ 553153 w 3875235"/>
                <a:gd name="connsiteY33" fmla="*/ 2432717 h 3020616"/>
                <a:gd name="connsiteX34" fmla="*/ 1000457 w 3875235"/>
                <a:gd name="connsiteY34" fmla="*/ 2507920 h 3020616"/>
                <a:gd name="connsiteX35" fmla="*/ 1003871 w 3875235"/>
                <a:gd name="connsiteY35" fmla="*/ 2497665 h 3020616"/>
                <a:gd name="connsiteX36" fmla="*/ 471205 w 3875235"/>
                <a:gd name="connsiteY36" fmla="*/ 2374606 h 3020616"/>
                <a:gd name="connsiteX37" fmla="*/ 474619 w 3875235"/>
                <a:gd name="connsiteY37" fmla="*/ 2350677 h 3020616"/>
                <a:gd name="connsiteX38" fmla="*/ 1157525 w 3875235"/>
                <a:gd name="connsiteY38" fmla="*/ 2470318 h 3020616"/>
                <a:gd name="connsiteX39" fmla="*/ 1160939 w 3875235"/>
                <a:gd name="connsiteY39" fmla="*/ 2456645 h 3020616"/>
                <a:gd name="connsiteX40" fmla="*/ 443888 w 3875235"/>
                <a:gd name="connsiteY40" fmla="*/ 2299403 h 3020616"/>
                <a:gd name="connsiteX41" fmla="*/ 430230 w 3875235"/>
                <a:gd name="connsiteY41" fmla="*/ 2220782 h 3020616"/>
                <a:gd name="connsiteX42" fmla="*/ 812657 w 3875235"/>
                <a:gd name="connsiteY42" fmla="*/ 2282311 h 3020616"/>
                <a:gd name="connsiteX43" fmla="*/ 1212157 w 3875235"/>
                <a:gd name="connsiteY43" fmla="*/ 2364351 h 3020616"/>
                <a:gd name="connsiteX44" fmla="*/ 1570683 w 3875235"/>
                <a:gd name="connsiteY44" fmla="*/ 2446390 h 3020616"/>
                <a:gd name="connsiteX45" fmla="*/ 1615072 w 3875235"/>
                <a:gd name="connsiteY45" fmla="*/ 2473737 h 3020616"/>
                <a:gd name="connsiteX46" fmla="*/ 1273619 w 3875235"/>
                <a:gd name="connsiteY46" fmla="*/ 2405371 h 3020616"/>
                <a:gd name="connsiteX47" fmla="*/ 904850 w 3875235"/>
                <a:gd name="connsiteY47" fmla="*/ 2330168 h 3020616"/>
                <a:gd name="connsiteX48" fmla="*/ 416572 w 3875235"/>
                <a:gd name="connsiteY48" fmla="*/ 2248128 h 3020616"/>
                <a:gd name="connsiteX49" fmla="*/ 389256 w 3875235"/>
                <a:gd name="connsiteY49" fmla="*/ 2231037 h 3020616"/>
                <a:gd name="connsiteX50" fmla="*/ 392670 w 3875235"/>
                <a:gd name="connsiteY50" fmla="*/ 2220782 h 3020616"/>
                <a:gd name="connsiteX51" fmla="*/ 430230 w 3875235"/>
                <a:gd name="connsiteY51" fmla="*/ 2220782 h 3020616"/>
                <a:gd name="connsiteX52" fmla="*/ 379012 w 3875235"/>
                <a:gd name="connsiteY52" fmla="*/ 2155834 h 3020616"/>
                <a:gd name="connsiteX53" fmla="*/ 1345324 w 3875235"/>
                <a:gd name="connsiteY53" fmla="*/ 2357514 h 3020616"/>
                <a:gd name="connsiteX54" fmla="*/ 1191670 w 3875235"/>
                <a:gd name="connsiteY54" fmla="*/ 2323331 h 3020616"/>
                <a:gd name="connsiteX55" fmla="*/ 416572 w 3875235"/>
                <a:gd name="connsiteY55" fmla="*/ 2186598 h 3020616"/>
                <a:gd name="connsiteX56" fmla="*/ 372183 w 3875235"/>
                <a:gd name="connsiteY56" fmla="*/ 2169507 h 3020616"/>
                <a:gd name="connsiteX57" fmla="*/ 379012 w 3875235"/>
                <a:gd name="connsiteY57" fmla="*/ 2155834 h 3020616"/>
                <a:gd name="connsiteX58" fmla="*/ 382427 w 3875235"/>
                <a:gd name="connsiteY58" fmla="*/ 2107977 h 3020616"/>
                <a:gd name="connsiteX59" fmla="*/ 1065333 w 3875235"/>
                <a:gd name="connsiteY59" fmla="*/ 2227618 h 3020616"/>
                <a:gd name="connsiteX60" fmla="*/ 382427 w 3875235"/>
                <a:gd name="connsiteY60" fmla="*/ 2107977 h 3020616"/>
                <a:gd name="connsiteX61" fmla="*/ 711395 w 3875235"/>
                <a:gd name="connsiteY61" fmla="*/ 2093182 h 3020616"/>
                <a:gd name="connsiteX62" fmla="*/ 908264 w 3875235"/>
                <a:gd name="connsiteY62" fmla="*/ 2145579 h 3020616"/>
                <a:gd name="connsiteX63" fmla="*/ 624858 w 3875235"/>
                <a:gd name="connsiteY63" fmla="*/ 2094304 h 3020616"/>
                <a:gd name="connsiteX64" fmla="*/ 711395 w 3875235"/>
                <a:gd name="connsiteY64" fmla="*/ 2093182 h 3020616"/>
                <a:gd name="connsiteX65" fmla="*/ 2403971 w 3875235"/>
                <a:gd name="connsiteY65" fmla="*/ 1835073 h 3020616"/>
                <a:gd name="connsiteX66" fmla="*/ 2468957 w 3875235"/>
                <a:gd name="connsiteY66" fmla="*/ 2060648 h 3020616"/>
                <a:gd name="connsiteX67" fmla="*/ 2496319 w 3875235"/>
                <a:gd name="connsiteY67" fmla="*/ 2111916 h 3020616"/>
                <a:gd name="connsiteX68" fmla="*/ 2284261 w 3875235"/>
                <a:gd name="connsiteY68" fmla="*/ 2487874 h 3020616"/>
                <a:gd name="connsiteX69" fmla="*/ 2157711 w 3875235"/>
                <a:gd name="connsiteY69" fmla="*/ 2525470 h 3020616"/>
                <a:gd name="connsiteX70" fmla="*/ 2113247 w 3875235"/>
                <a:gd name="connsiteY70" fmla="*/ 2559648 h 3020616"/>
                <a:gd name="connsiteX71" fmla="*/ 2376609 w 3875235"/>
                <a:gd name="connsiteY71" fmla="*/ 2614333 h 3020616"/>
                <a:gd name="connsiteX72" fmla="*/ 2417652 w 3875235"/>
                <a:gd name="connsiteY72" fmla="*/ 2467368 h 3020616"/>
                <a:gd name="connsiteX73" fmla="*/ 2482638 w 3875235"/>
                <a:gd name="connsiteY73" fmla="*/ 2381922 h 3020616"/>
                <a:gd name="connsiteX74" fmla="*/ 2684435 w 3875235"/>
                <a:gd name="connsiteY74" fmla="*/ 2330655 h 3020616"/>
                <a:gd name="connsiteX75" fmla="*/ 2704956 w 3875235"/>
                <a:gd name="connsiteY75" fmla="*/ 2340909 h 3020616"/>
                <a:gd name="connsiteX76" fmla="*/ 2585246 w 3875235"/>
                <a:gd name="connsiteY76" fmla="*/ 2265717 h 3020616"/>
                <a:gd name="connsiteX77" fmla="*/ 2547623 w 3875235"/>
                <a:gd name="connsiteY77" fmla="*/ 2214450 h 3020616"/>
                <a:gd name="connsiteX78" fmla="*/ 2612609 w 3875235"/>
                <a:gd name="connsiteY78" fmla="*/ 2029888 h 3020616"/>
                <a:gd name="connsiteX79" fmla="*/ 2458696 w 3875235"/>
                <a:gd name="connsiteY79" fmla="*/ 1961532 h 3020616"/>
                <a:gd name="connsiteX80" fmla="*/ 2403971 w 3875235"/>
                <a:gd name="connsiteY80" fmla="*/ 1835073 h 3020616"/>
                <a:gd name="connsiteX81" fmla="*/ 104143 w 3875235"/>
                <a:gd name="connsiteY81" fmla="*/ 1358939 h 3020616"/>
                <a:gd name="connsiteX82" fmla="*/ 133166 w 3875235"/>
                <a:gd name="connsiteY82" fmla="*/ 1376458 h 3020616"/>
                <a:gd name="connsiteX83" fmla="*/ 180970 w 3875235"/>
                <a:gd name="connsiteY83" fmla="*/ 1485844 h 3020616"/>
                <a:gd name="connsiteX84" fmla="*/ 242431 w 3875235"/>
                <a:gd name="connsiteY84" fmla="*/ 1646505 h 3020616"/>
                <a:gd name="connsiteX85" fmla="*/ 262918 w 3875235"/>
                <a:gd name="connsiteY85" fmla="*/ 1769564 h 3020616"/>
                <a:gd name="connsiteX86" fmla="*/ 262918 w 3875235"/>
                <a:gd name="connsiteY86" fmla="*/ 1844767 h 3020616"/>
                <a:gd name="connsiteX87" fmla="*/ 276577 w 3875235"/>
                <a:gd name="connsiteY87" fmla="*/ 1844767 h 3020616"/>
                <a:gd name="connsiteX88" fmla="*/ 283406 w 3875235"/>
                <a:gd name="connsiteY88" fmla="*/ 1807165 h 3020616"/>
                <a:gd name="connsiteX89" fmla="*/ 375598 w 3875235"/>
                <a:gd name="connsiteY89" fmla="*/ 1762727 h 3020616"/>
                <a:gd name="connsiteX90" fmla="*/ 577055 w 3875235"/>
                <a:gd name="connsiteY90" fmla="*/ 1776401 h 3020616"/>
                <a:gd name="connsiteX91" fmla="*/ 676076 w 3875235"/>
                <a:gd name="connsiteY91" fmla="*/ 1926807 h 3020616"/>
                <a:gd name="connsiteX92" fmla="*/ 638517 w 3875235"/>
                <a:gd name="connsiteY92" fmla="*/ 1824257 h 3020616"/>
                <a:gd name="connsiteX93" fmla="*/ 816072 w 3875235"/>
                <a:gd name="connsiteY93" fmla="*/ 1578138 h 3020616"/>
                <a:gd name="connsiteX94" fmla="*/ 1007286 w 3875235"/>
                <a:gd name="connsiteY94" fmla="*/ 1605485 h 3020616"/>
                <a:gd name="connsiteX95" fmla="*/ 1099478 w 3875235"/>
                <a:gd name="connsiteY95" fmla="*/ 1629413 h 3020616"/>
                <a:gd name="connsiteX96" fmla="*/ 1331666 w 3875235"/>
                <a:gd name="connsiteY96" fmla="*/ 1639668 h 3020616"/>
                <a:gd name="connsiteX97" fmla="*/ 1184841 w 3875235"/>
                <a:gd name="connsiteY97" fmla="*/ 1615740 h 3020616"/>
                <a:gd name="connsiteX98" fmla="*/ 1157525 w 3875235"/>
                <a:gd name="connsiteY98" fmla="*/ 1461916 h 3020616"/>
                <a:gd name="connsiteX99" fmla="*/ 1184841 w 3875235"/>
                <a:gd name="connsiteY99" fmla="*/ 1479007 h 3020616"/>
                <a:gd name="connsiteX100" fmla="*/ 1318008 w 3875235"/>
                <a:gd name="connsiteY100" fmla="*/ 1543955 h 3020616"/>
                <a:gd name="connsiteX101" fmla="*/ 1584341 w 3875235"/>
                <a:gd name="connsiteY101" fmla="*/ 1646505 h 3020616"/>
                <a:gd name="connsiteX102" fmla="*/ 1604828 w 3875235"/>
                <a:gd name="connsiteY102" fmla="*/ 1656760 h 3020616"/>
                <a:gd name="connsiteX103" fmla="*/ 1748238 w 3875235"/>
                <a:gd name="connsiteY103" fmla="*/ 1718289 h 3020616"/>
                <a:gd name="connsiteX104" fmla="*/ 1700435 w 3875235"/>
                <a:gd name="connsiteY104" fmla="*/ 1776401 h 3020616"/>
                <a:gd name="connsiteX105" fmla="*/ 1597999 w 3875235"/>
                <a:gd name="connsiteY105" fmla="*/ 1786656 h 3020616"/>
                <a:gd name="connsiteX106" fmla="*/ 1379469 w 3875235"/>
                <a:gd name="connsiteY106" fmla="*/ 1742217 h 3020616"/>
                <a:gd name="connsiteX107" fmla="*/ 1201914 w 3875235"/>
                <a:gd name="connsiteY107" fmla="*/ 1776401 h 3020616"/>
                <a:gd name="connsiteX108" fmla="*/ 870704 w 3875235"/>
                <a:gd name="connsiteY108" fmla="*/ 1745636 h 3020616"/>
                <a:gd name="connsiteX109" fmla="*/ 863875 w 3875235"/>
                <a:gd name="connsiteY109" fmla="*/ 1755891 h 3020616"/>
                <a:gd name="connsiteX110" fmla="*/ 921922 w 3875235"/>
                <a:gd name="connsiteY110" fmla="*/ 1817420 h 3020616"/>
                <a:gd name="connsiteX111" fmla="*/ 911679 w 3875235"/>
                <a:gd name="connsiteY111" fmla="*/ 1906297 h 3020616"/>
                <a:gd name="connsiteX112" fmla="*/ 921922 w 3875235"/>
                <a:gd name="connsiteY112" fmla="*/ 1909715 h 3020616"/>
                <a:gd name="connsiteX113" fmla="*/ 1075576 w 3875235"/>
                <a:gd name="connsiteY113" fmla="*/ 1844767 h 3020616"/>
                <a:gd name="connsiteX114" fmla="*/ 1222401 w 3875235"/>
                <a:gd name="connsiteY114" fmla="*/ 1834512 h 3020616"/>
                <a:gd name="connsiteX115" fmla="*/ 1440931 w 3875235"/>
                <a:gd name="connsiteY115" fmla="*/ 1796910 h 3020616"/>
                <a:gd name="connsiteX116" fmla="*/ 1635559 w 3875235"/>
                <a:gd name="connsiteY116" fmla="*/ 1947317 h 3020616"/>
                <a:gd name="connsiteX117" fmla="*/ 1833601 w 3875235"/>
                <a:gd name="connsiteY117" fmla="*/ 2097722 h 3020616"/>
                <a:gd name="connsiteX118" fmla="*/ 1963353 w 3875235"/>
                <a:gd name="connsiteY118" fmla="*/ 2094304 h 3020616"/>
                <a:gd name="connsiteX119" fmla="*/ 1990670 w 3875235"/>
                <a:gd name="connsiteY119" fmla="*/ 2087467 h 3020616"/>
                <a:gd name="connsiteX120" fmla="*/ 1939452 w 3875235"/>
                <a:gd name="connsiteY120" fmla="*/ 1947317 h 3020616"/>
                <a:gd name="connsiteX121" fmla="*/ 1898477 w 3875235"/>
                <a:gd name="connsiteY121" fmla="*/ 2002010 h 3020616"/>
                <a:gd name="connsiteX122" fmla="*/ 1799456 w 3875235"/>
                <a:gd name="connsiteY122" fmla="*/ 2049866 h 3020616"/>
                <a:gd name="connsiteX123" fmla="*/ 1720922 w 3875235"/>
                <a:gd name="connsiteY123" fmla="*/ 2008846 h 3020616"/>
                <a:gd name="connsiteX124" fmla="*/ 1710678 w 3875235"/>
                <a:gd name="connsiteY124" fmla="*/ 1889205 h 3020616"/>
                <a:gd name="connsiteX125" fmla="*/ 2038473 w 3875235"/>
                <a:gd name="connsiteY125" fmla="*/ 1694361 h 3020616"/>
                <a:gd name="connsiteX126" fmla="*/ 2246760 w 3875235"/>
                <a:gd name="connsiteY126" fmla="*/ 1892624 h 3020616"/>
                <a:gd name="connsiteX127" fmla="*/ 2253589 w 3875235"/>
                <a:gd name="connsiteY127" fmla="*/ 1923388 h 3020616"/>
                <a:gd name="connsiteX128" fmla="*/ 2304807 w 3875235"/>
                <a:gd name="connsiteY128" fmla="*/ 2015683 h 3020616"/>
                <a:gd name="connsiteX129" fmla="*/ 2311636 w 3875235"/>
                <a:gd name="connsiteY129" fmla="*/ 2008846 h 3020616"/>
                <a:gd name="connsiteX130" fmla="*/ 2287734 w 3875235"/>
                <a:gd name="connsiteY130" fmla="*/ 1752472 h 3020616"/>
                <a:gd name="connsiteX131" fmla="*/ 2612114 w 3875235"/>
                <a:gd name="connsiteY131" fmla="*/ 1820839 h 3020616"/>
                <a:gd name="connsiteX132" fmla="*/ 2588212 w 3875235"/>
                <a:gd name="connsiteY132" fmla="*/ 1851604 h 3020616"/>
                <a:gd name="connsiteX133" fmla="*/ 2755524 w 3875235"/>
                <a:gd name="connsiteY133" fmla="*/ 1919970 h 3020616"/>
                <a:gd name="connsiteX134" fmla="*/ 2659918 w 3875235"/>
                <a:gd name="connsiteY134" fmla="*/ 2145579 h 3020616"/>
                <a:gd name="connsiteX135" fmla="*/ 2820400 w 3875235"/>
                <a:gd name="connsiteY135" fmla="*/ 2070376 h 3020616"/>
                <a:gd name="connsiteX136" fmla="*/ 2704306 w 3875235"/>
                <a:gd name="connsiteY136" fmla="*/ 2466900 h 3020616"/>
                <a:gd name="connsiteX137" fmla="*/ 2502849 w 3875235"/>
                <a:gd name="connsiteY137" fmla="*/ 2477155 h 3020616"/>
                <a:gd name="connsiteX138" fmla="*/ 2591627 w 3875235"/>
                <a:gd name="connsiteY138" fmla="*/ 2477155 h 3020616"/>
                <a:gd name="connsiteX139" fmla="*/ 2639430 w 3875235"/>
                <a:gd name="connsiteY139" fmla="*/ 2501083 h 3020616"/>
                <a:gd name="connsiteX140" fmla="*/ 2632601 w 3875235"/>
                <a:gd name="connsiteY140" fmla="*/ 2566031 h 3020616"/>
                <a:gd name="connsiteX141" fmla="*/ 2530165 w 3875235"/>
                <a:gd name="connsiteY141" fmla="*/ 2641234 h 3020616"/>
                <a:gd name="connsiteX142" fmla="*/ 2151153 w 3875235"/>
                <a:gd name="connsiteY142" fmla="*/ 2695927 h 3020616"/>
                <a:gd name="connsiteX143" fmla="*/ 1956524 w 3875235"/>
                <a:gd name="connsiteY143" fmla="*/ 2562613 h 3020616"/>
                <a:gd name="connsiteX144" fmla="*/ 1959939 w 3875235"/>
                <a:gd name="connsiteY144" fmla="*/ 2412207 h 3020616"/>
                <a:gd name="connsiteX145" fmla="*/ 2069204 w 3875235"/>
                <a:gd name="connsiteY145" fmla="*/ 2364351 h 3020616"/>
                <a:gd name="connsiteX146" fmla="*/ 2113593 w 3875235"/>
                <a:gd name="connsiteY146" fmla="*/ 2384861 h 3020616"/>
                <a:gd name="connsiteX147" fmla="*/ 2198956 w 3875235"/>
                <a:gd name="connsiteY147" fmla="*/ 2371187 h 3020616"/>
                <a:gd name="connsiteX148" fmla="*/ 2082862 w 3875235"/>
                <a:gd name="connsiteY148" fmla="*/ 2313076 h 3020616"/>
                <a:gd name="connsiteX149" fmla="*/ 1953110 w 3875235"/>
                <a:gd name="connsiteY149" fmla="*/ 2292566 h 3020616"/>
                <a:gd name="connsiteX150" fmla="*/ 2024815 w 3875235"/>
                <a:gd name="connsiteY150" fmla="*/ 2203690 h 3020616"/>
                <a:gd name="connsiteX151" fmla="*/ 2188713 w 3875235"/>
                <a:gd name="connsiteY151" fmla="*/ 2196853 h 3020616"/>
                <a:gd name="connsiteX152" fmla="*/ 2318465 w 3875235"/>
                <a:gd name="connsiteY152" fmla="*/ 2306239 h 3020616"/>
                <a:gd name="connsiteX153" fmla="*/ 2188713 w 3875235"/>
                <a:gd name="connsiteY153" fmla="*/ 2111396 h 3020616"/>
                <a:gd name="connsiteX154" fmla="*/ 2188713 w 3875235"/>
                <a:gd name="connsiteY154" fmla="*/ 2101141 h 3020616"/>
                <a:gd name="connsiteX155" fmla="*/ 2069204 w 3875235"/>
                <a:gd name="connsiteY155" fmla="*/ 1882369 h 3020616"/>
                <a:gd name="connsiteX156" fmla="*/ 1977012 w 3875235"/>
                <a:gd name="connsiteY156" fmla="*/ 1824257 h 3020616"/>
                <a:gd name="connsiteX157" fmla="*/ 2014571 w 3875235"/>
                <a:gd name="connsiteY157" fmla="*/ 1889205 h 3020616"/>
                <a:gd name="connsiteX158" fmla="*/ 2069204 w 3875235"/>
                <a:gd name="connsiteY158" fmla="*/ 1933643 h 3020616"/>
                <a:gd name="connsiteX159" fmla="*/ 2123837 w 3875235"/>
                <a:gd name="connsiteY159" fmla="*/ 2080631 h 3020616"/>
                <a:gd name="connsiteX160" fmla="*/ 2028230 w 3875235"/>
                <a:gd name="connsiteY160" fmla="*/ 2148997 h 3020616"/>
                <a:gd name="connsiteX161" fmla="*/ 1922379 w 3875235"/>
                <a:gd name="connsiteY161" fmla="*/ 2159252 h 3020616"/>
                <a:gd name="connsiteX162" fmla="*/ 1751653 w 3875235"/>
                <a:gd name="connsiteY162" fmla="*/ 2176344 h 3020616"/>
                <a:gd name="connsiteX163" fmla="*/ 1597999 w 3875235"/>
                <a:gd name="connsiteY163" fmla="*/ 2097722 h 3020616"/>
                <a:gd name="connsiteX164" fmla="*/ 1533123 w 3875235"/>
                <a:gd name="connsiteY164" fmla="*/ 2039611 h 3020616"/>
                <a:gd name="connsiteX165" fmla="*/ 1519465 w 3875235"/>
                <a:gd name="connsiteY165" fmla="*/ 2118232 h 3020616"/>
                <a:gd name="connsiteX166" fmla="*/ 1444345 w 3875235"/>
                <a:gd name="connsiteY166" fmla="*/ 2114814 h 3020616"/>
                <a:gd name="connsiteX167" fmla="*/ 1403371 w 3875235"/>
                <a:gd name="connsiteY167" fmla="*/ 2073794 h 3020616"/>
                <a:gd name="connsiteX168" fmla="*/ 1335080 w 3875235"/>
                <a:gd name="connsiteY168" fmla="*/ 1974663 h 3020616"/>
                <a:gd name="connsiteX169" fmla="*/ 1294106 w 3875235"/>
                <a:gd name="connsiteY169" fmla="*/ 2012265 h 3020616"/>
                <a:gd name="connsiteX170" fmla="*/ 1229230 w 3875235"/>
                <a:gd name="connsiteY170" fmla="*/ 2036193 h 3020616"/>
                <a:gd name="connsiteX171" fmla="*/ 1065333 w 3875235"/>
                <a:gd name="connsiteY171" fmla="*/ 2039611 h 3020616"/>
                <a:gd name="connsiteX172" fmla="*/ 986798 w 3875235"/>
                <a:gd name="connsiteY172" fmla="*/ 2019101 h 3020616"/>
                <a:gd name="connsiteX173" fmla="*/ 1085820 w 3875235"/>
                <a:gd name="connsiteY173" fmla="*/ 2101141 h 3020616"/>
                <a:gd name="connsiteX174" fmla="*/ 1198499 w 3875235"/>
                <a:gd name="connsiteY174" fmla="*/ 2114814 h 3020616"/>
                <a:gd name="connsiteX175" fmla="*/ 1287277 w 3875235"/>
                <a:gd name="connsiteY175" fmla="*/ 2084049 h 3020616"/>
                <a:gd name="connsiteX176" fmla="*/ 1386298 w 3875235"/>
                <a:gd name="connsiteY176" fmla="*/ 2145579 h 3020616"/>
                <a:gd name="connsiteX177" fmla="*/ 1335080 w 3875235"/>
                <a:gd name="connsiteY177" fmla="*/ 2203690 h 3020616"/>
                <a:gd name="connsiteX178" fmla="*/ 1403371 w 3875235"/>
                <a:gd name="connsiteY178" fmla="*/ 2207108 h 3020616"/>
                <a:gd name="connsiteX179" fmla="*/ 1516050 w 3875235"/>
                <a:gd name="connsiteY179" fmla="*/ 2172925 h 3020616"/>
                <a:gd name="connsiteX180" fmla="*/ 1591170 w 3875235"/>
                <a:gd name="connsiteY180" fmla="*/ 2193435 h 3020616"/>
                <a:gd name="connsiteX181" fmla="*/ 1707264 w 3875235"/>
                <a:gd name="connsiteY181" fmla="*/ 2244710 h 3020616"/>
                <a:gd name="connsiteX182" fmla="*/ 1785798 w 3875235"/>
                <a:gd name="connsiteY182" fmla="*/ 2231037 h 3020616"/>
                <a:gd name="connsiteX183" fmla="*/ 1881405 w 3875235"/>
                <a:gd name="connsiteY183" fmla="*/ 2278893 h 3020616"/>
                <a:gd name="connsiteX184" fmla="*/ 1891648 w 3875235"/>
                <a:gd name="connsiteY184" fmla="*/ 2490828 h 3020616"/>
                <a:gd name="connsiteX185" fmla="*/ 1813114 w 3875235"/>
                <a:gd name="connsiteY185" fmla="*/ 2525011 h 3020616"/>
                <a:gd name="connsiteX186" fmla="*/ 1656046 w 3875235"/>
                <a:gd name="connsiteY186" fmla="*/ 2408789 h 3020616"/>
                <a:gd name="connsiteX187" fmla="*/ 1656046 w 3875235"/>
                <a:gd name="connsiteY187" fmla="*/ 2306239 h 3020616"/>
                <a:gd name="connsiteX188" fmla="*/ 1222401 w 3875235"/>
                <a:gd name="connsiteY188" fmla="*/ 2210527 h 3020616"/>
                <a:gd name="connsiteX189" fmla="*/ 1160939 w 3875235"/>
                <a:gd name="connsiteY189" fmla="*/ 2213945 h 3020616"/>
                <a:gd name="connsiteX190" fmla="*/ 932166 w 3875235"/>
                <a:gd name="connsiteY190" fmla="*/ 2084049 h 3020616"/>
                <a:gd name="connsiteX191" fmla="*/ 795585 w 3875235"/>
                <a:gd name="connsiteY191" fmla="*/ 1919970 h 3020616"/>
                <a:gd name="connsiteX192" fmla="*/ 802414 w 3875235"/>
                <a:gd name="connsiteY192" fmla="*/ 1978081 h 3020616"/>
                <a:gd name="connsiteX193" fmla="*/ 764854 w 3875235"/>
                <a:gd name="connsiteY193" fmla="*/ 2036193 h 3020616"/>
                <a:gd name="connsiteX194" fmla="*/ 529252 w 3875235"/>
                <a:gd name="connsiteY194" fmla="*/ 1981500 h 3020616"/>
                <a:gd name="connsiteX195" fmla="*/ 385841 w 3875235"/>
                <a:gd name="connsiteY195" fmla="*/ 1861859 h 3020616"/>
                <a:gd name="connsiteX196" fmla="*/ 440474 w 3875235"/>
                <a:gd name="connsiteY196" fmla="*/ 2002010 h 3020616"/>
                <a:gd name="connsiteX197" fmla="*/ 430230 w 3875235"/>
                <a:gd name="connsiteY197" fmla="*/ 2012265 h 3020616"/>
                <a:gd name="connsiteX198" fmla="*/ 413158 w 3875235"/>
                <a:gd name="connsiteY198" fmla="*/ 2015683 h 3020616"/>
                <a:gd name="connsiteX199" fmla="*/ 163897 w 3875235"/>
                <a:gd name="connsiteY199" fmla="*/ 1926807 h 3020616"/>
                <a:gd name="connsiteX200" fmla="*/ 174141 w 3875235"/>
                <a:gd name="connsiteY200" fmla="*/ 1735381 h 3020616"/>
                <a:gd name="connsiteX201" fmla="*/ 68290 w 3875235"/>
                <a:gd name="connsiteY201" fmla="*/ 1749054 h 3020616"/>
                <a:gd name="connsiteX202" fmla="*/ 99021 w 3875235"/>
                <a:gd name="connsiteY202" fmla="*/ 1598648 h 3020616"/>
                <a:gd name="connsiteX203" fmla="*/ 44389 w 3875235"/>
                <a:gd name="connsiteY203" fmla="*/ 1567883 h 3020616"/>
                <a:gd name="connsiteX204" fmla="*/ 75119 w 3875235"/>
                <a:gd name="connsiteY204" fmla="*/ 1379876 h 3020616"/>
                <a:gd name="connsiteX205" fmla="*/ 104143 w 3875235"/>
                <a:gd name="connsiteY205" fmla="*/ 1358939 h 3020616"/>
                <a:gd name="connsiteX206" fmla="*/ 419987 w 3875235"/>
                <a:gd name="connsiteY206" fmla="*/ 689377 h 3020616"/>
                <a:gd name="connsiteX207" fmla="*/ 430230 w 3875235"/>
                <a:gd name="connsiteY207" fmla="*/ 750907 h 3020616"/>
                <a:gd name="connsiteX208" fmla="*/ 358525 w 3875235"/>
                <a:gd name="connsiteY208" fmla="*/ 863711 h 3020616"/>
                <a:gd name="connsiteX209" fmla="*/ 221944 w 3875235"/>
                <a:gd name="connsiteY209" fmla="*/ 1072228 h 3020616"/>
                <a:gd name="connsiteX210" fmla="*/ 218530 w 3875235"/>
                <a:gd name="connsiteY210" fmla="*/ 1171359 h 3020616"/>
                <a:gd name="connsiteX211" fmla="*/ 239017 w 3875235"/>
                <a:gd name="connsiteY211" fmla="*/ 1116666 h 3020616"/>
                <a:gd name="connsiteX212" fmla="*/ 170726 w 3875235"/>
                <a:gd name="connsiteY212" fmla="*/ 1321765 h 3020616"/>
                <a:gd name="connsiteX213" fmla="*/ 139995 w 3875235"/>
                <a:gd name="connsiteY213" fmla="*/ 1219216 h 3020616"/>
                <a:gd name="connsiteX214" fmla="*/ 232188 w 3875235"/>
                <a:gd name="connsiteY214" fmla="*/ 966260 h 3020616"/>
                <a:gd name="connsiteX215" fmla="*/ 419987 w 3875235"/>
                <a:gd name="connsiteY215" fmla="*/ 689377 h 3020616"/>
                <a:gd name="connsiteX216" fmla="*/ 2956981 w 3875235"/>
                <a:gd name="connsiteY216" fmla="*/ 518461 h 3020616"/>
                <a:gd name="connsiteX217" fmla="*/ 3213071 w 3875235"/>
                <a:gd name="connsiteY217" fmla="*/ 679122 h 3020616"/>
                <a:gd name="connsiteX218" fmla="*/ 3011614 w 3875235"/>
                <a:gd name="connsiteY218" fmla="*/ 679122 h 3020616"/>
                <a:gd name="connsiteX219" fmla="*/ 3110635 w 3875235"/>
                <a:gd name="connsiteY219" fmla="*/ 747488 h 3020616"/>
                <a:gd name="connsiteX220" fmla="*/ 3277947 w 3875235"/>
                <a:gd name="connsiteY220" fmla="*/ 880803 h 3020616"/>
                <a:gd name="connsiteX221" fmla="*/ 3216486 w 3875235"/>
                <a:gd name="connsiteY221" fmla="*/ 1017535 h 3020616"/>
                <a:gd name="connsiteX222" fmla="*/ 3148195 w 3875235"/>
                <a:gd name="connsiteY222" fmla="*/ 1017535 h 3020616"/>
                <a:gd name="connsiteX223" fmla="*/ 2929665 w 3875235"/>
                <a:gd name="connsiteY223" fmla="*/ 990189 h 3020616"/>
                <a:gd name="connsiteX224" fmla="*/ 2810157 w 3875235"/>
                <a:gd name="connsiteY224" fmla="*/ 1031208 h 3020616"/>
                <a:gd name="connsiteX225" fmla="*/ 2840888 w 3875235"/>
                <a:gd name="connsiteY225" fmla="*/ 1167941 h 3020616"/>
                <a:gd name="connsiteX226" fmla="*/ 3011614 w 3875235"/>
                <a:gd name="connsiteY226" fmla="*/ 1273909 h 3020616"/>
                <a:gd name="connsiteX227" fmla="*/ 3277947 w 3875235"/>
                <a:gd name="connsiteY227" fmla="*/ 1489262 h 3020616"/>
                <a:gd name="connsiteX228" fmla="*/ 3288191 w 3875235"/>
                <a:gd name="connsiteY228" fmla="*/ 1482426 h 3020616"/>
                <a:gd name="connsiteX229" fmla="*/ 3233558 w 3875235"/>
                <a:gd name="connsiteY229" fmla="*/ 1376458 h 3020616"/>
                <a:gd name="connsiteX230" fmla="*/ 2987712 w 3875235"/>
                <a:gd name="connsiteY230" fmla="*/ 1195287 h 3020616"/>
                <a:gd name="connsiteX231" fmla="*/ 2875033 w 3875235"/>
                <a:gd name="connsiteY231" fmla="*/ 1116666 h 3020616"/>
                <a:gd name="connsiteX232" fmla="*/ 2868204 w 3875235"/>
                <a:gd name="connsiteY232" fmla="*/ 1065391 h 3020616"/>
                <a:gd name="connsiteX233" fmla="*/ 2909178 w 3875235"/>
                <a:gd name="connsiteY233" fmla="*/ 1044882 h 3020616"/>
                <a:gd name="connsiteX234" fmla="*/ 2950152 w 3875235"/>
                <a:gd name="connsiteY234" fmla="*/ 1044882 h 3020616"/>
                <a:gd name="connsiteX235" fmla="*/ 3417943 w 3875235"/>
                <a:gd name="connsiteY235" fmla="*/ 1178196 h 3020616"/>
                <a:gd name="connsiteX236" fmla="*/ 3615985 w 3875235"/>
                <a:gd name="connsiteY236" fmla="*/ 1325183 h 3020616"/>
                <a:gd name="connsiteX237" fmla="*/ 3636473 w 3875235"/>
                <a:gd name="connsiteY237" fmla="*/ 1414059 h 3020616"/>
                <a:gd name="connsiteX238" fmla="*/ 3578426 w 3875235"/>
                <a:gd name="connsiteY238" fmla="*/ 1444824 h 3020616"/>
                <a:gd name="connsiteX239" fmla="*/ 3684276 w 3875235"/>
                <a:gd name="connsiteY239" fmla="*/ 1554210 h 3020616"/>
                <a:gd name="connsiteX240" fmla="*/ 3677447 w 3875235"/>
                <a:gd name="connsiteY240" fmla="*/ 1704616 h 3020616"/>
                <a:gd name="connsiteX241" fmla="*/ 3697934 w 3875235"/>
                <a:gd name="connsiteY241" fmla="*/ 1783237 h 3020616"/>
                <a:gd name="connsiteX242" fmla="*/ 3653545 w 3875235"/>
                <a:gd name="connsiteY242" fmla="*/ 1998591 h 3020616"/>
                <a:gd name="connsiteX243" fmla="*/ 3411114 w 3875235"/>
                <a:gd name="connsiteY243" fmla="*/ 2248128 h 3020616"/>
                <a:gd name="connsiteX244" fmla="*/ 3008199 w 3875235"/>
                <a:gd name="connsiteY244" fmla="*/ 2251546 h 3020616"/>
                <a:gd name="connsiteX245" fmla="*/ 2933080 w 3875235"/>
                <a:gd name="connsiteY245" fmla="*/ 2207108 h 3020616"/>
                <a:gd name="connsiteX246" fmla="*/ 2939909 w 3875235"/>
                <a:gd name="connsiteY246" fmla="*/ 2190017 h 3020616"/>
                <a:gd name="connsiteX247" fmla="*/ 3025272 w 3875235"/>
                <a:gd name="connsiteY247" fmla="*/ 2186598 h 3020616"/>
                <a:gd name="connsiteX248" fmla="*/ 3199413 w 3875235"/>
                <a:gd name="connsiteY248" fmla="*/ 2213945 h 3020616"/>
                <a:gd name="connsiteX249" fmla="*/ 3277947 w 3875235"/>
                <a:gd name="connsiteY249" fmla="*/ 2224200 h 3020616"/>
                <a:gd name="connsiteX250" fmla="*/ 3209657 w 3875235"/>
                <a:gd name="connsiteY250" fmla="*/ 2162670 h 3020616"/>
                <a:gd name="connsiteX251" fmla="*/ 3274533 w 3875235"/>
                <a:gd name="connsiteY251" fmla="*/ 2145579 h 3020616"/>
                <a:gd name="connsiteX252" fmla="*/ 3435015 w 3875235"/>
                <a:gd name="connsiteY252" fmla="*/ 2138742 h 3020616"/>
                <a:gd name="connsiteX253" fmla="*/ 3575011 w 3875235"/>
                <a:gd name="connsiteY253" fmla="*/ 2005428 h 3020616"/>
                <a:gd name="connsiteX254" fmla="*/ 3380383 w 3875235"/>
                <a:gd name="connsiteY254" fmla="*/ 2084049 h 3020616"/>
                <a:gd name="connsiteX255" fmla="*/ 3479404 w 3875235"/>
                <a:gd name="connsiteY255" fmla="*/ 1960990 h 3020616"/>
                <a:gd name="connsiteX256" fmla="*/ 3472575 w 3875235"/>
                <a:gd name="connsiteY256" fmla="*/ 1950735 h 3020616"/>
                <a:gd name="connsiteX257" fmla="*/ 2967225 w 3875235"/>
                <a:gd name="connsiteY257" fmla="*/ 2128487 h 3020616"/>
                <a:gd name="connsiteX258" fmla="*/ 2892105 w 3875235"/>
                <a:gd name="connsiteY258" fmla="*/ 2080631 h 3020616"/>
                <a:gd name="connsiteX259" fmla="*/ 2837473 w 3875235"/>
                <a:gd name="connsiteY259" fmla="*/ 1964408 h 3020616"/>
                <a:gd name="connsiteX260" fmla="*/ 2700892 w 3875235"/>
                <a:gd name="connsiteY260" fmla="*/ 1790074 h 3020616"/>
                <a:gd name="connsiteX261" fmla="*/ 2673576 w 3875235"/>
                <a:gd name="connsiteY261" fmla="*/ 1759309 h 3020616"/>
                <a:gd name="connsiteX262" fmla="*/ 3076490 w 3875235"/>
                <a:gd name="connsiteY262" fmla="*/ 1769564 h 3020616"/>
                <a:gd name="connsiteX263" fmla="*/ 3021858 w 3875235"/>
                <a:gd name="connsiteY263" fmla="*/ 1619158 h 3020616"/>
                <a:gd name="connsiteX264" fmla="*/ 2919422 w 3875235"/>
                <a:gd name="connsiteY264" fmla="*/ 1708034 h 3020616"/>
                <a:gd name="connsiteX265" fmla="*/ 2796499 w 3875235"/>
                <a:gd name="connsiteY265" fmla="*/ 1718289 h 3020616"/>
                <a:gd name="connsiteX266" fmla="*/ 2680405 w 3875235"/>
                <a:gd name="connsiteY266" fmla="*/ 1684106 h 3020616"/>
                <a:gd name="connsiteX267" fmla="*/ 2772597 w 3875235"/>
                <a:gd name="connsiteY267" fmla="*/ 1598648 h 3020616"/>
                <a:gd name="connsiteX268" fmla="*/ 2735037 w 3875235"/>
                <a:gd name="connsiteY268" fmla="*/ 1619158 h 3020616"/>
                <a:gd name="connsiteX269" fmla="*/ 2680405 w 3875235"/>
                <a:gd name="connsiteY269" fmla="*/ 1615740 h 3020616"/>
                <a:gd name="connsiteX270" fmla="*/ 2639430 w 3875235"/>
                <a:gd name="connsiteY270" fmla="*/ 1537119 h 3020616"/>
                <a:gd name="connsiteX271" fmla="*/ 2700892 w 3875235"/>
                <a:gd name="connsiteY271" fmla="*/ 1328602 h 3020616"/>
                <a:gd name="connsiteX272" fmla="*/ 2970640 w 3875235"/>
                <a:gd name="connsiteY272" fmla="*/ 1427733 h 3020616"/>
                <a:gd name="connsiteX273" fmla="*/ 2898934 w 3875235"/>
                <a:gd name="connsiteY273" fmla="*/ 1523445 h 3020616"/>
                <a:gd name="connsiteX274" fmla="*/ 3066246 w 3875235"/>
                <a:gd name="connsiteY274" fmla="*/ 1509772 h 3020616"/>
                <a:gd name="connsiteX275" fmla="*/ 3277947 w 3875235"/>
                <a:gd name="connsiteY275" fmla="*/ 1766146 h 3020616"/>
                <a:gd name="connsiteX276" fmla="*/ 3199413 w 3875235"/>
                <a:gd name="connsiteY276" fmla="*/ 1896042 h 3020616"/>
                <a:gd name="connsiteX277" fmla="*/ 3086734 w 3875235"/>
                <a:gd name="connsiteY277" fmla="*/ 1899460 h 3020616"/>
                <a:gd name="connsiteX278" fmla="*/ 2929665 w 3875235"/>
                <a:gd name="connsiteY278" fmla="*/ 1947317 h 3020616"/>
                <a:gd name="connsiteX279" fmla="*/ 3158439 w 3875235"/>
                <a:gd name="connsiteY279" fmla="*/ 1957572 h 3020616"/>
                <a:gd name="connsiteX280" fmla="*/ 3335994 w 3875235"/>
                <a:gd name="connsiteY280" fmla="*/ 1837931 h 3020616"/>
                <a:gd name="connsiteX281" fmla="*/ 3353067 w 3875235"/>
                <a:gd name="connsiteY281" fmla="*/ 1800329 h 3020616"/>
                <a:gd name="connsiteX282" fmla="*/ 3452088 w 3875235"/>
                <a:gd name="connsiteY282" fmla="*/ 1820839 h 3020616"/>
                <a:gd name="connsiteX283" fmla="*/ 3547695 w 3875235"/>
                <a:gd name="connsiteY283" fmla="*/ 1824257 h 3020616"/>
                <a:gd name="connsiteX284" fmla="*/ 3639887 w 3875235"/>
                <a:gd name="connsiteY284" fmla="*/ 1701198 h 3020616"/>
                <a:gd name="connsiteX285" fmla="*/ 3479404 w 3875235"/>
                <a:gd name="connsiteY285" fmla="*/ 1451661 h 3020616"/>
                <a:gd name="connsiteX286" fmla="*/ 3404285 w 3875235"/>
                <a:gd name="connsiteY286" fmla="*/ 1373040 h 3020616"/>
                <a:gd name="connsiteX287" fmla="*/ 3325751 w 3875235"/>
                <a:gd name="connsiteY287" fmla="*/ 1270490 h 3020616"/>
                <a:gd name="connsiteX288" fmla="*/ 3373554 w 3875235"/>
                <a:gd name="connsiteY288" fmla="*/ 1383295 h 3020616"/>
                <a:gd name="connsiteX289" fmla="*/ 3448674 w 3875235"/>
                <a:gd name="connsiteY289" fmla="*/ 1472171 h 3020616"/>
                <a:gd name="connsiteX290" fmla="*/ 3568182 w 3875235"/>
                <a:gd name="connsiteY290" fmla="*/ 1639668 h 3020616"/>
                <a:gd name="connsiteX291" fmla="*/ 3465746 w 3875235"/>
                <a:gd name="connsiteY291" fmla="*/ 1762727 h 3020616"/>
                <a:gd name="connsiteX292" fmla="*/ 3288191 w 3875235"/>
                <a:gd name="connsiteY292" fmla="*/ 1656760 h 3020616"/>
                <a:gd name="connsiteX293" fmla="*/ 3182340 w 3875235"/>
                <a:gd name="connsiteY293" fmla="*/ 1509772 h 3020616"/>
                <a:gd name="connsiteX294" fmla="*/ 2939909 w 3875235"/>
                <a:gd name="connsiteY294" fmla="*/ 1349111 h 3020616"/>
                <a:gd name="connsiteX295" fmla="*/ 2717965 w 3875235"/>
                <a:gd name="connsiteY295" fmla="*/ 1260235 h 3020616"/>
                <a:gd name="connsiteX296" fmla="*/ 2670161 w 3875235"/>
                <a:gd name="connsiteY296" fmla="*/ 1109830 h 3020616"/>
                <a:gd name="connsiteX297" fmla="*/ 2700892 w 3875235"/>
                <a:gd name="connsiteY297" fmla="*/ 1017535 h 3020616"/>
                <a:gd name="connsiteX298" fmla="*/ 2707721 w 3875235"/>
                <a:gd name="connsiteY298" fmla="*/ 952587 h 3020616"/>
                <a:gd name="connsiteX299" fmla="*/ 2840888 w 3875235"/>
                <a:gd name="connsiteY299" fmla="*/ 843201 h 3020616"/>
                <a:gd name="connsiteX300" fmla="*/ 2956981 w 3875235"/>
                <a:gd name="connsiteY300" fmla="*/ 706469 h 3020616"/>
                <a:gd name="connsiteX301" fmla="*/ 2956981 w 3875235"/>
                <a:gd name="connsiteY301" fmla="*/ 518461 h 3020616"/>
                <a:gd name="connsiteX302" fmla="*/ 1491790 w 3875235"/>
                <a:gd name="connsiteY302" fmla="*/ 291976 h 3020616"/>
                <a:gd name="connsiteX303" fmla="*/ 1422858 w 3875235"/>
                <a:gd name="connsiteY303" fmla="*/ 301195 h 3020616"/>
                <a:gd name="connsiteX304" fmla="*/ 1299647 w 3875235"/>
                <a:gd name="connsiteY304" fmla="*/ 311426 h 3020616"/>
                <a:gd name="connsiteX305" fmla="*/ 1378365 w 3875235"/>
                <a:gd name="connsiteY305" fmla="*/ 352352 h 3020616"/>
                <a:gd name="connsiteX306" fmla="*/ 1412591 w 3875235"/>
                <a:gd name="connsiteY306" fmla="*/ 352352 h 3020616"/>
                <a:gd name="connsiteX307" fmla="*/ 1631633 w 3875235"/>
                <a:gd name="connsiteY307" fmla="*/ 478539 h 3020616"/>
                <a:gd name="connsiteX308" fmla="*/ 1741154 w 3875235"/>
                <a:gd name="connsiteY308" fmla="*/ 703629 h 3020616"/>
                <a:gd name="connsiteX309" fmla="*/ 1641901 w 3875235"/>
                <a:gd name="connsiteY309" fmla="*/ 945772 h 3020616"/>
                <a:gd name="connsiteX310" fmla="*/ 1597408 w 3875235"/>
                <a:gd name="connsiteY310" fmla="*/ 1000340 h 3020616"/>
                <a:gd name="connsiteX311" fmla="*/ 1720619 w 3875235"/>
                <a:gd name="connsiteY311" fmla="*/ 952593 h 3020616"/>
                <a:gd name="connsiteX312" fmla="*/ 1785647 w 3875235"/>
                <a:gd name="connsiteY312" fmla="*/ 877563 h 3020616"/>
                <a:gd name="connsiteX313" fmla="*/ 1806183 w 3875235"/>
                <a:gd name="connsiteY313" fmla="*/ 799122 h 3020616"/>
                <a:gd name="connsiteX314" fmla="*/ 1980732 w 3875235"/>
                <a:gd name="connsiteY314" fmla="*/ 765018 h 3020616"/>
                <a:gd name="connsiteX315" fmla="*/ 2086831 w 3875235"/>
                <a:gd name="connsiteY315" fmla="*/ 765018 h 3020616"/>
                <a:gd name="connsiteX316" fmla="*/ 1813028 w 3875235"/>
                <a:gd name="connsiteY316" fmla="*/ 700219 h 3020616"/>
                <a:gd name="connsiteX317" fmla="*/ 1679549 w 3875235"/>
                <a:gd name="connsiteY317" fmla="*/ 441024 h 3020616"/>
                <a:gd name="connsiteX318" fmla="*/ 1645323 w 3875235"/>
                <a:gd name="connsiteY318" fmla="*/ 386456 h 3020616"/>
                <a:gd name="connsiteX319" fmla="*/ 1491790 w 3875235"/>
                <a:gd name="connsiteY319" fmla="*/ 291976 h 3020616"/>
                <a:gd name="connsiteX320" fmla="*/ 2588212 w 3875235"/>
                <a:gd name="connsiteY320" fmla="*/ 200558 h 3020616"/>
                <a:gd name="connsiteX321" fmla="*/ 2813571 w 3875235"/>
                <a:gd name="connsiteY321" fmla="*/ 292853 h 3020616"/>
                <a:gd name="connsiteX322" fmla="*/ 2888691 w 3875235"/>
                <a:gd name="connsiteY322" fmla="*/ 374892 h 3020616"/>
                <a:gd name="connsiteX323" fmla="*/ 2885276 w 3875235"/>
                <a:gd name="connsiteY323" fmla="*/ 320199 h 3020616"/>
                <a:gd name="connsiteX324" fmla="*/ 2994541 w 3875235"/>
                <a:gd name="connsiteY324" fmla="*/ 368056 h 3020616"/>
                <a:gd name="connsiteX325" fmla="*/ 2970640 w 3875235"/>
                <a:gd name="connsiteY325" fmla="*/ 436422 h 3020616"/>
                <a:gd name="connsiteX326" fmla="*/ 2974054 w 3875235"/>
                <a:gd name="connsiteY326" fmla="*/ 446677 h 3020616"/>
                <a:gd name="connsiteX327" fmla="*/ 3192584 w 3875235"/>
                <a:gd name="connsiteY327" fmla="*/ 487697 h 3020616"/>
                <a:gd name="connsiteX328" fmla="*/ 3363310 w 3875235"/>
                <a:gd name="connsiteY328" fmla="*/ 631266 h 3020616"/>
                <a:gd name="connsiteX329" fmla="*/ 3479404 w 3875235"/>
                <a:gd name="connsiteY329" fmla="*/ 788508 h 3020616"/>
                <a:gd name="connsiteX330" fmla="*/ 3660374 w 3875235"/>
                <a:gd name="connsiteY330" fmla="*/ 1044882 h 3020616"/>
                <a:gd name="connsiteX331" fmla="*/ 3506721 w 3875235"/>
                <a:gd name="connsiteY331" fmla="*/ 863711 h 3020616"/>
                <a:gd name="connsiteX332" fmla="*/ 3332580 w 3875235"/>
                <a:gd name="connsiteY332" fmla="*/ 798763 h 3020616"/>
                <a:gd name="connsiteX333" fmla="*/ 3540866 w 3875235"/>
                <a:gd name="connsiteY333" fmla="*/ 1010698 h 3020616"/>
                <a:gd name="connsiteX334" fmla="*/ 3435015 w 3875235"/>
                <a:gd name="connsiteY334" fmla="*/ 1041463 h 3020616"/>
                <a:gd name="connsiteX335" fmla="*/ 3592084 w 3875235"/>
                <a:gd name="connsiteY335" fmla="*/ 1085901 h 3020616"/>
                <a:gd name="connsiteX336" fmla="*/ 3800370 w 3875235"/>
                <a:gd name="connsiteY336" fmla="*/ 1393550 h 3020616"/>
                <a:gd name="connsiteX337" fmla="*/ 3725250 w 3875235"/>
                <a:gd name="connsiteY337" fmla="*/ 1451661 h 3020616"/>
                <a:gd name="connsiteX338" fmla="*/ 3779883 w 3875235"/>
                <a:gd name="connsiteY338" fmla="*/ 1509772 h 3020616"/>
                <a:gd name="connsiteX339" fmla="*/ 3810614 w 3875235"/>
                <a:gd name="connsiteY339" fmla="*/ 1564465 h 3020616"/>
                <a:gd name="connsiteX340" fmla="*/ 3810614 w 3875235"/>
                <a:gd name="connsiteY340" fmla="*/ 1608903 h 3020616"/>
                <a:gd name="connsiteX341" fmla="*/ 3762810 w 3875235"/>
                <a:gd name="connsiteY341" fmla="*/ 1800329 h 3020616"/>
                <a:gd name="connsiteX342" fmla="*/ 3755981 w 3875235"/>
                <a:gd name="connsiteY342" fmla="*/ 1667015 h 3020616"/>
                <a:gd name="connsiteX343" fmla="*/ 3725250 w 3875235"/>
                <a:gd name="connsiteY343" fmla="*/ 1496099 h 3020616"/>
                <a:gd name="connsiteX344" fmla="*/ 3715007 w 3875235"/>
                <a:gd name="connsiteY344" fmla="*/ 1441406 h 3020616"/>
                <a:gd name="connsiteX345" fmla="*/ 3660374 w 3875235"/>
                <a:gd name="connsiteY345" fmla="*/ 1280745 h 3020616"/>
                <a:gd name="connsiteX346" fmla="*/ 3390627 w 3875235"/>
                <a:gd name="connsiteY346" fmla="*/ 1085901 h 3020616"/>
                <a:gd name="connsiteX347" fmla="*/ 3349652 w 3875235"/>
                <a:gd name="connsiteY347" fmla="*/ 990189 h 3020616"/>
                <a:gd name="connsiteX348" fmla="*/ 3312092 w 3875235"/>
                <a:gd name="connsiteY348" fmla="*/ 829528 h 3020616"/>
                <a:gd name="connsiteX349" fmla="*/ 3233558 w 3875235"/>
                <a:gd name="connsiteY349" fmla="*/ 750907 h 3020616"/>
                <a:gd name="connsiteX350" fmla="*/ 3274533 w 3875235"/>
                <a:gd name="connsiteY350" fmla="*/ 668867 h 3020616"/>
                <a:gd name="connsiteX351" fmla="*/ 3288191 w 3875235"/>
                <a:gd name="connsiteY351" fmla="*/ 668867 h 3020616"/>
                <a:gd name="connsiteX352" fmla="*/ 3376968 w 3875235"/>
                <a:gd name="connsiteY352" fmla="*/ 706469 h 3020616"/>
                <a:gd name="connsiteX353" fmla="*/ 3267704 w 3875235"/>
                <a:gd name="connsiteY353" fmla="*/ 614174 h 3020616"/>
                <a:gd name="connsiteX354" fmla="*/ 3226729 w 3875235"/>
                <a:gd name="connsiteY354" fmla="*/ 600501 h 3020616"/>
                <a:gd name="connsiteX355" fmla="*/ 2977469 w 3875235"/>
                <a:gd name="connsiteY355" fmla="*/ 460350 h 3020616"/>
                <a:gd name="connsiteX356" fmla="*/ 2905764 w 3875235"/>
                <a:gd name="connsiteY356" fmla="*/ 412494 h 3020616"/>
                <a:gd name="connsiteX357" fmla="*/ 2745281 w 3875235"/>
                <a:gd name="connsiteY357" fmla="*/ 299689 h 3020616"/>
                <a:gd name="connsiteX358" fmla="*/ 2536995 w 3875235"/>
                <a:gd name="connsiteY358" fmla="*/ 262088 h 3020616"/>
                <a:gd name="connsiteX359" fmla="*/ 2588212 w 3875235"/>
                <a:gd name="connsiteY359" fmla="*/ 200558 h 3020616"/>
                <a:gd name="connsiteX360" fmla="*/ 1526294 w 3875235"/>
                <a:gd name="connsiteY360" fmla="*/ 92454 h 3020616"/>
                <a:gd name="connsiteX361" fmla="*/ 1700435 w 3875235"/>
                <a:gd name="connsiteY361" fmla="*/ 128774 h 3020616"/>
                <a:gd name="connsiteX362" fmla="*/ 1751653 w 3875235"/>
                <a:gd name="connsiteY362" fmla="*/ 180048 h 3020616"/>
                <a:gd name="connsiteX363" fmla="*/ 1693606 w 3875235"/>
                <a:gd name="connsiteY363" fmla="*/ 214232 h 3020616"/>
                <a:gd name="connsiteX364" fmla="*/ 1604828 w 3875235"/>
                <a:gd name="connsiteY364" fmla="*/ 248415 h 3020616"/>
                <a:gd name="connsiteX365" fmla="*/ 1833601 w 3875235"/>
                <a:gd name="connsiteY365" fmla="*/ 299689 h 3020616"/>
                <a:gd name="connsiteX366" fmla="*/ 1994084 w 3875235"/>
                <a:gd name="connsiteY366" fmla="*/ 426167 h 3020616"/>
                <a:gd name="connsiteX367" fmla="*/ 1966768 w 3875235"/>
                <a:gd name="connsiteY367" fmla="*/ 501370 h 3020616"/>
                <a:gd name="connsiteX368" fmla="*/ 1888234 w 3875235"/>
                <a:gd name="connsiteY368" fmla="*/ 556063 h 3020616"/>
                <a:gd name="connsiteX369" fmla="*/ 1936037 w 3875235"/>
                <a:gd name="connsiteY369" fmla="*/ 638102 h 3020616"/>
                <a:gd name="connsiteX370" fmla="*/ 2127251 w 3875235"/>
                <a:gd name="connsiteY370" fmla="*/ 740652 h 3020616"/>
                <a:gd name="connsiteX371" fmla="*/ 2243345 w 3875235"/>
                <a:gd name="connsiteY371" fmla="*/ 1065391 h 3020616"/>
                <a:gd name="connsiteX372" fmla="*/ 2151153 w 3875235"/>
                <a:gd name="connsiteY372" fmla="*/ 1256817 h 3020616"/>
                <a:gd name="connsiteX373" fmla="*/ 2062375 w 3875235"/>
                <a:gd name="connsiteY373" fmla="*/ 1294418 h 3020616"/>
                <a:gd name="connsiteX374" fmla="*/ 2024815 w 3875235"/>
                <a:gd name="connsiteY374" fmla="*/ 1222634 h 3020616"/>
                <a:gd name="connsiteX375" fmla="*/ 2035059 w 3875235"/>
                <a:gd name="connsiteY375" fmla="*/ 1171359 h 3020616"/>
                <a:gd name="connsiteX376" fmla="*/ 2007742 w 3875235"/>
                <a:gd name="connsiteY376" fmla="*/ 1031208 h 3020616"/>
                <a:gd name="connsiteX377" fmla="*/ 1970183 w 3875235"/>
                <a:gd name="connsiteY377" fmla="*/ 1188451 h 3020616"/>
                <a:gd name="connsiteX378" fmla="*/ 2035059 w 3875235"/>
                <a:gd name="connsiteY378" fmla="*/ 1349111 h 3020616"/>
                <a:gd name="connsiteX379" fmla="*/ 2147738 w 3875235"/>
                <a:gd name="connsiteY379" fmla="*/ 1352530 h 3020616"/>
                <a:gd name="connsiteX380" fmla="*/ 2052131 w 3875235"/>
                <a:gd name="connsiteY380" fmla="*/ 1444824 h 3020616"/>
                <a:gd name="connsiteX381" fmla="*/ 1949695 w 3875235"/>
                <a:gd name="connsiteY381" fmla="*/ 1349111 h 3020616"/>
                <a:gd name="connsiteX382" fmla="*/ 1809700 w 3875235"/>
                <a:gd name="connsiteY382" fmla="*/ 1147431 h 3020616"/>
                <a:gd name="connsiteX383" fmla="*/ 1901892 w 3875235"/>
                <a:gd name="connsiteY383" fmla="*/ 877384 h 3020616"/>
                <a:gd name="connsiteX384" fmla="*/ 1881405 w 3875235"/>
                <a:gd name="connsiteY384" fmla="*/ 949169 h 3020616"/>
                <a:gd name="connsiteX385" fmla="*/ 1717507 w 3875235"/>
                <a:gd name="connsiteY385" fmla="*/ 1120084 h 3020616"/>
                <a:gd name="connsiteX386" fmla="*/ 1447760 w 3875235"/>
                <a:gd name="connsiteY386" fmla="*/ 1010698 h 3020616"/>
                <a:gd name="connsiteX387" fmla="*/ 1417029 w 3875235"/>
                <a:gd name="connsiteY387" fmla="*/ 822691 h 3020616"/>
                <a:gd name="connsiteX388" fmla="*/ 1396542 w 3875235"/>
                <a:gd name="connsiteY388" fmla="*/ 638102 h 3020616"/>
                <a:gd name="connsiteX389" fmla="*/ 1253132 w 3875235"/>
                <a:gd name="connsiteY389" fmla="*/ 576573 h 3020616"/>
                <a:gd name="connsiteX390" fmla="*/ 1160939 w 3875235"/>
                <a:gd name="connsiteY390" fmla="*/ 706469 h 3020616"/>
                <a:gd name="connsiteX391" fmla="*/ 1212157 w 3875235"/>
                <a:gd name="connsiteY391" fmla="*/ 843201 h 3020616"/>
                <a:gd name="connsiteX392" fmla="*/ 1218986 w 3875235"/>
                <a:gd name="connsiteY392" fmla="*/ 815855 h 3020616"/>
                <a:gd name="connsiteX393" fmla="*/ 1208743 w 3875235"/>
                <a:gd name="connsiteY393" fmla="*/ 703050 h 3020616"/>
                <a:gd name="connsiteX394" fmla="*/ 1290691 w 3875235"/>
                <a:gd name="connsiteY394" fmla="*/ 631266 h 3020616"/>
                <a:gd name="connsiteX395" fmla="*/ 1352153 w 3875235"/>
                <a:gd name="connsiteY395" fmla="*/ 682540 h 3020616"/>
                <a:gd name="connsiteX396" fmla="*/ 1358982 w 3875235"/>
                <a:gd name="connsiteY396" fmla="*/ 802181 h 3020616"/>
                <a:gd name="connsiteX397" fmla="*/ 1495563 w 3875235"/>
                <a:gd name="connsiteY397" fmla="*/ 1147431 h 3020616"/>
                <a:gd name="connsiteX398" fmla="*/ 1331666 w 3875235"/>
                <a:gd name="connsiteY398" fmla="*/ 1178196 h 3020616"/>
                <a:gd name="connsiteX399" fmla="*/ 1277033 w 3875235"/>
                <a:gd name="connsiteY399" fmla="*/ 1113248 h 3020616"/>
                <a:gd name="connsiteX400" fmla="*/ 1205328 w 3875235"/>
                <a:gd name="connsiteY400" fmla="*/ 986770 h 3020616"/>
                <a:gd name="connsiteX401" fmla="*/ 1287277 w 3875235"/>
                <a:gd name="connsiteY401" fmla="*/ 1212379 h 3020616"/>
                <a:gd name="connsiteX402" fmla="*/ 1505807 w 3875235"/>
                <a:gd name="connsiteY402" fmla="*/ 1236307 h 3020616"/>
                <a:gd name="connsiteX403" fmla="*/ 1860918 w 3875235"/>
                <a:gd name="connsiteY403" fmla="*/ 1308092 h 3020616"/>
                <a:gd name="connsiteX404" fmla="*/ 2065789 w 3875235"/>
                <a:gd name="connsiteY404" fmla="*/ 1554210 h 3020616"/>
                <a:gd name="connsiteX405" fmla="*/ 2192127 w 3875235"/>
                <a:gd name="connsiteY405" fmla="*/ 1673851 h 3020616"/>
                <a:gd name="connsiteX406" fmla="*/ 1877990 w 3875235"/>
                <a:gd name="connsiteY406" fmla="*/ 1653341 h 3020616"/>
                <a:gd name="connsiteX407" fmla="*/ 1710678 w 3875235"/>
                <a:gd name="connsiteY407" fmla="*/ 1639668 h 3020616"/>
                <a:gd name="connsiteX408" fmla="*/ 1669704 w 3875235"/>
                <a:gd name="connsiteY408" fmla="*/ 1595230 h 3020616"/>
                <a:gd name="connsiteX409" fmla="*/ 1727751 w 3875235"/>
                <a:gd name="connsiteY409" fmla="*/ 1564465 h 3020616"/>
                <a:gd name="connsiteX410" fmla="*/ 1755067 w 3875235"/>
                <a:gd name="connsiteY410" fmla="*/ 1571302 h 3020616"/>
                <a:gd name="connsiteX411" fmla="*/ 1905307 w 3875235"/>
                <a:gd name="connsiteY411" fmla="*/ 1574720 h 3020616"/>
                <a:gd name="connsiteX412" fmla="*/ 1727751 w 3875235"/>
                <a:gd name="connsiteY412" fmla="*/ 1489262 h 3020616"/>
                <a:gd name="connsiteX413" fmla="*/ 1615072 w 3875235"/>
                <a:gd name="connsiteY413" fmla="*/ 1342275 h 3020616"/>
                <a:gd name="connsiteX414" fmla="*/ 1608243 w 3875235"/>
                <a:gd name="connsiteY414" fmla="*/ 1342275 h 3020616"/>
                <a:gd name="connsiteX415" fmla="*/ 1659460 w 3875235"/>
                <a:gd name="connsiteY415" fmla="*/ 1523445 h 3020616"/>
                <a:gd name="connsiteX416" fmla="*/ 1611657 w 3875235"/>
                <a:gd name="connsiteY416" fmla="*/ 1523445 h 3020616"/>
                <a:gd name="connsiteX417" fmla="*/ 1335080 w 3875235"/>
                <a:gd name="connsiteY417" fmla="*/ 1482426 h 3020616"/>
                <a:gd name="connsiteX418" fmla="*/ 1198499 w 3875235"/>
                <a:gd name="connsiteY418" fmla="*/ 1386713 h 3020616"/>
                <a:gd name="connsiteX419" fmla="*/ 1130209 w 3875235"/>
                <a:gd name="connsiteY419" fmla="*/ 1267072 h 3020616"/>
                <a:gd name="connsiteX420" fmla="*/ 1078991 w 3875235"/>
                <a:gd name="connsiteY420" fmla="*/ 617592 h 3020616"/>
                <a:gd name="connsiteX421" fmla="*/ 1061918 w 3875235"/>
                <a:gd name="connsiteY421" fmla="*/ 409075 h 3020616"/>
                <a:gd name="connsiteX422" fmla="*/ 1038016 w 3875235"/>
                <a:gd name="connsiteY422" fmla="*/ 566318 h 3020616"/>
                <a:gd name="connsiteX423" fmla="*/ 956068 w 3875235"/>
                <a:gd name="connsiteY423" fmla="*/ 969679 h 3020616"/>
                <a:gd name="connsiteX424" fmla="*/ 887777 w 3875235"/>
                <a:gd name="connsiteY424" fmla="*/ 1154268 h 3020616"/>
                <a:gd name="connsiteX425" fmla="*/ 607786 w 3875235"/>
                <a:gd name="connsiteY425" fmla="*/ 1102993 h 3020616"/>
                <a:gd name="connsiteX426" fmla="*/ 573641 w 3875235"/>
                <a:gd name="connsiteY426" fmla="*/ 1014117 h 3020616"/>
                <a:gd name="connsiteX427" fmla="*/ 495106 w 3875235"/>
                <a:gd name="connsiteY427" fmla="*/ 949169 h 3020616"/>
                <a:gd name="connsiteX428" fmla="*/ 488277 w 3875235"/>
                <a:gd name="connsiteY428" fmla="*/ 1072228 h 3020616"/>
                <a:gd name="connsiteX429" fmla="*/ 423401 w 3875235"/>
                <a:gd name="connsiteY429" fmla="*/ 1249980 h 3020616"/>
                <a:gd name="connsiteX430" fmla="*/ 382427 w 3875235"/>
                <a:gd name="connsiteY430" fmla="*/ 1369621 h 3020616"/>
                <a:gd name="connsiteX431" fmla="*/ 385841 w 3875235"/>
                <a:gd name="connsiteY431" fmla="*/ 1465334 h 3020616"/>
                <a:gd name="connsiteX432" fmla="*/ 416572 w 3875235"/>
                <a:gd name="connsiteY432" fmla="*/ 1407223 h 3020616"/>
                <a:gd name="connsiteX433" fmla="*/ 491692 w 3875235"/>
                <a:gd name="connsiteY433" fmla="*/ 1588393 h 3020616"/>
                <a:gd name="connsiteX434" fmla="*/ 498521 w 3875235"/>
                <a:gd name="connsiteY434" fmla="*/ 1434569 h 3020616"/>
                <a:gd name="connsiteX435" fmla="*/ 484863 w 3875235"/>
                <a:gd name="connsiteY435" fmla="*/ 1253399 h 3020616"/>
                <a:gd name="connsiteX436" fmla="*/ 536081 w 3875235"/>
                <a:gd name="connsiteY436" fmla="*/ 1109830 h 3020616"/>
                <a:gd name="connsiteX437" fmla="*/ 611200 w 3875235"/>
                <a:gd name="connsiteY437" fmla="*/ 1226052 h 3020616"/>
                <a:gd name="connsiteX438" fmla="*/ 655589 w 3875235"/>
                <a:gd name="connsiteY438" fmla="*/ 1321765 h 3020616"/>
                <a:gd name="connsiteX439" fmla="*/ 693149 w 3875235"/>
                <a:gd name="connsiteY439" fmla="*/ 1407223 h 3020616"/>
                <a:gd name="connsiteX440" fmla="*/ 703393 w 3875235"/>
                <a:gd name="connsiteY440" fmla="*/ 1400386 h 3020616"/>
                <a:gd name="connsiteX441" fmla="*/ 706807 w 3875235"/>
                <a:gd name="connsiteY441" fmla="*/ 1311510 h 3020616"/>
                <a:gd name="connsiteX442" fmla="*/ 737538 w 3875235"/>
                <a:gd name="connsiteY442" fmla="*/ 1280745 h 3020616"/>
                <a:gd name="connsiteX443" fmla="*/ 942410 w 3875235"/>
                <a:gd name="connsiteY443" fmla="*/ 1181614 h 3020616"/>
                <a:gd name="connsiteX444" fmla="*/ 1003871 w 3875235"/>
                <a:gd name="connsiteY444" fmla="*/ 1185032 h 3020616"/>
                <a:gd name="connsiteX445" fmla="*/ 1078991 w 3875235"/>
                <a:gd name="connsiteY445" fmla="*/ 1308092 h 3020616"/>
                <a:gd name="connsiteX446" fmla="*/ 1096063 w 3875235"/>
                <a:gd name="connsiteY446" fmla="*/ 1407223 h 3020616"/>
                <a:gd name="connsiteX447" fmla="*/ 1068747 w 3875235"/>
                <a:gd name="connsiteY447" fmla="*/ 1550792 h 3020616"/>
                <a:gd name="connsiteX448" fmla="*/ 986798 w 3875235"/>
                <a:gd name="connsiteY448" fmla="*/ 1537119 h 3020616"/>
                <a:gd name="connsiteX449" fmla="*/ 740952 w 3875235"/>
                <a:gd name="connsiteY449" fmla="*/ 1526864 h 3020616"/>
                <a:gd name="connsiteX450" fmla="*/ 682905 w 3875235"/>
                <a:gd name="connsiteY450" fmla="*/ 1509772 h 3020616"/>
                <a:gd name="connsiteX451" fmla="*/ 583884 w 3875235"/>
                <a:gd name="connsiteY451" fmla="*/ 1345693 h 3020616"/>
                <a:gd name="connsiteX452" fmla="*/ 648760 w 3875235"/>
                <a:gd name="connsiteY452" fmla="*/ 1561047 h 3020616"/>
                <a:gd name="connsiteX453" fmla="*/ 583884 w 3875235"/>
                <a:gd name="connsiteY453" fmla="*/ 1670433 h 3020616"/>
                <a:gd name="connsiteX454" fmla="*/ 464376 w 3875235"/>
                <a:gd name="connsiteY454" fmla="*/ 1728544 h 3020616"/>
                <a:gd name="connsiteX455" fmla="*/ 276577 w 3875235"/>
                <a:gd name="connsiteY455" fmla="*/ 1578138 h 3020616"/>
                <a:gd name="connsiteX456" fmla="*/ 232188 w 3875235"/>
                <a:gd name="connsiteY456" fmla="*/ 1400386 h 3020616"/>
                <a:gd name="connsiteX457" fmla="*/ 259504 w 3875235"/>
                <a:gd name="connsiteY457" fmla="*/ 1301255 h 3020616"/>
                <a:gd name="connsiteX458" fmla="*/ 307307 w 3875235"/>
                <a:gd name="connsiteY458" fmla="*/ 1137176 h 3020616"/>
                <a:gd name="connsiteX459" fmla="*/ 317551 w 3875235"/>
                <a:gd name="connsiteY459" fmla="*/ 1065391 h 3020616"/>
                <a:gd name="connsiteX460" fmla="*/ 402914 w 3875235"/>
                <a:gd name="connsiteY460" fmla="*/ 908149 h 3020616"/>
                <a:gd name="connsiteX461" fmla="*/ 542910 w 3875235"/>
                <a:gd name="connsiteY461" fmla="*/ 709887 h 3020616"/>
                <a:gd name="connsiteX462" fmla="*/ 631687 w 3875235"/>
                <a:gd name="connsiteY462" fmla="*/ 709887 h 3020616"/>
                <a:gd name="connsiteX463" fmla="*/ 720465 w 3875235"/>
                <a:gd name="connsiteY463" fmla="*/ 877384 h 3020616"/>
                <a:gd name="connsiteX464" fmla="*/ 706807 w 3875235"/>
                <a:gd name="connsiteY464" fmla="*/ 1051718 h 3020616"/>
                <a:gd name="connsiteX465" fmla="*/ 706807 w 3875235"/>
                <a:gd name="connsiteY465" fmla="*/ 1058555 h 3020616"/>
                <a:gd name="connsiteX466" fmla="*/ 860461 w 3875235"/>
                <a:gd name="connsiteY466" fmla="*/ 1061973 h 3020616"/>
                <a:gd name="connsiteX467" fmla="*/ 826316 w 3875235"/>
                <a:gd name="connsiteY467" fmla="*/ 1027790 h 3020616"/>
                <a:gd name="connsiteX468" fmla="*/ 816072 w 3875235"/>
                <a:gd name="connsiteY468" fmla="*/ 867129 h 3020616"/>
                <a:gd name="connsiteX469" fmla="*/ 846803 w 3875235"/>
                <a:gd name="connsiteY469" fmla="*/ 655194 h 3020616"/>
                <a:gd name="connsiteX470" fmla="*/ 816072 w 3875235"/>
                <a:gd name="connsiteY470" fmla="*/ 767998 h 3020616"/>
                <a:gd name="connsiteX471" fmla="*/ 778512 w 3875235"/>
                <a:gd name="connsiteY471" fmla="*/ 815855 h 3020616"/>
                <a:gd name="connsiteX472" fmla="*/ 744367 w 3875235"/>
                <a:gd name="connsiteY472" fmla="*/ 771417 h 3020616"/>
                <a:gd name="connsiteX473" fmla="*/ 706807 w 3875235"/>
                <a:gd name="connsiteY473" fmla="*/ 703050 h 3020616"/>
                <a:gd name="connsiteX474" fmla="*/ 515594 w 3875235"/>
                <a:gd name="connsiteY474" fmla="*/ 655194 h 3020616"/>
                <a:gd name="connsiteX475" fmla="*/ 484863 w 3875235"/>
                <a:gd name="connsiteY475" fmla="*/ 672285 h 3020616"/>
                <a:gd name="connsiteX476" fmla="*/ 474619 w 3875235"/>
                <a:gd name="connsiteY476" fmla="*/ 662031 h 3020616"/>
                <a:gd name="connsiteX477" fmla="*/ 539495 w 3875235"/>
                <a:gd name="connsiteY477" fmla="*/ 549226 h 3020616"/>
                <a:gd name="connsiteX478" fmla="*/ 843388 w 3875235"/>
                <a:gd name="connsiteY478" fmla="*/ 405657 h 3020616"/>
                <a:gd name="connsiteX479" fmla="*/ 877534 w 3875235"/>
                <a:gd name="connsiteY479" fmla="*/ 477442 h 3020616"/>
                <a:gd name="connsiteX480" fmla="*/ 768269 w 3875235"/>
                <a:gd name="connsiteY480" fmla="*/ 535553 h 3020616"/>
                <a:gd name="connsiteX481" fmla="*/ 669247 w 3875235"/>
                <a:gd name="connsiteY481" fmla="*/ 562899 h 3020616"/>
                <a:gd name="connsiteX482" fmla="*/ 672662 w 3875235"/>
                <a:gd name="connsiteY482" fmla="*/ 576573 h 3020616"/>
                <a:gd name="connsiteX483" fmla="*/ 863875 w 3875235"/>
                <a:gd name="connsiteY483" fmla="*/ 556063 h 3020616"/>
                <a:gd name="connsiteX484" fmla="*/ 952653 w 3875235"/>
                <a:gd name="connsiteY484" fmla="*/ 439840 h 3020616"/>
                <a:gd name="connsiteX485" fmla="*/ 877534 w 3875235"/>
                <a:gd name="connsiteY485" fmla="*/ 354382 h 3020616"/>
                <a:gd name="connsiteX486" fmla="*/ 846803 w 3875235"/>
                <a:gd name="connsiteY486" fmla="*/ 340709 h 3020616"/>
                <a:gd name="connsiteX487" fmla="*/ 1051674 w 3875235"/>
                <a:gd name="connsiteY487" fmla="*/ 227905 h 3020616"/>
                <a:gd name="connsiteX488" fmla="*/ 1085820 w 3875235"/>
                <a:gd name="connsiteY488" fmla="*/ 265506 h 3020616"/>
                <a:gd name="connsiteX489" fmla="*/ 1099478 w 3875235"/>
                <a:gd name="connsiteY489" fmla="*/ 357801 h 3020616"/>
                <a:gd name="connsiteX490" fmla="*/ 1338495 w 3875235"/>
                <a:gd name="connsiteY490" fmla="*/ 521880 h 3020616"/>
                <a:gd name="connsiteX491" fmla="*/ 1495563 w 3875235"/>
                <a:gd name="connsiteY491" fmla="*/ 644939 h 3020616"/>
                <a:gd name="connsiteX492" fmla="*/ 1577512 w 3875235"/>
                <a:gd name="connsiteY492" fmla="*/ 754325 h 3020616"/>
                <a:gd name="connsiteX493" fmla="*/ 1533123 w 3875235"/>
                <a:gd name="connsiteY493" fmla="*/ 614174 h 3020616"/>
                <a:gd name="connsiteX494" fmla="*/ 1362397 w 3875235"/>
                <a:gd name="connsiteY494" fmla="*/ 463768 h 3020616"/>
                <a:gd name="connsiteX495" fmla="*/ 1205328 w 3875235"/>
                <a:gd name="connsiteY495" fmla="*/ 398820 h 3020616"/>
                <a:gd name="connsiteX496" fmla="*/ 1239474 w 3875235"/>
                <a:gd name="connsiteY496" fmla="*/ 173212 h 3020616"/>
                <a:gd name="connsiteX497" fmla="*/ 1352153 w 3875235"/>
                <a:gd name="connsiteY497" fmla="*/ 125355 h 3020616"/>
                <a:gd name="connsiteX498" fmla="*/ 1526294 w 3875235"/>
                <a:gd name="connsiteY498" fmla="*/ 92454 h 3020616"/>
                <a:gd name="connsiteX499" fmla="*/ 2135521 w 3875235"/>
                <a:gd name="connsiteY499" fmla="*/ 83107 h 3020616"/>
                <a:gd name="connsiteX500" fmla="*/ 2502849 w 3875235"/>
                <a:gd name="connsiteY500" fmla="*/ 159539 h 3020616"/>
                <a:gd name="connsiteX501" fmla="*/ 2461875 w 3875235"/>
                <a:gd name="connsiteY501" fmla="*/ 275761 h 3020616"/>
                <a:gd name="connsiteX502" fmla="*/ 2386755 w 3875235"/>
                <a:gd name="connsiteY502" fmla="*/ 327036 h 3020616"/>
                <a:gd name="connsiteX503" fmla="*/ 2649674 w 3875235"/>
                <a:gd name="connsiteY503" fmla="*/ 327036 h 3020616"/>
                <a:gd name="connsiteX504" fmla="*/ 2875033 w 3875235"/>
                <a:gd name="connsiteY504" fmla="*/ 494533 h 3020616"/>
                <a:gd name="connsiteX505" fmla="*/ 2898934 w 3875235"/>
                <a:gd name="connsiteY505" fmla="*/ 675704 h 3020616"/>
                <a:gd name="connsiteX506" fmla="*/ 2813571 w 3875235"/>
                <a:gd name="connsiteY506" fmla="*/ 791926 h 3020616"/>
                <a:gd name="connsiteX507" fmla="*/ 2711135 w 3875235"/>
                <a:gd name="connsiteY507" fmla="*/ 822691 h 3020616"/>
                <a:gd name="connsiteX508" fmla="*/ 2622358 w 3875235"/>
                <a:gd name="connsiteY508" fmla="*/ 754325 h 3020616"/>
                <a:gd name="connsiteX509" fmla="*/ 2636016 w 3875235"/>
                <a:gd name="connsiteY509" fmla="*/ 685959 h 3020616"/>
                <a:gd name="connsiteX510" fmla="*/ 2636016 w 3875235"/>
                <a:gd name="connsiteY510" fmla="*/ 429585 h 3020616"/>
                <a:gd name="connsiteX511" fmla="*/ 2608700 w 3875235"/>
                <a:gd name="connsiteY511" fmla="*/ 610756 h 3020616"/>
                <a:gd name="connsiteX512" fmla="*/ 2526751 w 3875235"/>
                <a:gd name="connsiteY512" fmla="*/ 689377 h 3020616"/>
                <a:gd name="connsiteX513" fmla="*/ 2434559 w 3875235"/>
                <a:gd name="connsiteY513" fmla="*/ 631266 h 3020616"/>
                <a:gd name="connsiteX514" fmla="*/ 2461875 w 3875235"/>
                <a:gd name="connsiteY514" fmla="*/ 552645 h 3020616"/>
                <a:gd name="connsiteX515" fmla="*/ 2533580 w 3875235"/>
                <a:gd name="connsiteY515" fmla="*/ 515043 h 3020616"/>
                <a:gd name="connsiteX516" fmla="*/ 2304807 w 3875235"/>
                <a:gd name="connsiteY516" fmla="*/ 433004 h 3020616"/>
                <a:gd name="connsiteX517" fmla="*/ 2219443 w 3875235"/>
                <a:gd name="connsiteY517" fmla="*/ 279179 h 3020616"/>
                <a:gd name="connsiteX518" fmla="*/ 2072618 w 3875235"/>
                <a:gd name="connsiteY518" fmla="*/ 115100 h 3020616"/>
                <a:gd name="connsiteX519" fmla="*/ 2004328 w 3875235"/>
                <a:gd name="connsiteY519" fmla="*/ 101427 h 3020616"/>
                <a:gd name="connsiteX520" fmla="*/ 2007742 w 3875235"/>
                <a:gd name="connsiteY520" fmla="*/ 84336 h 3020616"/>
                <a:gd name="connsiteX521" fmla="*/ 2135521 w 3875235"/>
                <a:gd name="connsiteY521" fmla="*/ 83107 h 3020616"/>
                <a:gd name="connsiteX522" fmla="*/ 1790920 w 3875235"/>
                <a:gd name="connsiteY522" fmla="*/ 59126 h 3020616"/>
                <a:gd name="connsiteX523" fmla="*/ 1857503 w 3875235"/>
                <a:gd name="connsiteY523" fmla="*/ 60407 h 3020616"/>
                <a:gd name="connsiteX524" fmla="*/ 1953110 w 3875235"/>
                <a:gd name="connsiteY524" fmla="*/ 128774 h 3020616"/>
                <a:gd name="connsiteX525" fmla="*/ 1970183 w 3875235"/>
                <a:gd name="connsiteY525" fmla="*/ 149284 h 3020616"/>
                <a:gd name="connsiteX526" fmla="*/ 2058960 w 3875235"/>
                <a:gd name="connsiteY526" fmla="*/ 173212 h 3020616"/>
                <a:gd name="connsiteX527" fmla="*/ 2161396 w 3875235"/>
                <a:gd name="connsiteY527" fmla="*/ 289434 h 3020616"/>
                <a:gd name="connsiteX528" fmla="*/ 2154567 w 3875235"/>
                <a:gd name="connsiteY528" fmla="*/ 340709 h 3020616"/>
                <a:gd name="connsiteX529" fmla="*/ 2229687 w 3875235"/>
                <a:gd name="connsiteY529" fmla="*/ 460350 h 3020616"/>
                <a:gd name="connsiteX530" fmla="*/ 2328708 w 3875235"/>
                <a:gd name="connsiteY530" fmla="*/ 518461 h 3020616"/>
                <a:gd name="connsiteX531" fmla="*/ 2356025 w 3875235"/>
                <a:gd name="connsiteY531" fmla="*/ 569736 h 3020616"/>
                <a:gd name="connsiteX532" fmla="*/ 2492606 w 3875235"/>
                <a:gd name="connsiteY532" fmla="*/ 774835 h 3020616"/>
                <a:gd name="connsiteX533" fmla="*/ 2601871 w 3875235"/>
                <a:gd name="connsiteY533" fmla="*/ 860293 h 3020616"/>
                <a:gd name="connsiteX534" fmla="*/ 2632601 w 3875235"/>
                <a:gd name="connsiteY534" fmla="*/ 1051718 h 3020616"/>
                <a:gd name="connsiteX535" fmla="*/ 2540409 w 3875235"/>
                <a:gd name="connsiteY535" fmla="*/ 1181614 h 3020616"/>
                <a:gd name="connsiteX536" fmla="*/ 2444802 w 3875235"/>
                <a:gd name="connsiteY536" fmla="*/ 1359366 h 3020616"/>
                <a:gd name="connsiteX537" fmla="*/ 2393584 w 3875235"/>
                <a:gd name="connsiteY537" fmla="*/ 1499517 h 3020616"/>
                <a:gd name="connsiteX538" fmla="*/ 2475533 w 3875235"/>
                <a:gd name="connsiteY538" fmla="*/ 1407223 h 3020616"/>
                <a:gd name="connsiteX539" fmla="*/ 2557482 w 3875235"/>
                <a:gd name="connsiteY539" fmla="*/ 1260235 h 3020616"/>
                <a:gd name="connsiteX540" fmla="*/ 2598456 w 3875235"/>
                <a:gd name="connsiteY540" fmla="*/ 1239725 h 3020616"/>
                <a:gd name="connsiteX541" fmla="*/ 2622358 w 3875235"/>
                <a:gd name="connsiteY541" fmla="*/ 1277327 h 3020616"/>
                <a:gd name="connsiteX542" fmla="*/ 2591627 w 3875235"/>
                <a:gd name="connsiteY542" fmla="*/ 1489262 h 3020616"/>
                <a:gd name="connsiteX543" fmla="*/ 2482362 w 3875235"/>
                <a:gd name="connsiteY543" fmla="*/ 1656760 h 3020616"/>
                <a:gd name="connsiteX544" fmla="*/ 2513093 w 3875235"/>
                <a:gd name="connsiteY544" fmla="*/ 1646505 h 3020616"/>
                <a:gd name="connsiteX545" fmla="*/ 2618943 w 3875235"/>
                <a:gd name="connsiteY545" fmla="*/ 1714871 h 3020616"/>
                <a:gd name="connsiteX546" fmla="*/ 2618943 w 3875235"/>
                <a:gd name="connsiteY546" fmla="*/ 1728544 h 3020616"/>
                <a:gd name="connsiteX547" fmla="*/ 2455046 w 3875235"/>
                <a:gd name="connsiteY547" fmla="*/ 1694361 h 3020616"/>
                <a:gd name="connsiteX548" fmla="*/ 2188713 w 3875235"/>
                <a:gd name="connsiteY548" fmla="*/ 1588393 h 3020616"/>
                <a:gd name="connsiteX549" fmla="*/ 2192127 w 3875235"/>
                <a:gd name="connsiteY549" fmla="*/ 1461916 h 3020616"/>
                <a:gd name="connsiteX550" fmla="*/ 2216029 w 3875235"/>
                <a:gd name="connsiteY550" fmla="*/ 1400386 h 3020616"/>
                <a:gd name="connsiteX551" fmla="*/ 2246760 w 3875235"/>
                <a:gd name="connsiteY551" fmla="*/ 1188451 h 3020616"/>
                <a:gd name="connsiteX552" fmla="*/ 2403828 w 3875235"/>
                <a:gd name="connsiteY552" fmla="*/ 1079065 h 3020616"/>
                <a:gd name="connsiteX553" fmla="*/ 2482362 w 3875235"/>
                <a:gd name="connsiteY553" fmla="*/ 1058555 h 3020616"/>
                <a:gd name="connsiteX554" fmla="*/ 2489191 w 3875235"/>
                <a:gd name="connsiteY554" fmla="*/ 962842 h 3020616"/>
                <a:gd name="connsiteX555" fmla="*/ 2403828 w 3875235"/>
                <a:gd name="connsiteY555" fmla="*/ 1027790 h 3020616"/>
                <a:gd name="connsiteX556" fmla="*/ 2321879 w 3875235"/>
                <a:gd name="connsiteY556" fmla="*/ 942332 h 3020616"/>
                <a:gd name="connsiteX557" fmla="*/ 2304807 w 3875235"/>
                <a:gd name="connsiteY557" fmla="*/ 860293 h 3020616"/>
                <a:gd name="connsiteX558" fmla="*/ 2103349 w 3875235"/>
                <a:gd name="connsiteY558" fmla="*/ 662031 h 3020616"/>
                <a:gd name="connsiteX559" fmla="*/ 1949695 w 3875235"/>
                <a:gd name="connsiteY559" fmla="*/ 573154 h 3020616"/>
                <a:gd name="connsiteX560" fmla="*/ 2178469 w 3875235"/>
                <a:gd name="connsiteY560" fmla="*/ 586828 h 3020616"/>
                <a:gd name="connsiteX561" fmla="*/ 2086276 w 3875235"/>
                <a:gd name="connsiteY561" fmla="*/ 460350 h 3020616"/>
                <a:gd name="connsiteX562" fmla="*/ 1977012 w 3875235"/>
                <a:gd name="connsiteY562" fmla="*/ 320199 h 3020616"/>
                <a:gd name="connsiteX563" fmla="*/ 1802871 w 3875235"/>
                <a:gd name="connsiteY563" fmla="*/ 210813 h 3020616"/>
                <a:gd name="connsiteX564" fmla="*/ 1724337 w 3875235"/>
                <a:gd name="connsiteY564" fmla="*/ 60407 h 3020616"/>
                <a:gd name="connsiteX565" fmla="*/ 1790920 w 3875235"/>
                <a:gd name="connsiteY565" fmla="*/ 59126 h 3020616"/>
                <a:gd name="connsiteX566" fmla="*/ 1871161 w 3875235"/>
                <a:gd name="connsiteY566" fmla="*/ 2296 h 3020616"/>
                <a:gd name="connsiteX567" fmla="*/ 1396542 w 3875235"/>
                <a:gd name="connsiteY567" fmla="*/ 53571 h 3020616"/>
                <a:gd name="connsiteX568" fmla="*/ 1362397 w 3875235"/>
                <a:gd name="connsiteY568" fmla="*/ 60407 h 3020616"/>
                <a:gd name="connsiteX569" fmla="*/ 1106307 w 3875235"/>
                <a:gd name="connsiteY569" fmla="*/ 145865 h 3020616"/>
                <a:gd name="connsiteX570" fmla="*/ 764854 w 3875235"/>
                <a:gd name="connsiteY570" fmla="*/ 337291 h 3020616"/>
                <a:gd name="connsiteX571" fmla="*/ 727294 w 3875235"/>
                <a:gd name="connsiteY571" fmla="*/ 357801 h 3020616"/>
                <a:gd name="connsiteX572" fmla="*/ 580470 w 3875235"/>
                <a:gd name="connsiteY572" fmla="*/ 439840 h 3020616"/>
                <a:gd name="connsiteX573" fmla="*/ 310722 w 3875235"/>
                <a:gd name="connsiteY573" fmla="*/ 720142 h 3020616"/>
                <a:gd name="connsiteX574" fmla="*/ 269747 w 3875235"/>
                <a:gd name="connsiteY574" fmla="*/ 774835 h 3020616"/>
                <a:gd name="connsiteX575" fmla="*/ 170726 w 3875235"/>
                <a:gd name="connsiteY575" fmla="*/ 945751 h 3020616"/>
                <a:gd name="connsiteX576" fmla="*/ 0 w 3875235"/>
                <a:gd name="connsiteY576" fmla="*/ 1420896 h 3020616"/>
                <a:gd name="connsiteX577" fmla="*/ 17072 w 3875235"/>
                <a:gd name="connsiteY577" fmla="*/ 1745636 h 3020616"/>
                <a:gd name="connsiteX578" fmla="*/ 102436 w 3875235"/>
                <a:gd name="connsiteY578" fmla="*/ 1964408 h 3020616"/>
                <a:gd name="connsiteX579" fmla="*/ 307307 w 3875235"/>
                <a:gd name="connsiteY579" fmla="*/ 2070376 h 3020616"/>
                <a:gd name="connsiteX580" fmla="*/ 464376 w 3875235"/>
                <a:gd name="connsiteY580" fmla="*/ 2456645 h 3020616"/>
                <a:gd name="connsiteX581" fmla="*/ 798999 w 3875235"/>
                <a:gd name="connsiteY581" fmla="*/ 2627561 h 3020616"/>
                <a:gd name="connsiteX582" fmla="*/ 1041431 w 3875235"/>
                <a:gd name="connsiteY582" fmla="*/ 2695927 h 3020616"/>
                <a:gd name="connsiteX583" fmla="*/ 904850 w 3875235"/>
                <a:gd name="connsiteY583" fmla="*/ 2866843 h 3020616"/>
                <a:gd name="connsiteX584" fmla="*/ 898021 w 3875235"/>
                <a:gd name="connsiteY584" fmla="*/ 2989902 h 3020616"/>
                <a:gd name="connsiteX585" fmla="*/ 1051674 w 3875235"/>
                <a:gd name="connsiteY585" fmla="*/ 2996739 h 3020616"/>
                <a:gd name="connsiteX586" fmla="*/ 1519465 w 3875235"/>
                <a:gd name="connsiteY586" fmla="*/ 2730110 h 3020616"/>
                <a:gd name="connsiteX587" fmla="*/ 1656046 w 3875235"/>
                <a:gd name="connsiteY587" fmla="*/ 2600214 h 3020616"/>
                <a:gd name="connsiteX588" fmla="*/ 1765311 w 3875235"/>
                <a:gd name="connsiteY588" fmla="*/ 2569450 h 3020616"/>
                <a:gd name="connsiteX589" fmla="*/ 1833601 w 3875235"/>
                <a:gd name="connsiteY589" fmla="*/ 2607051 h 3020616"/>
                <a:gd name="connsiteX590" fmla="*/ 1939452 w 3875235"/>
                <a:gd name="connsiteY590" fmla="*/ 2678836 h 3020616"/>
                <a:gd name="connsiteX591" fmla="*/ 2195542 w 3875235"/>
                <a:gd name="connsiteY591" fmla="*/ 2757457 h 3020616"/>
                <a:gd name="connsiteX592" fmla="*/ 2622358 w 3875235"/>
                <a:gd name="connsiteY592" fmla="*/ 2651489 h 3020616"/>
                <a:gd name="connsiteX593" fmla="*/ 2656503 w 3875235"/>
                <a:gd name="connsiteY593" fmla="*/ 2620724 h 3020616"/>
                <a:gd name="connsiteX594" fmla="*/ 2898934 w 3875235"/>
                <a:gd name="connsiteY594" fmla="*/ 2272056 h 3020616"/>
                <a:gd name="connsiteX595" fmla="*/ 3288191 w 3875235"/>
                <a:gd name="connsiteY595" fmla="*/ 2337004 h 3020616"/>
                <a:gd name="connsiteX596" fmla="*/ 3691105 w 3875235"/>
                <a:gd name="connsiteY596" fmla="*/ 2066958 h 3020616"/>
                <a:gd name="connsiteX597" fmla="*/ 3796955 w 3875235"/>
                <a:gd name="connsiteY597" fmla="*/ 1906297 h 3020616"/>
                <a:gd name="connsiteX598" fmla="*/ 3861831 w 3875235"/>
                <a:gd name="connsiteY598" fmla="*/ 1728544 h 3020616"/>
                <a:gd name="connsiteX599" fmla="*/ 3861831 w 3875235"/>
                <a:gd name="connsiteY599" fmla="*/ 1701198 h 3020616"/>
                <a:gd name="connsiteX600" fmla="*/ 3844759 w 3875235"/>
                <a:gd name="connsiteY600" fmla="*/ 1284163 h 3020616"/>
                <a:gd name="connsiteX601" fmla="*/ 3677447 w 3875235"/>
                <a:gd name="connsiteY601" fmla="*/ 918404 h 3020616"/>
                <a:gd name="connsiteX602" fmla="*/ 3499891 w 3875235"/>
                <a:gd name="connsiteY602" fmla="*/ 696214 h 3020616"/>
                <a:gd name="connsiteX603" fmla="*/ 3004785 w 3875235"/>
                <a:gd name="connsiteY603" fmla="*/ 299689 h 3020616"/>
                <a:gd name="connsiteX604" fmla="*/ 2868204 w 3875235"/>
                <a:gd name="connsiteY604" fmla="*/ 241578 h 3020616"/>
                <a:gd name="connsiteX605" fmla="*/ 2649674 w 3875235"/>
                <a:gd name="connsiteY605" fmla="*/ 152702 h 3020616"/>
                <a:gd name="connsiteX606" fmla="*/ 2547238 w 3875235"/>
                <a:gd name="connsiteY606" fmla="*/ 115100 h 3020616"/>
                <a:gd name="connsiteX607" fmla="*/ 2301392 w 3875235"/>
                <a:gd name="connsiteY607" fmla="*/ 36479 h 3020616"/>
                <a:gd name="connsiteX608" fmla="*/ 1871161 w 3875235"/>
                <a:gd name="connsiteY608" fmla="*/ 2296 h 3020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</a:cxnLst>
              <a:rect l="l" t="t" r="r" b="b"/>
              <a:pathLst>
                <a:path w="3875235" h="3020616">
                  <a:moveTo>
                    <a:pt x="1560439" y="2610469"/>
                  </a:moveTo>
                  <a:cubicBezTo>
                    <a:pt x="1546781" y="2634397"/>
                    <a:pt x="1526294" y="2654907"/>
                    <a:pt x="1505807" y="2668581"/>
                  </a:cubicBezTo>
                  <a:cubicBezTo>
                    <a:pt x="1376055" y="2733529"/>
                    <a:pt x="1246303" y="2798477"/>
                    <a:pt x="1119965" y="2866843"/>
                  </a:cubicBezTo>
                  <a:cubicBezTo>
                    <a:pt x="1082405" y="2883934"/>
                    <a:pt x="1055089" y="2921536"/>
                    <a:pt x="1020944" y="2942046"/>
                  </a:cubicBezTo>
                  <a:cubicBezTo>
                    <a:pt x="1000457" y="2955719"/>
                    <a:pt x="969726" y="2948882"/>
                    <a:pt x="945824" y="2952301"/>
                  </a:cubicBezTo>
                  <a:cubicBezTo>
                    <a:pt x="949239" y="2931791"/>
                    <a:pt x="945824" y="2907863"/>
                    <a:pt x="956068" y="2894189"/>
                  </a:cubicBezTo>
                  <a:cubicBezTo>
                    <a:pt x="990213" y="2846333"/>
                    <a:pt x="1027773" y="2798477"/>
                    <a:pt x="1072162" y="2760875"/>
                  </a:cubicBezTo>
                  <a:cubicBezTo>
                    <a:pt x="1126794" y="2713019"/>
                    <a:pt x="1195085" y="2689090"/>
                    <a:pt x="1270204" y="2692509"/>
                  </a:cubicBezTo>
                  <a:cubicBezTo>
                    <a:pt x="1178012" y="2754038"/>
                    <a:pt x="1078991" y="2805313"/>
                    <a:pt x="1014115" y="2901026"/>
                  </a:cubicBezTo>
                  <a:cubicBezTo>
                    <a:pt x="1181427" y="2774548"/>
                    <a:pt x="1362397" y="2678836"/>
                    <a:pt x="1560439" y="2610469"/>
                  </a:cubicBezTo>
                  <a:close/>
                  <a:moveTo>
                    <a:pt x="443888" y="2299403"/>
                  </a:moveTo>
                  <a:cubicBezTo>
                    <a:pt x="833145" y="2343841"/>
                    <a:pt x="1215572" y="2422462"/>
                    <a:pt x="1594584" y="2521593"/>
                  </a:cubicBezTo>
                  <a:cubicBezTo>
                    <a:pt x="1570683" y="2528430"/>
                    <a:pt x="1546781" y="2531848"/>
                    <a:pt x="1526294" y="2538685"/>
                  </a:cubicBezTo>
                  <a:cubicBezTo>
                    <a:pt x="1423858" y="2569450"/>
                    <a:pt x="1321422" y="2607051"/>
                    <a:pt x="1218986" y="2630979"/>
                  </a:cubicBezTo>
                  <a:cubicBezTo>
                    <a:pt x="1130209" y="2654907"/>
                    <a:pt x="1058504" y="2641234"/>
                    <a:pt x="997042" y="2607051"/>
                  </a:cubicBezTo>
                  <a:cubicBezTo>
                    <a:pt x="1113136" y="2603633"/>
                    <a:pt x="1229230" y="2624143"/>
                    <a:pt x="1338495" y="2576286"/>
                  </a:cubicBezTo>
                  <a:cubicBezTo>
                    <a:pt x="1297520" y="2579704"/>
                    <a:pt x="1256546" y="2586541"/>
                    <a:pt x="1215572" y="2586541"/>
                  </a:cubicBezTo>
                  <a:cubicBezTo>
                    <a:pt x="1174597" y="2586541"/>
                    <a:pt x="1133623" y="2583123"/>
                    <a:pt x="1092649" y="2583123"/>
                  </a:cubicBezTo>
                  <a:cubicBezTo>
                    <a:pt x="1092649" y="2579704"/>
                    <a:pt x="1092649" y="2576286"/>
                    <a:pt x="1092649" y="2569450"/>
                  </a:cubicBezTo>
                  <a:cubicBezTo>
                    <a:pt x="1147281" y="2569450"/>
                    <a:pt x="1201914" y="2569450"/>
                    <a:pt x="1256546" y="2562613"/>
                  </a:cubicBezTo>
                  <a:cubicBezTo>
                    <a:pt x="1311179" y="2559195"/>
                    <a:pt x="1362397" y="2548940"/>
                    <a:pt x="1417029" y="2538685"/>
                  </a:cubicBezTo>
                  <a:cubicBezTo>
                    <a:pt x="1417029" y="2535266"/>
                    <a:pt x="1417029" y="2535266"/>
                    <a:pt x="1417029" y="2531848"/>
                  </a:cubicBezTo>
                  <a:cubicBezTo>
                    <a:pt x="1335080" y="2535266"/>
                    <a:pt x="1256546" y="2538685"/>
                    <a:pt x="1174597" y="2542103"/>
                  </a:cubicBezTo>
                  <a:cubicBezTo>
                    <a:pt x="1174597" y="2535266"/>
                    <a:pt x="1174597" y="2531848"/>
                    <a:pt x="1174597" y="2525011"/>
                  </a:cubicBezTo>
                  <a:cubicBezTo>
                    <a:pt x="1218986" y="2518175"/>
                    <a:pt x="1266790" y="2511338"/>
                    <a:pt x="1314593" y="2501083"/>
                  </a:cubicBezTo>
                  <a:cubicBezTo>
                    <a:pt x="1304350" y="2497665"/>
                    <a:pt x="1294106" y="2494247"/>
                    <a:pt x="1287277" y="2494247"/>
                  </a:cubicBezTo>
                  <a:cubicBezTo>
                    <a:pt x="1171183" y="2490828"/>
                    <a:pt x="1065333" y="2531848"/>
                    <a:pt x="962897" y="2576286"/>
                  </a:cubicBezTo>
                  <a:cubicBezTo>
                    <a:pt x="945824" y="2583123"/>
                    <a:pt x="928751" y="2596796"/>
                    <a:pt x="915093" y="2593378"/>
                  </a:cubicBezTo>
                  <a:cubicBezTo>
                    <a:pt x="843388" y="2572868"/>
                    <a:pt x="775098" y="2552358"/>
                    <a:pt x="706807" y="2531848"/>
                  </a:cubicBezTo>
                  <a:cubicBezTo>
                    <a:pt x="706807" y="2528430"/>
                    <a:pt x="710222" y="2528430"/>
                    <a:pt x="710222" y="2525011"/>
                  </a:cubicBezTo>
                  <a:cubicBezTo>
                    <a:pt x="778512" y="2535266"/>
                    <a:pt x="843388" y="2548940"/>
                    <a:pt x="911679" y="2559195"/>
                  </a:cubicBezTo>
                  <a:cubicBezTo>
                    <a:pt x="911679" y="2555776"/>
                    <a:pt x="911679" y="2552358"/>
                    <a:pt x="915093" y="2552358"/>
                  </a:cubicBezTo>
                  <a:cubicBezTo>
                    <a:pt x="792170" y="2518175"/>
                    <a:pt x="672662" y="2483992"/>
                    <a:pt x="549739" y="2449809"/>
                  </a:cubicBezTo>
                  <a:cubicBezTo>
                    <a:pt x="553153" y="2442972"/>
                    <a:pt x="553153" y="2439554"/>
                    <a:pt x="553153" y="2432717"/>
                  </a:cubicBezTo>
                  <a:cubicBezTo>
                    <a:pt x="703393" y="2460064"/>
                    <a:pt x="853632" y="2483992"/>
                    <a:pt x="1000457" y="2507920"/>
                  </a:cubicBezTo>
                  <a:cubicBezTo>
                    <a:pt x="1003871" y="2504502"/>
                    <a:pt x="1003871" y="2501083"/>
                    <a:pt x="1003871" y="2497665"/>
                  </a:cubicBezTo>
                  <a:cubicBezTo>
                    <a:pt x="826316" y="2456645"/>
                    <a:pt x="648760" y="2415625"/>
                    <a:pt x="471205" y="2374606"/>
                  </a:cubicBezTo>
                  <a:cubicBezTo>
                    <a:pt x="471205" y="2364351"/>
                    <a:pt x="471205" y="2357514"/>
                    <a:pt x="474619" y="2350677"/>
                  </a:cubicBezTo>
                  <a:cubicBezTo>
                    <a:pt x="699978" y="2391697"/>
                    <a:pt x="928751" y="2432717"/>
                    <a:pt x="1157525" y="2470318"/>
                  </a:cubicBezTo>
                  <a:cubicBezTo>
                    <a:pt x="1157525" y="2466900"/>
                    <a:pt x="1157525" y="2460064"/>
                    <a:pt x="1160939" y="2456645"/>
                  </a:cubicBezTo>
                  <a:cubicBezTo>
                    <a:pt x="921922" y="2405371"/>
                    <a:pt x="682905" y="2350677"/>
                    <a:pt x="443888" y="2299403"/>
                  </a:cubicBezTo>
                  <a:close/>
                  <a:moveTo>
                    <a:pt x="430230" y="2220782"/>
                  </a:moveTo>
                  <a:cubicBezTo>
                    <a:pt x="556568" y="2241291"/>
                    <a:pt x="686320" y="2258383"/>
                    <a:pt x="812657" y="2282311"/>
                  </a:cubicBezTo>
                  <a:cubicBezTo>
                    <a:pt x="945824" y="2306239"/>
                    <a:pt x="1078991" y="2333586"/>
                    <a:pt x="1212157" y="2364351"/>
                  </a:cubicBezTo>
                  <a:cubicBezTo>
                    <a:pt x="1331666" y="2388279"/>
                    <a:pt x="1451174" y="2415625"/>
                    <a:pt x="1570683" y="2446390"/>
                  </a:cubicBezTo>
                  <a:cubicBezTo>
                    <a:pt x="1587755" y="2449809"/>
                    <a:pt x="1601414" y="2463482"/>
                    <a:pt x="1615072" y="2473737"/>
                  </a:cubicBezTo>
                  <a:cubicBezTo>
                    <a:pt x="1498978" y="2456645"/>
                    <a:pt x="1386298" y="2429299"/>
                    <a:pt x="1273619" y="2405371"/>
                  </a:cubicBezTo>
                  <a:cubicBezTo>
                    <a:pt x="1150696" y="2378024"/>
                    <a:pt x="1027773" y="2350677"/>
                    <a:pt x="904850" y="2330168"/>
                  </a:cubicBezTo>
                  <a:cubicBezTo>
                    <a:pt x="740952" y="2299403"/>
                    <a:pt x="580470" y="2275475"/>
                    <a:pt x="416572" y="2248128"/>
                  </a:cubicBezTo>
                  <a:cubicBezTo>
                    <a:pt x="406329" y="2248128"/>
                    <a:pt x="396085" y="2237873"/>
                    <a:pt x="389256" y="2231037"/>
                  </a:cubicBezTo>
                  <a:cubicBezTo>
                    <a:pt x="389256" y="2227618"/>
                    <a:pt x="392670" y="2224200"/>
                    <a:pt x="392670" y="2220782"/>
                  </a:cubicBezTo>
                  <a:cubicBezTo>
                    <a:pt x="406329" y="2220782"/>
                    <a:pt x="416572" y="2220782"/>
                    <a:pt x="430230" y="2220782"/>
                  </a:cubicBezTo>
                  <a:close/>
                  <a:moveTo>
                    <a:pt x="379012" y="2155834"/>
                  </a:moveTo>
                  <a:cubicBezTo>
                    <a:pt x="549739" y="2159252"/>
                    <a:pt x="1236059" y="2275475"/>
                    <a:pt x="1345324" y="2357514"/>
                  </a:cubicBezTo>
                  <a:cubicBezTo>
                    <a:pt x="1294106" y="2347259"/>
                    <a:pt x="1242888" y="2333586"/>
                    <a:pt x="1191670" y="2323331"/>
                  </a:cubicBezTo>
                  <a:cubicBezTo>
                    <a:pt x="932166" y="2278893"/>
                    <a:pt x="676076" y="2234455"/>
                    <a:pt x="416572" y="2186598"/>
                  </a:cubicBezTo>
                  <a:cubicBezTo>
                    <a:pt x="402914" y="2183180"/>
                    <a:pt x="385841" y="2176344"/>
                    <a:pt x="372183" y="2169507"/>
                  </a:cubicBezTo>
                  <a:cubicBezTo>
                    <a:pt x="375598" y="2166089"/>
                    <a:pt x="375598" y="2159252"/>
                    <a:pt x="379012" y="2155834"/>
                  </a:cubicBezTo>
                  <a:close/>
                  <a:moveTo>
                    <a:pt x="382427" y="2107977"/>
                  </a:moveTo>
                  <a:cubicBezTo>
                    <a:pt x="614615" y="2125069"/>
                    <a:pt x="843388" y="2159252"/>
                    <a:pt x="1065333" y="2227618"/>
                  </a:cubicBezTo>
                  <a:cubicBezTo>
                    <a:pt x="836559" y="2186598"/>
                    <a:pt x="607786" y="2148997"/>
                    <a:pt x="382427" y="2107977"/>
                  </a:cubicBezTo>
                  <a:close/>
                  <a:moveTo>
                    <a:pt x="711395" y="2093182"/>
                  </a:moveTo>
                  <a:cubicBezTo>
                    <a:pt x="792384" y="2096227"/>
                    <a:pt x="857046" y="2112250"/>
                    <a:pt x="908264" y="2145579"/>
                  </a:cubicBezTo>
                  <a:cubicBezTo>
                    <a:pt x="816072" y="2128487"/>
                    <a:pt x="723880" y="2111396"/>
                    <a:pt x="624858" y="2094304"/>
                  </a:cubicBezTo>
                  <a:cubicBezTo>
                    <a:pt x="655589" y="2092595"/>
                    <a:pt x="684399" y="2092168"/>
                    <a:pt x="711395" y="2093182"/>
                  </a:cubicBezTo>
                  <a:close/>
                  <a:moveTo>
                    <a:pt x="2403971" y="1835073"/>
                  </a:moveTo>
                  <a:cubicBezTo>
                    <a:pt x="2390290" y="1923936"/>
                    <a:pt x="2397131" y="1999128"/>
                    <a:pt x="2468957" y="2060648"/>
                  </a:cubicBezTo>
                  <a:cubicBezTo>
                    <a:pt x="2482638" y="2074320"/>
                    <a:pt x="2496319" y="2094827"/>
                    <a:pt x="2496319" y="2111916"/>
                  </a:cubicBezTo>
                  <a:cubicBezTo>
                    <a:pt x="2503160" y="2217868"/>
                    <a:pt x="2407392" y="2450278"/>
                    <a:pt x="2284261" y="2487874"/>
                  </a:cubicBezTo>
                  <a:cubicBezTo>
                    <a:pt x="2243218" y="2501546"/>
                    <a:pt x="2198754" y="2511799"/>
                    <a:pt x="2157711" y="2525470"/>
                  </a:cubicBezTo>
                  <a:cubicBezTo>
                    <a:pt x="2140610" y="2532306"/>
                    <a:pt x="2126928" y="2542559"/>
                    <a:pt x="2113247" y="2559648"/>
                  </a:cubicBezTo>
                  <a:cubicBezTo>
                    <a:pt x="2205595" y="2552813"/>
                    <a:pt x="2297943" y="2542559"/>
                    <a:pt x="2376609" y="2614333"/>
                  </a:cubicBezTo>
                  <a:cubicBezTo>
                    <a:pt x="2342406" y="2545977"/>
                    <a:pt x="2373189" y="2504963"/>
                    <a:pt x="2417652" y="2467368"/>
                  </a:cubicBezTo>
                  <a:cubicBezTo>
                    <a:pt x="2445015" y="2443443"/>
                    <a:pt x="2462116" y="2409265"/>
                    <a:pt x="2482638" y="2381922"/>
                  </a:cubicBezTo>
                  <a:cubicBezTo>
                    <a:pt x="2551043" y="2293059"/>
                    <a:pt x="2585246" y="2286224"/>
                    <a:pt x="2684435" y="2330655"/>
                  </a:cubicBezTo>
                  <a:cubicBezTo>
                    <a:pt x="2687855" y="2334073"/>
                    <a:pt x="2691275" y="2337491"/>
                    <a:pt x="2704956" y="2340909"/>
                  </a:cubicBezTo>
                  <a:cubicBezTo>
                    <a:pt x="2677594" y="2286224"/>
                    <a:pt x="2636551" y="2265717"/>
                    <a:pt x="2585246" y="2265717"/>
                  </a:cubicBezTo>
                  <a:cubicBezTo>
                    <a:pt x="2533942" y="2265717"/>
                    <a:pt x="2530522" y="2262299"/>
                    <a:pt x="2547623" y="2214450"/>
                  </a:cubicBezTo>
                  <a:cubicBezTo>
                    <a:pt x="2568145" y="2149511"/>
                    <a:pt x="2592087" y="2087991"/>
                    <a:pt x="2612609" y="2029888"/>
                  </a:cubicBezTo>
                  <a:cubicBezTo>
                    <a:pt x="2557884" y="2053813"/>
                    <a:pt x="2503160" y="2033306"/>
                    <a:pt x="2458696" y="1961532"/>
                  </a:cubicBezTo>
                  <a:cubicBezTo>
                    <a:pt x="2438174" y="1920518"/>
                    <a:pt x="2424493" y="1879505"/>
                    <a:pt x="2403971" y="1835073"/>
                  </a:cubicBezTo>
                  <a:close/>
                  <a:moveTo>
                    <a:pt x="104143" y="1358939"/>
                  </a:moveTo>
                  <a:cubicBezTo>
                    <a:pt x="115240" y="1358512"/>
                    <a:pt x="126337" y="1364494"/>
                    <a:pt x="133166" y="1376458"/>
                  </a:cubicBezTo>
                  <a:cubicBezTo>
                    <a:pt x="153654" y="1410641"/>
                    <a:pt x="167312" y="1448243"/>
                    <a:pt x="180970" y="1485844"/>
                  </a:cubicBezTo>
                  <a:cubicBezTo>
                    <a:pt x="201457" y="1540537"/>
                    <a:pt x="215115" y="1598648"/>
                    <a:pt x="242431" y="1646505"/>
                  </a:cubicBezTo>
                  <a:cubicBezTo>
                    <a:pt x="269747" y="1687524"/>
                    <a:pt x="273162" y="1725126"/>
                    <a:pt x="262918" y="1769564"/>
                  </a:cubicBezTo>
                  <a:cubicBezTo>
                    <a:pt x="259504" y="1793492"/>
                    <a:pt x="262918" y="1817420"/>
                    <a:pt x="262918" y="1844767"/>
                  </a:cubicBezTo>
                  <a:cubicBezTo>
                    <a:pt x="266333" y="1844767"/>
                    <a:pt x="273162" y="1844767"/>
                    <a:pt x="276577" y="1844767"/>
                  </a:cubicBezTo>
                  <a:cubicBezTo>
                    <a:pt x="279991" y="1831094"/>
                    <a:pt x="279991" y="1817420"/>
                    <a:pt x="283406" y="1807165"/>
                  </a:cubicBezTo>
                  <a:cubicBezTo>
                    <a:pt x="297064" y="1766146"/>
                    <a:pt x="320965" y="1731963"/>
                    <a:pt x="375598" y="1762727"/>
                  </a:cubicBezTo>
                  <a:cubicBezTo>
                    <a:pt x="437059" y="1796910"/>
                    <a:pt x="505350" y="1820839"/>
                    <a:pt x="577055" y="1776401"/>
                  </a:cubicBezTo>
                  <a:cubicBezTo>
                    <a:pt x="597542" y="1844767"/>
                    <a:pt x="631687" y="1899460"/>
                    <a:pt x="676076" y="1926807"/>
                  </a:cubicBezTo>
                  <a:cubicBezTo>
                    <a:pt x="665833" y="1899460"/>
                    <a:pt x="652175" y="1861859"/>
                    <a:pt x="638517" y="1824257"/>
                  </a:cubicBezTo>
                  <a:cubicBezTo>
                    <a:pt x="594128" y="1690943"/>
                    <a:pt x="672662" y="1574720"/>
                    <a:pt x="816072" y="1578138"/>
                  </a:cubicBezTo>
                  <a:cubicBezTo>
                    <a:pt x="880948" y="1578138"/>
                    <a:pt x="942410" y="1595230"/>
                    <a:pt x="1007286" y="1605485"/>
                  </a:cubicBezTo>
                  <a:cubicBezTo>
                    <a:pt x="1038016" y="1608903"/>
                    <a:pt x="1075576" y="1612322"/>
                    <a:pt x="1099478" y="1629413"/>
                  </a:cubicBezTo>
                  <a:cubicBezTo>
                    <a:pt x="1181427" y="1680688"/>
                    <a:pt x="1256546" y="1687524"/>
                    <a:pt x="1331666" y="1639668"/>
                  </a:cubicBezTo>
                  <a:cubicBezTo>
                    <a:pt x="1283862" y="1632831"/>
                    <a:pt x="1232644" y="1629413"/>
                    <a:pt x="1184841" y="1615740"/>
                  </a:cubicBezTo>
                  <a:cubicBezTo>
                    <a:pt x="1126794" y="1602067"/>
                    <a:pt x="1113136" y="1496099"/>
                    <a:pt x="1157525" y="1461916"/>
                  </a:cubicBezTo>
                  <a:cubicBezTo>
                    <a:pt x="1167768" y="1465334"/>
                    <a:pt x="1178012" y="1472171"/>
                    <a:pt x="1184841" y="1479007"/>
                  </a:cubicBezTo>
                  <a:cubicBezTo>
                    <a:pt x="1222401" y="1516609"/>
                    <a:pt x="1263375" y="1543955"/>
                    <a:pt x="1318008" y="1543955"/>
                  </a:cubicBezTo>
                  <a:cubicBezTo>
                    <a:pt x="1420444" y="1543955"/>
                    <a:pt x="1512636" y="1564465"/>
                    <a:pt x="1584341" y="1646505"/>
                  </a:cubicBezTo>
                  <a:cubicBezTo>
                    <a:pt x="1587755" y="1649923"/>
                    <a:pt x="1597999" y="1653341"/>
                    <a:pt x="1604828" y="1656760"/>
                  </a:cubicBezTo>
                  <a:cubicBezTo>
                    <a:pt x="1652631" y="1677269"/>
                    <a:pt x="1700435" y="1697779"/>
                    <a:pt x="1748238" y="1718289"/>
                  </a:cubicBezTo>
                  <a:cubicBezTo>
                    <a:pt x="1731166" y="1735381"/>
                    <a:pt x="1717507" y="1755891"/>
                    <a:pt x="1700435" y="1776401"/>
                  </a:cubicBezTo>
                  <a:cubicBezTo>
                    <a:pt x="1666290" y="1814002"/>
                    <a:pt x="1642388" y="1820839"/>
                    <a:pt x="1597999" y="1786656"/>
                  </a:cubicBezTo>
                  <a:cubicBezTo>
                    <a:pt x="1533123" y="1731963"/>
                    <a:pt x="1461418" y="1721708"/>
                    <a:pt x="1379469" y="1742217"/>
                  </a:cubicBezTo>
                  <a:cubicBezTo>
                    <a:pt x="1321422" y="1759309"/>
                    <a:pt x="1259961" y="1769564"/>
                    <a:pt x="1201914" y="1776401"/>
                  </a:cubicBezTo>
                  <a:cubicBezTo>
                    <a:pt x="1089234" y="1796910"/>
                    <a:pt x="976555" y="1786656"/>
                    <a:pt x="870704" y="1745636"/>
                  </a:cubicBezTo>
                  <a:cubicBezTo>
                    <a:pt x="867290" y="1749054"/>
                    <a:pt x="867290" y="1752472"/>
                    <a:pt x="863875" y="1755891"/>
                  </a:cubicBezTo>
                  <a:cubicBezTo>
                    <a:pt x="884363" y="1776401"/>
                    <a:pt x="904850" y="1800329"/>
                    <a:pt x="921922" y="1817420"/>
                  </a:cubicBezTo>
                  <a:cubicBezTo>
                    <a:pt x="918508" y="1851604"/>
                    <a:pt x="915093" y="1878950"/>
                    <a:pt x="911679" y="1906297"/>
                  </a:cubicBezTo>
                  <a:cubicBezTo>
                    <a:pt x="915093" y="1909715"/>
                    <a:pt x="918508" y="1909715"/>
                    <a:pt x="921922" y="1909715"/>
                  </a:cubicBezTo>
                  <a:cubicBezTo>
                    <a:pt x="959482" y="1855022"/>
                    <a:pt x="1007286" y="1837931"/>
                    <a:pt x="1075576" y="1844767"/>
                  </a:cubicBezTo>
                  <a:cubicBezTo>
                    <a:pt x="1123380" y="1848186"/>
                    <a:pt x="1174597" y="1841349"/>
                    <a:pt x="1222401" y="1834512"/>
                  </a:cubicBezTo>
                  <a:cubicBezTo>
                    <a:pt x="1294106" y="1824257"/>
                    <a:pt x="1369226" y="1807165"/>
                    <a:pt x="1440931" y="1796910"/>
                  </a:cubicBezTo>
                  <a:cubicBezTo>
                    <a:pt x="1522879" y="1783237"/>
                    <a:pt x="1625315" y="1868695"/>
                    <a:pt x="1635559" y="1947317"/>
                  </a:cubicBezTo>
                  <a:cubicBezTo>
                    <a:pt x="1649217" y="2066958"/>
                    <a:pt x="1717507" y="2118232"/>
                    <a:pt x="1833601" y="2097722"/>
                  </a:cubicBezTo>
                  <a:cubicBezTo>
                    <a:pt x="1877990" y="2090886"/>
                    <a:pt x="1918965" y="2073794"/>
                    <a:pt x="1963353" y="2094304"/>
                  </a:cubicBezTo>
                  <a:cubicBezTo>
                    <a:pt x="1970183" y="2094304"/>
                    <a:pt x="1977012" y="2090886"/>
                    <a:pt x="1990670" y="2087467"/>
                  </a:cubicBezTo>
                  <a:cubicBezTo>
                    <a:pt x="1932623" y="2049866"/>
                    <a:pt x="1918965" y="2005428"/>
                    <a:pt x="1939452" y="1947317"/>
                  </a:cubicBezTo>
                  <a:cubicBezTo>
                    <a:pt x="1922379" y="1964408"/>
                    <a:pt x="1905307" y="1981500"/>
                    <a:pt x="1898477" y="2002010"/>
                  </a:cubicBezTo>
                  <a:cubicBezTo>
                    <a:pt x="1877990" y="2046448"/>
                    <a:pt x="1840430" y="2046448"/>
                    <a:pt x="1799456" y="2049866"/>
                  </a:cubicBezTo>
                  <a:cubicBezTo>
                    <a:pt x="1768725" y="2049866"/>
                    <a:pt x="1727751" y="2046448"/>
                    <a:pt x="1720922" y="2008846"/>
                  </a:cubicBezTo>
                  <a:cubicBezTo>
                    <a:pt x="1710678" y="1971245"/>
                    <a:pt x="1703849" y="1926807"/>
                    <a:pt x="1710678" y="1889205"/>
                  </a:cubicBezTo>
                  <a:cubicBezTo>
                    <a:pt x="1734580" y="1776401"/>
                    <a:pt x="1871161" y="1673851"/>
                    <a:pt x="2038473" y="1694361"/>
                  </a:cubicBezTo>
                  <a:cubicBezTo>
                    <a:pt x="2181884" y="1711453"/>
                    <a:pt x="2239931" y="1766146"/>
                    <a:pt x="2246760" y="1892624"/>
                  </a:cubicBezTo>
                  <a:cubicBezTo>
                    <a:pt x="2246760" y="1902879"/>
                    <a:pt x="2250174" y="1913133"/>
                    <a:pt x="2253589" y="1923388"/>
                  </a:cubicBezTo>
                  <a:cubicBezTo>
                    <a:pt x="2270661" y="1954153"/>
                    <a:pt x="2287734" y="1984918"/>
                    <a:pt x="2304807" y="2015683"/>
                  </a:cubicBezTo>
                  <a:cubicBezTo>
                    <a:pt x="2308221" y="2015683"/>
                    <a:pt x="2308221" y="2012265"/>
                    <a:pt x="2311636" y="2008846"/>
                  </a:cubicBezTo>
                  <a:cubicBezTo>
                    <a:pt x="2304807" y="1923388"/>
                    <a:pt x="2294563" y="1837931"/>
                    <a:pt x="2287734" y="1752472"/>
                  </a:cubicBezTo>
                  <a:cubicBezTo>
                    <a:pt x="2455046" y="1742217"/>
                    <a:pt x="2577969" y="1766146"/>
                    <a:pt x="2612114" y="1820839"/>
                  </a:cubicBezTo>
                  <a:cubicBezTo>
                    <a:pt x="2605285" y="1831094"/>
                    <a:pt x="2598456" y="1837931"/>
                    <a:pt x="2588212" y="1851604"/>
                  </a:cubicBezTo>
                  <a:cubicBezTo>
                    <a:pt x="2680405" y="1841349"/>
                    <a:pt x="2731623" y="1861859"/>
                    <a:pt x="2755524" y="1919970"/>
                  </a:cubicBezTo>
                  <a:cubicBezTo>
                    <a:pt x="2793084" y="2019101"/>
                    <a:pt x="2745281" y="2090886"/>
                    <a:pt x="2659918" y="2145579"/>
                  </a:cubicBezTo>
                  <a:cubicBezTo>
                    <a:pt x="2735037" y="2159252"/>
                    <a:pt x="2772597" y="2104559"/>
                    <a:pt x="2820400" y="2070376"/>
                  </a:cubicBezTo>
                  <a:cubicBezTo>
                    <a:pt x="2895520" y="2179762"/>
                    <a:pt x="2840888" y="2360932"/>
                    <a:pt x="2704306" y="2466900"/>
                  </a:cubicBezTo>
                  <a:cubicBezTo>
                    <a:pt x="2622358" y="2415625"/>
                    <a:pt x="2560896" y="2419044"/>
                    <a:pt x="2502849" y="2477155"/>
                  </a:cubicBezTo>
                  <a:cubicBezTo>
                    <a:pt x="2533580" y="2477155"/>
                    <a:pt x="2564311" y="2473737"/>
                    <a:pt x="2591627" y="2477155"/>
                  </a:cubicBezTo>
                  <a:cubicBezTo>
                    <a:pt x="2608700" y="2480573"/>
                    <a:pt x="2636016" y="2490828"/>
                    <a:pt x="2639430" y="2501083"/>
                  </a:cubicBezTo>
                  <a:cubicBezTo>
                    <a:pt x="2646259" y="2521593"/>
                    <a:pt x="2642845" y="2552358"/>
                    <a:pt x="2632601" y="2566031"/>
                  </a:cubicBezTo>
                  <a:cubicBezTo>
                    <a:pt x="2601871" y="2596796"/>
                    <a:pt x="2567725" y="2624143"/>
                    <a:pt x="2530165" y="2641234"/>
                  </a:cubicBezTo>
                  <a:cubicBezTo>
                    <a:pt x="2407242" y="2689090"/>
                    <a:pt x="2280905" y="2709600"/>
                    <a:pt x="2151153" y="2695927"/>
                  </a:cubicBezTo>
                  <a:cubicBezTo>
                    <a:pt x="2065789" y="2685672"/>
                    <a:pt x="1983841" y="2658326"/>
                    <a:pt x="1956524" y="2562613"/>
                  </a:cubicBezTo>
                  <a:cubicBezTo>
                    <a:pt x="1946281" y="2518175"/>
                    <a:pt x="1953110" y="2463482"/>
                    <a:pt x="1959939" y="2412207"/>
                  </a:cubicBezTo>
                  <a:cubicBezTo>
                    <a:pt x="1966768" y="2337004"/>
                    <a:pt x="2000913" y="2323331"/>
                    <a:pt x="2069204" y="2364351"/>
                  </a:cubicBezTo>
                  <a:cubicBezTo>
                    <a:pt x="2082862" y="2371187"/>
                    <a:pt x="2096520" y="2378024"/>
                    <a:pt x="2113593" y="2384861"/>
                  </a:cubicBezTo>
                  <a:cubicBezTo>
                    <a:pt x="2147738" y="2405371"/>
                    <a:pt x="2178469" y="2391697"/>
                    <a:pt x="2198956" y="2371187"/>
                  </a:cubicBezTo>
                  <a:cubicBezTo>
                    <a:pt x="2161396" y="2350677"/>
                    <a:pt x="2117008" y="2337004"/>
                    <a:pt x="2082862" y="2313076"/>
                  </a:cubicBezTo>
                  <a:cubicBezTo>
                    <a:pt x="2041888" y="2289148"/>
                    <a:pt x="2004328" y="2272056"/>
                    <a:pt x="1953110" y="2292566"/>
                  </a:cubicBezTo>
                  <a:cubicBezTo>
                    <a:pt x="1953110" y="2237873"/>
                    <a:pt x="1987255" y="2210527"/>
                    <a:pt x="2024815" y="2203690"/>
                  </a:cubicBezTo>
                  <a:cubicBezTo>
                    <a:pt x="2076033" y="2193435"/>
                    <a:pt x="2134080" y="2190017"/>
                    <a:pt x="2188713" y="2196853"/>
                  </a:cubicBezTo>
                  <a:cubicBezTo>
                    <a:pt x="2246760" y="2203690"/>
                    <a:pt x="2287734" y="2241291"/>
                    <a:pt x="2318465" y="2306239"/>
                  </a:cubicBezTo>
                  <a:cubicBezTo>
                    <a:pt x="2332123" y="2193435"/>
                    <a:pt x="2260418" y="2152415"/>
                    <a:pt x="2188713" y="2111396"/>
                  </a:cubicBezTo>
                  <a:cubicBezTo>
                    <a:pt x="2188713" y="2104559"/>
                    <a:pt x="2188713" y="2104559"/>
                    <a:pt x="2188713" y="2101141"/>
                  </a:cubicBezTo>
                  <a:cubicBezTo>
                    <a:pt x="2202371" y="1967826"/>
                    <a:pt x="2161396" y="1902879"/>
                    <a:pt x="2069204" y="1882369"/>
                  </a:cubicBezTo>
                  <a:cubicBezTo>
                    <a:pt x="2041888" y="1875532"/>
                    <a:pt x="2014571" y="1851604"/>
                    <a:pt x="1977012" y="1824257"/>
                  </a:cubicBezTo>
                  <a:cubicBezTo>
                    <a:pt x="1994084" y="1855022"/>
                    <a:pt x="2000913" y="1875532"/>
                    <a:pt x="2014571" y="1889205"/>
                  </a:cubicBezTo>
                  <a:cubicBezTo>
                    <a:pt x="2028230" y="1906297"/>
                    <a:pt x="2048717" y="1919970"/>
                    <a:pt x="2069204" y="1933643"/>
                  </a:cubicBezTo>
                  <a:cubicBezTo>
                    <a:pt x="2130666" y="1964408"/>
                    <a:pt x="2134080" y="2022520"/>
                    <a:pt x="2123837" y="2080631"/>
                  </a:cubicBezTo>
                  <a:cubicBezTo>
                    <a:pt x="2117008" y="2128487"/>
                    <a:pt x="2069204" y="2138742"/>
                    <a:pt x="2028230" y="2148997"/>
                  </a:cubicBezTo>
                  <a:cubicBezTo>
                    <a:pt x="1994084" y="2155834"/>
                    <a:pt x="1956524" y="2155834"/>
                    <a:pt x="1922379" y="2159252"/>
                  </a:cubicBezTo>
                  <a:cubicBezTo>
                    <a:pt x="1864332" y="2166089"/>
                    <a:pt x="1809700" y="2166089"/>
                    <a:pt x="1751653" y="2176344"/>
                  </a:cubicBezTo>
                  <a:cubicBezTo>
                    <a:pt x="1659460" y="2193435"/>
                    <a:pt x="1635559" y="2186598"/>
                    <a:pt x="1597999" y="2097722"/>
                  </a:cubicBezTo>
                  <a:cubicBezTo>
                    <a:pt x="1580926" y="2063539"/>
                    <a:pt x="1560439" y="2043029"/>
                    <a:pt x="1533123" y="2039611"/>
                  </a:cubicBezTo>
                  <a:cubicBezTo>
                    <a:pt x="1529708" y="2066958"/>
                    <a:pt x="1533123" y="2101141"/>
                    <a:pt x="1519465" y="2118232"/>
                  </a:cubicBezTo>
                  <a:cubicBezTo>
                    <a:pt x="1505807" y="2131905"/>
                    <a:pt x="1468247" y="2125069"/>
                    <a:pt x="1444345" y="2114814"/>
                  </a:cubicBezTo>
                  <a:cubicBezTo>
                    <a:pt x="1427273" y="2111396"/>
                    <a:pt x="1413614" y="2090886"/>
                    <a:pt x="1403371" y="2073794"/>
                  </a:cubicBezTo>
                  <a:cubicBezTo>
                    <a:pt x="1379469" y="2043029"/>
                    <a:pt x="1355567" y="2005428"/>
                    <a:pt x="1335080" y="1974663"/>
                  </a:cubicBezTo>
                  <a:cubicBezTo>
                    <a:pt x="1318008" y="1991755"/>
                    <a:pt x="1307764" y="2005428"/>
                    <a:pt x="1294106" y="2012265"/>
                  </a:cubicBezTo>
                  <a:cubicBezTo>
                    <a:pt x="1273619" y="2022520"/>
                    <a:pt x="1249717" y="2025938"/>
                    <a:pt x="1229230" y="2036193"/>
                  </a:cubicBezTo>
                  <a:cubicBezTo>
                    <a:pt x="1174597" y="2070376"/>
                    <a:pt x="1119965" y="2063539"/>
                    <a:pt x="1065333" y="2039611"/>
                  </a:cubicBezTo>
                  <a:cubicBezTo>
                    <a:pt x="1041431" y="2029356"/>
                    <a:pt x="1014115" y="2025938"/>
                    <a:pt x="986798" y="2019101"/>
                  </a:cubicBezTo>
                  <a:cubicBezTo>
                    <a:pt x="1020944" y="2049866"/>
                    <a:pt x="1055089" y="2073794"/>
                    <a:pt x="1085820" y="2101141"/>
                  </a:cubicBezTo>
                  <a:cubicBezTo>
                    <a:pt x="1123380" y="2131905"/>
                    <a:pt x="1160939" y="2128487"/>
                    <a:pt x="1198499" y="2114814"/>
                  </a:cubicBezTo>
                  <a:cubicBezTo>
                    <a:pt x="1229230" y="2104559"/>
                    <a:pt x="1256546" y="2090886"/>
                    <a:pt x="1287277" y="2084049"/>
                  </a:cubicBezTo>
                  <a:cubicBezTo>
                    <a:pt x="1324837" y="2070376"/>
                    <a:pt x="1369226" y="2101141"/>
                    <a:pt x="1386298" y="2145579"/>
                  </a:cubicBezTo>
                  <a:cubicBezTo>
                    <a:pt x="1403371" y="2190017"/>
                    <a:pt x="1362397" y="2183180"/>
                    <a:pt x="1335080" y="2203690"/>
                  </a:cubicBezTo>
                  <a:cubicBezTo>
                    <a:pt x="1365811" y="2207108"/>
                    <a:pt x="1386298" y="2210527"/>
                    <a:pt x="1403371" y="2207108"/>
                  </a:cubicBezTo>
                  <a:cubicBezTo>
                    <a:pt x="1440931" y="2200272"/>
                    <a:pt x="1478490" y="2186598"/>
                    <a:pt x="1516050" y="2172925"/>
                  </a:cubicBezTo>
                  <a:cubicBezTo>
                    <a:pt x="1546781" y="2159252"/>
                    <a:pt x="1570683" y="2166089"/>
                    <a:pt x="1591170" y="2193435"/>
                  </a:cubicBezTo>
                  <a:cubicBezTo>
                    <a:pt x="1618486" y="2237873"/>
                    <a:pt x="1659460" y="2251546"/>
                    <a:pt x="1707264" y="2244710"/>
                  </a:cubicBezTo>
                  <a:cubicBezTo>
                    <a:pt x="1734580" y="2237873"/>
                    <a:pt x="1758482" y="2231037"/>
                    <a:pt x="1785798" y="2231037"/>
                  </a:cubicBezTo>
                  <a:cubicBezTo>
                    <a:pt x="1826772" y="2224200"/>
                    <a:pt x="1860918" y="2237873"/>
                    <a:pt x="1881405" y="2278893"/>
                  </a:cubicBezTo>
                  <a:cubicBezTo>
                    <a:pt x="1912136" y="2347259"/>
                    <a:pt x="1912136" y="2419044"/>
                    <a:pt x="1891648" y="2490828"/>
                  </a:cubicBezTo>
                  <a:cubicBezTo>
                    <a:pt x="1877990" y="2535266"/>
                    <a:pt x="1850674" y="2548940"/>
                    <a:pt x="1813114" y="2525011"/>
                  </a:cubicBezTo>
                  <a:cubicBezTo>
                    <a:pt x="1758482" y="2487410"/>
                    <a:pt x="1703849" y="2449809"/>
                    <a:pt x="1656046" y="2408789"/>
                  </a:cubicBezTo>
                  <a:cubicBezTo>
                    <a:pt x="1611657" y="2371187"/>
                    <a:pt x="1615072" y="2347259"/>
                    <a:pt x="1656046" y="2306239"/>
                  </a:cubicBezTo>
                  <a:cubicBezTo>
                    <a:pt x="1498978" y="2316494"/>
                    <a:pt x="1341909" y="2337004"/>
                    <a:pt x="1222401" y="2210527"/>
                  </a:cubicBezTo>
                  <a:cubicBezTo>
                    <a:pt x="1198499" y="2210527"/>
                    <a:pt x="1178012" y="2220782"/>
                    <a:pt x="1160939" y="2213945"/>
                  </a:cubicBezTo>
                  <a:cubicBezTo>
                    <a:pt x="1075576" y="2186598"/>
                    <a:pt x="993627" y="2152415"/>
                    <a:pt x="932166" y="2084049"/>
                  </a:cubicBezTo>
                  <a:cubicBezTo>
                    <a:pt x="884363" y="2036193"/>
                    <a:pt x="846803" y="1981500"/>
                    <a:pt x="795585" y="1919970"/>
                  </a:cubicBezTo>
                  <a:cubicBezTo>
                    <a:pt x="798999" y="1943898"/>
                    <a:pt x="795585" y="1964408"/>
                    <a:pt x="802414" y="1978081"/>
                  </a:cubicBezTo>
                  <a:cubicBezTo>
                    <a:pt x="819487" y="2019101"/>
                    <a:pt x="802414" y="2032774"/>
                    <a:pt x="764854" y="2036193"/>
                  </a:cubicBezTo>
                  <a:cubicBezTo>
                    <a:pt x="679491" y="2046448"/>
                    <a:pt x="600957" y="2029356"/>
                    <a:pt x="529252" y="1981500"/>
                  </a:cubicBezTo>
                  <a:cubicBezTo>
                    <a:pt x="478034" y="1943898"/>
                    <a:pt x="433645" y="1899460"/>
                    <a:pt x="385841" y="1861859"/>
                  </a:cubicBezTo>
                  <a:cubicBezTo>
                    <a:pt x="361940" y="1919970"/>
                    <a:pt x="409743" y="1957572"/>
                    <a:pt x="440474" y="2002010"/>
                  </a:cubicBezTo>
                  <a:cubicBezTo>
                    <a:pt x="437059" y="2005428"/>
                    <a:pt x="433645" y="2012265"/>
                    <a:pt x="430230" y="2012265"/>
                  </a:cubicBezTo>
                  <a:cubicBezTo>
                    <a:pt x="423401" y="2015683"/>
                    <a:pt x="416572" y="2015683"/>
                    <a:pt x="413158" y="2015683"/>
                  </a:cubicBezTo>
                  <a:cubicBezTo>
                    <a:pt x="317551" y="2019101"/>
                    <a:pt x="232188" y="1995173"/>
                    <a:pt x="163897" y="1926807"/>
                  </a:cubicBezTo>
                  <a:cubicBezTo>
                    <a:pt x="95607" y="1861859"/>
                    <a:pt x="102436" y="1803747"/>
                    <a:pt x="174141" y="1735381"/>
                  </a:cubicBezTo>
                  <a:cubicBezTo>
                    <a:pt x="139995" y="1738799"/>
                    <a:pt x="109265" y="1742217"/>
                    <a:pt x="68290" y="1749054"/>
                  </a:cubicBezTo>
                  <a:cubicBezTo>
                    <a:pt x="78534" y="1701198"/>
                    <a:pt x="88777" y="1649923"/>
                    <a:pt x="99021" y="1598648"/>
                  </a:cubicBezTo>
                  <a:cubicBezTo>
                    <a:pt x="61461" y="1612322"/>
                    <a:pt x="51218" y="1605485"/>
                    <a:pt x="44389" y="1567883"/>
                  </a:cubicBezTo>
                  <a:cubicBezTo>
                    <a:pt x="30731" y="1502936"/>
                    <a:pt x="47803" y="1437988"/>
                    <a:pt x="75119" y="1379876"/>
                  </a:cubicBezTo>
                  <a:cubicBezTo>
                    <a:pt x="81948" y="1366203"/>
                    <a:pt x="93046" y="1359367"/>
                    <a:pt x="104143" y="1358939"/>
                  </a:cubicBezTo>
                  <a:close/>
                  <a:moveTo>
                    <a:pt x="419987" y="689377"/>
                  </a:moveTo>
                  <a:cubicBezTo>
                    <a:pt x="443888" y="709887"/>
                    <a:pt x="454132" y="723560"/>
                    <a:pt x="430230" y="750907"/>
                  </a:cubicBezTo>
                  <a:cubicBezTo>
                    <a:pt x="402914" y="785090"/>
                    <a:pt x="382427" y="826110"/>
                    <a:pt x="358525" y="863711"/>
                  </a:cubicBezTo>
                  <a:cubicBezTo>
                    <a:pt x="310722" y="932077"/>
                    <a:pt x="286820" y="1014117"/>
                    <a:pt x="221944" y="1072228"/>
                  </a:cubicBezTo>
                  <a:cubicBezTo>
                    <a:pt x="191213" y="1099575"/>
                    <a:pt x="187799" y="1133758"/>
                    <a:pt x="218530" y="1171359"/>
                  </a:cubicBezTo>
                  <a:cubicBezTo>
                    <a:pt x="225359" y="1154268"/>
                    <a:pt x="228773" y="1137176"/>
                    <a:pt x="239017" y="1116666"/>
                  </a:cubicBezTo>
                  <a:cubicBezTo>
                    <a:pt x="273162" y="1208961"/>
                    <a:pt x="208286" y="1260235"/>
                    <a:pt x="170726" y="1321765"/>
                  </a:cubicBezTo>
                  <a:cubicBezTo>
                    <a:pt x="136581" y="1294418"/>
                    <a:pt x="129752" y="1256817"/>
                    <a:pt x="139995" y="1219216"/>
                  </a:cubicBezTo>
                  <a:cubicBezTo>
                    <a:pt x="167312" y="1133758"/>
                    <a:pt x="194628" y="1048300"/>
                    <a:pt x="232188" y="966260"/>
                  </a:cubicBezTo>
                  <a:cubicBezTo>
                    <a:pt x="276577" y="867129"/>
                    <a:pt x="331209" y="767998"/>
                    <a:pt x="419987" y="689377"/>
                  </a:cubicBezTo>
                  <a:close/>
                  <a:moveTo>
                    <a:pt x="2956981" y="518461"/>
                  </a:moveTo>
                  <a:cubicBezTo>
                    <a:pt x="3045759" y="559481"/>
                    <a:pt x="3141366" y="593664"/>
                    <a:pt x="3213071" y="679122"/>
                  </a:cubicBezTo>
                  <a:cubicBezTo>
                    <a:pt x="3137951" y="713305"/>
                    <a:pt x="3076490" y="692795"/>
                    <a:pt x="3011614" y="679122"/>
                  </a:cubicBezTo>
                  <a:cubicBezTo>
                    <a:pt x="3042345" y="703050"/>
                    <a:pt x="3079904" y="723560"/>
                    <a:pt x="3110635" y="747488"/>
                  </a:cubicBezTo>
                  <a:cubicBezTo>
                    <a:pt x="3168682" y="788508"/>
                    <a:pt x="3230144" y="829528"/>
                    <a:pt x="3277947" y="880803"/>
                  </a:cubicBezTo>
                  <a:cubicBezTo>
                    <a:pt x="3325751" y="935496"/>
                    <a:pt x="3288191" y="1010698"/>
                    <a:pt x="3216486" y="1017535"/>
                  </a:cubicBezTo>
                  <a:cubicBezTo>
                    <a:pt x="3195998" y="1020953"/>
                    <a:pt x="3172097" y="1020953"/>
                    <a:pt x="3148195" y="1017535"/>
                  </a:cubicBezTo>
                  <a:cubicBezTo>
                    <a:pt x="3076490" y="1007280"/>
                    <a:pt x="3001370" y="997025"/>
                    <a:pt x="2929665" y="990189"/>
                  </a:cubicBezTo>
                  <a:cubicBezTo>
                    <a:pt x="2881862" y="983352"/>
                    <a:pt x="2837473" y="986770"/>
                    <a:pt x="2810157" y="1031208"/>
                  </a:cubicBezTo>
                  <a:cubicBezTo>
                    <a:pt x="2789670" y="1068810"/>
                    <a:pt x="2799913" y="1130339"/>
                    <a:pt x="2840888" y="1167941"/>
                  </a:cubicBezTo>
                  <a:cubicBezTo>
                    <a:pt x="2892105" y="1208961"/>
                    <a:pt x="2950152" y="1249980"/>
                    <a:pt x="3011614" y="1273909"/>
                  </a:cubicBezTo>
                  <a:cubicBezTo>
                    <a:pt x="3124293" y="1321765"/>
                    <a:pt x="3219900" y="1376458"/>
                    <a:pt x="3277947" y="1489262"/>
                  </a:cubicBezTo>
                  <a:cubicBezTo>
                    <a:pt x="3281362" y="1489262"/>
                    <a:pt x="3284776" y="1485844"/>
                    <a:pt x="3288191" y="1482426"/>
                  </a:cubicBezTo>
                  <a:cubicBezTo>
                    <a:pt x="3271118" y="1448243"/>
                    <a:pt x="3254045" y="1410641"/>
                    <a:pt x="3233558" y="1376458"/>
                  </a:cubicBezTo>
                  <a:cubicBezTo>
                    <a:pt x="3175511" y="1287582"/>
                    <a:pt x="3083319" y="1239725"/>
                    <a:pt x="2987712" y="1195287"/>
                  </a:cubicBezTo>
                  <a:cubicBezTo>
                    <a:pt x="2946738" y="1178196"/>
                    <a:pt x="2909178" y="1147431"/>
                    <a:pt x="2875033" y="1116666"/>
                  </a:cubicBezTo>
                  <a:cubicBezTo>
                    <a:pt x="2864789" y="1106411"/>
                    <a:pt x="2864789" y="1079065"/>
                    <a:pt x="2868204" y="1065391"/>
                  </a:cubicBezTo>
                  <a:cubicBezTo>
                    <a:pt x="2875033" y="1055137"/>
                    <a:pt x="2895520" y="1048300"/>
                    <a:pt x="2909178" y="1044882"/>
                  </a:cubicBezTo>
                  <a:cubicBezTo>
                    <a:pt x="2922836" y="1041463"/>
                    <a:pt x="2936494" y="1044882"/>
                    <a:pt x="2950152" y="1044882"/>
                  </a:cubicBezTo>
                  <a:cubicBezTo>
                    <a:pt x="3114050" y="1061973"/>
                    <a:pt x="3274533" y="1102993"/>
                    <a:pt x="3417943" y="1178196"/>
                  </a:cubicBezTo>
                  <a:cubicBezTo>
                    <a:pt x="3493062" y="1212379"/>
                    <a:pt x="3554524" y="1270490"/>
                    <a:pt x="3615985" y="1325183"/>
                  </a:cubicBezTo>
                  <a:cubicBezTo>
                    <a:pt x="3636473" y="1342275"/>
                    <a:pt x="3643302" y="1386713"/>
                    <a:pt x="3636473" y="1414059"/>
                  </a:cubicBezTo>
                  <a:cubicBezTo>
                    <a:pt x="3633058" y="1427733"/>
                    <a:pt x="3592084" y="1437988"/>
                    <a:pt x="3578426" y="1444824"/>
                  </a:cubicBezTo>
                  <a:cubicBezTo>
                    <a:pt x="3609156" y="1475589"/>
                    <a:pt x="3656960" y="1509772"/>
                    <a:pt x="3684276" y="1554210"/>
                  </a:cubicBezTo>
                  <a:cubicBezTo>
                    <a:pt x="3718421" y="1605485"/>
                    <a:pt x="3701349" y="1663596"/>
                    <a:pt x="3677447" y="1704616"/>
                  </a:cubicBezTo>
                  <a:cubicBezTo>
                    <a:pt x="3687690" y="1735381"/>
                    <a:pt x="3701349" y="1759309"/>
                    <a:pt x="3697934" y="1783237"/>
                  </a:cubicBezTo>
                  <a:cubicBezTo>
                    <a:pt x="3687690" y="1855022"/>
                    <a:pt x="3677447" y="1930225"/>
                    <a:pt x="3653545" y="1998591"/>
                  </a:cubicBezTo>
                  <a:cubicBezTo>
                    <a:pt x="3612571" y="2114814"/>
                    <a:pt x="3530622" y="2200272"/>
                    <a:pt x="3411114" y="2248128"/>
                  </a:cubicBezTo>
                  <a:cubicBezTo>
                    <a:pt x="3277947" y="2299403"/>
                    <a:pt x="3141366" y="2282311"/>
                    <a:pt x="3008199" y="2251546"/>
                  </a:cubicBezTo>
                  <a:cubicBezTo>
                    <a:pt x="2980883" y="2244710"/>
                    <a:pt x="2956981" y="2224200"/>
                    <a:pt x="2933080" y="2207108"/>
                  </a:cubicBezTo>
                  <a:cubicBezTo>
                    <a:pt x="2936494" y="2203690"/>
                    <a:pt x="2936494" y="2196853"/>
                    <a:pt x="2939909" y="2190017"/>
                  </a:cubicBezTo>
                  <a:cubicBezTo>
                    <a:pt x="2967225" y="2186598"/>
                    <a:pt x="2994541" y="2186598"/>
                    <a:pt x="3025272" y="2186598"/>
                  </a:cubicBezTo>
                  <a:cubicBezTo>
                    <a:pt x="3083319" y="2186598"/>
                    <a:pt x="3144781" y="2169507"/>
                    <a:pt x="3199413" y="2213945"/>
                  </a:cubicBezTo>
                  <a:cubicBezTo>
                    <a:pt x="3213071" y="2231037"/>
                    <a:pt x="3247216" y="2220782"/>
                    <a:pt x="3277947" y="2224200"/>
                  </a:cubicBezTo>
                  <a:cubicBezTo>
                    <a:pt x="3250631" y="2200272"/>
                    <a:pt x="3230144" y="2179762"/>
                    <a:pt x="3209657" y="2162670"/>
                  </a:cubicBezTo>
                  <a:cubicBezTo>
                    <a:pt x="3233558" y="2148997"/>
                    <a:pt x="3254045" y="2145579"/>
                    <a:pt x="3274533" y="2145579"/>
                  </a:cubicBezTo>
                  <a:cubicBezTo>
                    <a:pt x="3329165" y="2145579"/>
                    <a:pt x="3383797" y="2145579"/>
                    <a:pt x="3435015" y="2138742"/>
                  </a:cubicBezTo>
                  <a:cubicBezTo>
                    <a:pt x="3510135" y="2131905"/>
                    <a:pt x="3564767" y="2077213"/>
                    <a:pt x="3575011" y="2005428"/>
                  </a:cubicBezTo>
                  <a:cubicBezTo>
                    <a:pt x="3516964" y="2053284"/>
                    <a:pt x="3458917" y="2094304"/>
                    <a:pt x="3380383" y="2084049"/>
                  </a:cubicBezTo>
                  <a:cubicBezTo>
                    <a:pt x="3414528" y="2039611"/>
                    <a:pt x="3448674" y="1998591"/>
                    <a:pt x="3479404" y="1960990"/>
                  </a:cubicBezTo>
                  <a:cubicBezTo>
                    <a:pt x="3475990" y="1957572"/>
                    <a:pt x="3475990" y="1954153"/>
                    <a:pt x="3472575" y="1950735"/>
                  </a:cubicBezTo>
                  <a:cubicBezTo>
                    <a:pt x="3325751" y="2073794"/>
                    <a:pt x="3155024" y="2125069"/>
                    <a:pt x="2967225" y="2128487"/>
                  </a:cubicBezTo>
                  <a:cubicBezTo>
                    <a:pt x="2929665" y="2128487"/>
                    <a:pt x="2905764" y="2111396"/>
                    <a:pt x="2892105" y="2080631"/>
                  </a:cubicBezTo>
                  <a:cubicBezTo>
                    <a:pt x="2871618" y="2043029"/>
                    <a:pt x="2851131" y="2005428"/>
                    <a:pt x="2837473" y="1964408"/>
                  </a:cubicBezTo>
                  <a:cubicBezTo>
                    <a:pt x="2813571" y="1885787"/>
                    <a:pt x="2769182" y="1831094"/>
                    <a:pt x="2700892" y="1790074"/>
                  </a:cubicBezTo>
                  <a:cubicBezTo>
                    <a:pt x="2690648" y="1783237"/>
                    <a:pt x="2683819" y="1769564"/>
                    <a:pt x="2673576" y="1759309"/>
                  </a:cubicBezTo>
                  <a:cubicBezTo>
                    <a:pt x="2813571" y="1762727"/>
                    <a:pt x="2943323" y="1766146"/>
                    <a:pt x="3076490" y="1769564"/>
                  </a:cubicBezTo>
                  <a:cubicBezTo>
                    <a:pt x="3021858" y="1735381"/>
                    <a:pt x="2984298" y="1694361"/>
                    <a:pt x="3021858" y="1619158"/>
                  </a:cubicBezTo>
                  <a:cubicBezTo>
                    <a:pt x="2984298" y="1653341"/>
                    <a:pt x="2956981" y="1690943"/>
                    <a:pt x="2919422" y="1708034"/>
                  </a:cubicBezTo>
                  <a:cubicBezTo>
                    <a:pt x="2881862" y="1721708"/>
                    <a:pt x="2837473" y="1721708"/>
                    <a:pt x="2796499" y="1718289"/>
                  </a:cubicBezTo>
                  <a:cubicBezTo>
                    <a:pt x="2755524" y="1718289"/>
                    <a:pt x="2711135" y="1718289"/>
                    <a:pt x="2680405" y="1684106"/>
                  </a:cubicBezTo>
                  <a:cubicBezTo>
                    <a:pt x="2721379" y="1667015"/>
                    <a:pt x="2758939" y="1653341"/>
                    <a:pt x="2772597" y="1598648"/>
                  </a:cubicBezTo>
                  <a:cubicBezTo>
                    <a:pt x="2755524" y="1608903"/>
                    <a:pt x="2745281" y="1619158"/>
                    <a:pt x="2735037" y="1619158"/>
                  </a:cubicBezTo>
                  <a:cubicBezTo>
                    <a:pt x="2717965" y="1622576"/>
                    <a:pt x="2690648" y="1625995"/>
                    <a:pt x="2680405" y="1615740"/>
                  </a:cubicBezTo>
                  <a:cubicBezTo>
                    <a:pt x="2659918" y="1595230"/>
                    <a:pt x="2636016" y="1561047"/>
                    <a:pt x="2639430" y="1537119"/>
                  </a:cubicBezTo>
                  <a:cubicBezTo>
                    <a:pt x="2653088" y="1465334"/>
                    <a:pt x="2680405" y="1396968"/>
                    <a:pt x="2700892" y="1328602"/>
                  </a:cubicBezTo>
                  <a:cubicBezTo>
                    <a:pt x="2786255" y="1359366"/>
                    <a:pt x="2878447" y="1393550"/>
                    <a:pt x="2970640" y="1427733"/>
                  </a:cubicBezTo>
                  <a:cubicBezTo>
                    <a:pt x="2898934" y="1468752"/>
                    <a:pt x="2895520" y="1475589"/>
                    <a:pt x="2898934" y="1523445"/>
                  </a:cubicBezTo>
                  <a:cubicBezTo>
                    <a:pt x="2977469" y="1475589"/>
                    <a:pt x="3011614" y="1482426"/>
                    <a:pt x="3066246" y="1509772"/>
                  </a:cubicBezTo>
                  <a:cubicBezTo>
                    <a:pt x="3172097" y="1561047"/>
                    <a:pt x="3236973" y="1656760"/>
                    <a:pt x="3277947" y="1766146"/>
                  </a:cubicBezTo>
                  <a:cubicBezTo>
                    <a:pt x="3301849" y="1827675"/>
                    <a:pt x="3267704" y="1882369"/>
                    <a:pt x="3199413" y="1896042"/>
                  </a:cubicBezTo>
                  <a:cubicBezTo>
                    <a:pt x="3161853" y="1902879"/>
                    <a:pt x="3124293" y="1899460"/>
                    <a:pt x="3086734" y="1899460"/>
                  </a:cubicBezTo>
                  <a:cubicBezTo>
                    <a:pt x="3025272" y="1902879"/>
                    <a:pt x="2970640" y="1909715"/>
                    <a:pt x="2929665" y="1947317"/>
                  </a:cubicBezTo>
                  <a:cubicBezTo>
                    <a:pt x="3001370" y="1950735"/>
                    <a:pt x="3079904" y="1950735"/>
                    <a:pt x="3158439" y="1957572"/>
                  </a:cubicBezTo>
                  <a:cubicBezTo>
                    <a:pt x="3254045" y="1960990"/>
                    <a:pt x="3305263" y="1926807"/>
                    <a:pt x="3335994" y="1837931"/>
                  </a:cubicBezTo>
                  <a:cubicBezTo>
                    <a:pt x="3342823" y="1824257"/>
                    <a:pt x="3346238" y="1814002"/>
                    <a:pt x="3353067" y="1800329"/>
                  </a:cubicBezTo>
                  <a:cubicBezTo>
                    <a:pt x="3387212" y="1810584"/>
                    <a:pt x="3417943" y="1817420"/>
                    <a:pt x="3452088" y="1820839"/>
                  </a:cubicBezTo>
                  <a:cubicBezTo>
                    <a:pt x="3482819" y="1824257"/>
                    <a:pt x="3516964" y="1827675"/>
                    <a:pt x="3547695" y="1824257"/>
                  </a:cubicBezTo>
                  <a:cubicBezTo>
                    <a:pt x="3612571" y="1814002"/>
                    <a:pt x="3650131" y="1766146"/>
                    <a:pt x="3639887" y="1701198"/>
                  </a:cubicBezTo>
                  <a:cubicBezTo>
                    <a:pt x="3626229" y="1595230"/>
                    <a:pt x="3575011" y="1509772"/>
                    <a:pt x="3479404" y="1451661"/>
                  </a:cubicBezTo>
                  <a:cubicBezTo>
                    <a:pt x="3448674" y="1431151"/>
                    <a:pt x="3424772" y="1400386"/>
                    <a:pt x="3404285" y="1373040"/>
                  </a:cubicBezTo>
                  <a:cubicBezTo>
                    <a:pt x="3376968" y="1338856"/>
                    <a:pt x="3349652" y="1304673"/>
                    <a:pt x="3325751" y="1270490"/>
                  </a:cubicBezTo>
                  <a:cubicBezTo>
                    <a:pt x="3335994" y="1311510"/>
                    <a:pt x="3349652" y="1349111"/>
                    <a:pt x="3373554" y="1383295"/>
                  </a:cubicBezTo>
                  <a:cubicBezTo>
                    <a:pt x="3394041" y="1414059"/>
                    <a:pt x="3421357" y="1444824"/>
                    <a:pt x="3448674" y="1472171"/>
                  </a:cubicBezTo>
                  <a:cubicBezTo>
                    <a:pt x="3499891" y="1520027"/>
                    <a:pt x="3547695" y="1571302"/>
                    <a:pt x="3568182" y="1639668"/>
                  </a:cubicBezTo>
                  <a:cubicBezTo>
                    <a:pt x="3602327" y="1749054"/>
                    <a:pt x="3578426" y="1776401"/>
                    <a:pt x="3465746" y="1762727"/>
                  </a:cubicBezTo>
                  <a:cubicBezTo>
                    <a:pt x="3390627" y="1755891"/>
                    <a:pt x="3325751" y="1738799"/>
                    <a:pt x="3288191" y="1656760"/>
                  </a:cubicBezTo>
                  <a:cubicBezTo>
                    <a:pt x="3264289" y="1602067"/>
                    <a:pt x="3219900" y="1557629"/>
                    <a:pt x="3182340" y="1509772"/>
                  </a:cubicBezTo>
                  <a:cubicBezTo>
                    <a:pt x="3117464" y="1434569"/>
                    <a:pt x="3042345" y="1376458"/>
                    <a:pt x="2939909" y="1349111"/>
                  </a:cubicBezTo>
                  <a:cubicBezTo>
                    <a:pt x="2861375" y="1328602"/>
                    <a:pt x="2789670" y="1291000"/>
                    <a:pt x="2717965" y="1260235"/>
                  </a:cubicBezTo>
                  <a:cubicBezTo>
                    <a:pt x="2659918" y="1236307"/>
                    <a:pt x="2642845" y="1161104"/>
                    <a:pt x="2670161" y="1109830"/>
                  </a:cubicBezTo>
                  <a:cubicBezTo>
                    <a:pt x="2687234" y="1082483"/>
                    <a:pt x="2694063" y="1048300"/>
                    <a:pt x="2700892" y="1017535"/>
                  </a:cubicBezTo>
                  <a:cubicBezTo>
                    <a:pt x="2707721" y="993607"/>
                    <a:pt x="2704306" y="973097"/>
                    <a:pt x="2707721" y="952587"/>
                  </a:cubicBezTo>
                  <a:cubicBezTo>
                    <a:pt x="2721379" y="877384"/>
                    <a:pt x="2779426" y="860293"/>
                    <a:pt x="2840888" y="843201"/>
                  </a:cubicBezTo>
                  <a:cubicBezTo>
                    <a:pt x="2912593" y="822691"/>
                    <a:pt x="2953567" y="781671"/>
                    <a:pt x="2956981" y="706469"/>
                  </a:cubicBezTo>
                  <a:cubicBezTo>
                    <a:pt x="2956981" y="644939"/>
                    <a:pt x="2956981" y="583409"/>
                    <a:pt x="2956981" y="518461"/>
                  </a:cubicBezTo>
                  <a:close/>
                  <a:moveTo>
                    <a:pt x="1491790" y="291976"/>
                  </a:moveTo>
                  <a:cubicBezTo>
                    <a:pt x="1470560" y="291390"/>
                    <a:pt x="1447672" y="294374"/>
                    <a:pt x="1422858" y="301195"/>
                  </a:cubicBezTo>
                  <a:cubicBezTo>
                    <a:pt x="1385210" y="311426"/>
                    <a:pt x="1340717" y="308016"/>
                    <a:pt x="1299647" y="311426"/>
                  </a:cubicBezTo>
                  <a:cubicBezTo>
                    <a:pt x="1309914" y="342120"/>
                    <a:pt x="1347562" y="345531"/>
                    <a:pt x="1378365" y="352352"/>
                  </a:cubicBezTo>
                  <a:cubicBezTo>
                    <a:pt x="1388633" y="355762"/>
                    <a:pt x="1402323" y="352352"/>
                    <a:pt x="1412591" y="352352"/>
                  </a:cubicBezTo>
                  <a:cubicBezTo>
                    <a:pt x="1525534" y="325068"/>
                    <a:pt x="1587140" y="386456"/>
                    <a:pt x="1631633" y="478539"/>
                  </a:cubicBezTo>
                  <a:cubicBezTo>
                    <a:pt x="1669281" y="553569"/>
                    <a:pt x="1706929" y="628599"/>
                    <a:pt x="1741154" y="703629"/>
                  </a:cubicBezTo>
                  <a:cubicBezTo>
                    <a:pt x="1775380" y="788891"/>
                    <a:pt x="1724042" y="911668"/>
                    <a:pt x="1641901" y="945772"/>
                  </a:cubicBezTo>
                  <a:cubicBezTo>
                    <a:pt x="1611098" y="956004"/>
                    <a:pt x="1583718" y="966235"/>
                    <a:pt x="1597408" y="1000340"/>
                  </a:cubicBezTo>
                  <a:cubicBezTo>
                    <a:pt x="1638478" y="986698"/>
                    <a:pt x="1679549" y="966235"/>
                    <a:pt x="1720619" y="952593"/>
                  </a:cubicBezTo>
                  <a:cubicBezTo>
                    <a:pt x="1754844" y="938951"/>
                    <a:pt x="1775380" y="915078"/>
                    <a:pt x="1785647" y="877563"/>
                  </a:cubicBezTo>
                  <a:cubicBezTo>
                    <a:pt x="1792492" y="850279"/>
                    <a:pt x="1795915" y="822996"/>
                    <a:pt x="1806183" y="799122"/>
                  </a:cubicBezTo>
                  <a:cubicBezTo>
                    <a:pt x="1843831" y="724092"/>
                    <a:pt x="1902014" y="713861"/>
                    <a:pt x="1980732" y="765018"/>
                  </a:cubicBezTo>
                  <a:cubicBezTo>
                    <a:pt x="2014957" y="785481"/>
                    <a:pt x="2042338" y="788891"/>
                    <a:pt x="2086831" y="765018"/>
                  </a:cubicBezTo>
                  <a:cubicBezTo>
                    <a:pt x="1984155" y="754786"/>
                    <a:pt x="1922549" y="632010"/>
                    <a:pt x="1813028" y="700219"/>
                  </a:cubicBezTo>
                  <a:cubicBezTo>
                    <a:pt x="1768535" y="608136"/>
                    <a:pt x="1724042" y="526285"/>
                    <a:pt x="1679549" y="441024"/>
                  </a:cubicBezTo>
                  <a:cubicBezTo>
                    <a:pt x="1672704" y="420561"/>
                    <a:pt x="1659013" y="403509"/>
                    <a:pt x="1645323" y="386456"/>
                  </a:cubicBezTo>
                  <a:cubicBezTo>
                    <a:pt x="1604253" y="327626"/>
                    <a:pt x="1555482" y="293734"/>
                    <a:pt x="1491790" y="291976"/>
                  </a:cubicBezTo>
                  <a:close/>
                  <a:moveTo>
                    <a:pt x="2588212" y="200558"/>
                  </a:moveTo>
                  <a:cubicBezTo>
                    <a:pt x="2673576" y="203977"/>
                    <a:pt x="2755524" y="221068"/>
                    <a:pt x="2813571" y="292853"/>
                  </a:cubicBezTo>
                  <a:cubicBezTo>
                    <a:pt x="2834058" y="320199"/>
                    <a:pt x="2857960" y="340709"/>
                    <a:pt x="2888691" y="374892"/>
                  </a:cubicBezTo>
                  <a:cubicBezTo>
                    <a:pt x="2888691" y="347546"/>
                    <a:pt x="2885276" y="333872"/>
                    <a:pt x="2885276" y="320199"/>
                  </a:cubicBezTo>
                  <a:cubicBezTo>
                    <a:pt x="2933080" y="313363"/>
                    <a:pt x="2970640" y="333872"/>
                    <a:pt x="2994541" y="368056"/>
                  </a:cubicBezTo>
                  <a:cubicBezTo>
                    <a:pt x="3004785" y="381729"/>
                    <a:pt x="2980883" y="412494"/>
                    <a:pt x="2970640" y="436422"/>
                  </a:cubicBezTo>
                  <a:cubicBezTo>
                    <a:pt x="2970640" y="436422"/>
                    <a:pt x="2974054" y="439840"/>
                    <a:pt x="2974054" y="446677"/>
                  </a:cubicBezTo>
                  <a:cubicBezTo>
                    <a:pt x="3052588" y="426167"/>
                    <a:pt x="3127708" y="439840"/>
                    <a:pt x="3192584" y="487697"/>
                  </a:cubicBezTo>
                  <a:cubicBezTo>
                    <a:pt x="3254045" y="532135"/>
                    <a:pt x="3312092" y="576573"/>
                    <a:pt x="3363310" y="631266"/>
                  </a:cubicBezTo>
                  <a:cubicBezTo>
                    <a:pt x="3407699" y="675704"/>
                    <a:pt x="3441844" y="733815"/>
                    <a:pt x="3479404" y="788508"/>
                  </a:cubicBezTo>
                  <a:cubicBezTo>
                    <a:pt x="3523793" y="774835"/>
                    <a:pt x="3650131" y="935496"/>
                    <a:pt x="3660374" y="1044882"/>
                  </a:cubicBezTo>
                  <a:cubicBezTo>
                    <a:pt x="3605742" y="986770"/>
                    <a:pt x="3554524" y="925241"/>
                    <a:pt x="3506721" y="863711"/>
                  </a:cubicBezTo>
                  <a:cubicBezTo>
                    <a:pt x="3472575" y="812436"/>
                    <a:pt x="3400870" y="774835"/>
                    <a:pt x="3332580" y="798763"/>
                  </a:cubicBezTo>
                  <a:cubicBezTo>
                    <a:pt x="3458917" y="815855"/>
                    <a:pt x="3469161" y="938914"/>
                    <a:pt x="3540866" y="1010698"/>
                  </a:cubicBezTo>
                  <a:cubicBezTo>
                    <a:pt x="3496477" y="1024372"/>
                    <a:pt x="3465746" y="1034627"/>
                    <a:pt x="3435015" y="1041463"/>
                  </a:cubicBezTo>
                  <a:cubicBezTo>
                    <a:pt x="3489648" y="1055137"/>
                    <a:pt x="3540866" y="1068810"/>
                    <a:pt x="3592084" y="1085901"/>
                  </a:cubicBezTo>
                  <a:cubicBezTo>
                    <a:pt x="3718421" y="1130339"/>
                    <a:pt x="3803784" y="1256817"/>
                    <a:pt x="3800370" y="1393550"/>
                  </a:cubicBezTo>
                  <a:cubicBezTo>
                    <a:pt x="3800370" y="1448243"/>
                    <a:pt x="3790126" y="1455079"/>
                    <a:pt x="3725250" y="1451661"/>
                  </a:cubicBezTo>
                  <a:cubicBezTo>
                    <a:pt x="3749152" y="1475589"/>
                    <a:pt x="3759396" y="1502936"/>
                    <a:pt x="3779883" y="1509772"/>
                  </a:cubicBezTo>
                  <a:cubicBezTo>
                    <a:pt x="3814028" y="1520027"/>
                    <a:pt x="3814028" y="1540537"/>
                    <a:pt x="3810614" y="1564465"/>
                  </a:cubicBezTo>
                  <a:cubicBezTo>
                    <a:pt x="3810614" y="1578138"/>
                    <a:pt x="3810614" y="1591812"/>
                    <a:pt x="3810614" y="1608903"/>
                  </a:cubicBezTo>
                  <a:cubicBezTo>
                    <a:pt x="3803784" y="1673851"/>
                    <a:pt x="3796955" y="1742217"/>
                    <a:pt x="3762810" y="1800329"/>
                  </a:cubicBezTo>
                  <a:cubicBezTo>
                    <a:pt x="3755981" y="1755891"/>
                    <a:pt x="3749152" y="1711453"/>
                    <a:pt x="3755981" y="1667015"/>
                  </a:cubicBezTo>
                  <a:cubicBezTo>
                    <a:pt x="3769639" y="1605485"/>
                    <a:pt x="3755981" y="1550792"/>
                    <a:pt x="3725250" y="1496099"/>
                  </a:cubicBezTo>
                  <a:cubicBezTo>
                    <a:pt x="3718421" y="1479007"/>
                    <a:pt x="3711592" y="1458497"/>
                    <a:pt x="3715007" y="1441406"/>
                  </a:cubicBezTo>
                  <a:cubicBezTo>
                    <a:pt x="3715007" y="1379876"/>
                    <a:pt x="3697934" y="1328602"/>
                    <a:pt x="3660374" y="1280745"/>
                  </a:cubicBezTo>
                  <a:cubicBezTo>
                    <a:pt x="3592084" y="1185032"/>
                    <a:pt x="3489648" y="1137176"/>
                    <a:pt x="3390627" y="1085901"/>
                  </a:cubicBezTo>
                  <a:cubicBezTo>
                    <a:pt x="3335994" y="1055137"/>
                    <a:pt x="3329165" y="1048300"/>
                    <a:pt x="3349652" y="990189"/>
                  </a:cubicBezTo>
                  <a:cubicBezTo>
                    <a:pt x="3370139" y="928659"/>
                    <a:pt x="3359896" y="873966"/>
                    <a:pt x="3312092" y="829528"/>
                  </a:cubicBezTo>
                  <a:cubicBezTo>
                    <a:pt x="3288191" y="802181"/>
                    <a:pt x="3257460" y="774835"/>
                    <a:pt x="3233558" y="750907"/>
                  </a:cubicBezTo>
                  <a:cubicBezTo>
                    <a:pt x="3247216" y="723560"/>
                    <a:pt x="3260874" y="699632"/>
                    <a:pt x="3274533" y="668867"/>
                  </a:cubicBezTo>
                  <a:cubicBezTo>
                    <a:pt x="3277947" y="668867"/>
                    <a:pt x="3281362" y="668867"/>
                    <a:pt x="3288191" y="668867"/>
                  </a:cubicBezTo>
                  <a:cubicBezTo>
                    <a:pt x="3318921" y="682540"/>
                    <a:pt x="3346238" y="696214"/>
                    <a:pt x="3376968" y="706469"/>
                  </a:cubicBezTo>
                  <a:cubicBezTo>
                    <a:pt x="3359896" y="651776"/>
                    <a:pt x="3325751" y="621011"/>
                    <a:pt x="3267704" y="614174"/>
                  </a:cubicBezTo>
                  <a:cubicBezTo>
                    <a:pt x="3254045" y="610756"/>
                    <a:pt x="3240387" y="607338"/>
                    <a:pt x="3226729" y="600501"/>
                  </a:cubicBezTo>
                  <a:cubicBezTo>
                    <a:pt x="3144781" y="552645"/>
                    <a:pt x="3059417" y="508206"/>
                    <a:pt x="2977469" y="460350"/>
                  </a:cubicBezTo>
                  <a:cubicBezTo>
                    <a:pt x="2953567" y="443259"/>
                    <a:pt x="2922836" y="433004"/>
                    <a:pt x="2905764" y="412494"/>
                  </a:cubicBezTo>
                  <a:cubicBezTo>
                    <a:pt x="2864789" y="357801"/>
                    <a:pt x="2810157" y="316781"/>
                    <a:pt x="2745281" y="299689"/>
                  </a:cubicBezTo>
                  <a:cubicBezTo>
                    <a:pt x="2676990" y="279179"/>
                    <a:pt x="2608700" y="272343"/>
                    <a:pt x="2536995" y="262088"/>
                  </a:cubicBezTo>
                  <a:cubicBezTo>
                    <a:pt x="2536995" y="217650"/>
                    <a:pt x="2547238" y="197140"/>
                    <a:pt x="2588212" y="200558"/>
                  </a:cubicBezTo>
                  <a:close/>
                  <a:moveTo>
                    <a:pt x="1526294" y="92454"/>
                  </a:moveTo>
                  <a:cubicBezTo>
                    <a:pt x="1584341" y="91172"/>
                    <a:pt x="1642388" y="101427"/>
                    <a:pt x="1700435" y="128774"/>
                  </a:cubicBezTo>
                  <a:cubicBezTo>
                    <a:pt x="1720922" y="139029"/>
                    <a:pt x="1734580" y="162957"/>
                    <a:pt x="1751653" y="180048"/>
                  </a:cubicBezTo>
                  <a:cubicBezTo>
                    <a:pt x="1731166" y="193722"/>
                    <a:pt x="1714093" y="203977"/>
                    <a:pt x="1693606" y="214232"/>
                  </a:cubicBezTo>
                  <a:cubicBezTo>
                    <a:pt x="1666290" y="227905"/>
                    <a:pt x="1635559" y="238160"/>
                    <a:pt x="1604828" y="248415"/>
                  </a:cubicBezTo>
                  <a:cubicBezTo>
                    <a:pt x="1686777" y="251833"/>
                    <a:pt x="1765311" y="258670"/>
                    <a:pt x="1833601" y="299689"/>
                  </a:cubicBezTo>
                  <a:cubicBezTo>
                    <a:pt x="1891648" y="337291"/>
                    <a:pt x="1949695" y="378311"/>
                    <a:pt x="1994084" y="426167"/>
                  </a:cubicBezTo>
                  <a:cubicBezTo>
                    <a:pt x="2041888" y="477442"/>
                    <a:pt x="2031644" y="491115"/>
                    <a:pt x="1966768" y="501370"/>
                  </a:cubicBezTo>
                  <a:cubicBezTo>
                    <a:pt x="1932623" y="504788"/>
                    <a:pt x="1898477" y="515043"/>
                    <a:pt x="1888234" y="556063"/>
                  </a:cubicBezTo>
                  <a:cubicBezTo>
                    <a:pt x="1881405" y="593664"/>
                    <a:pt x="1905307" y="617592"/>
                    <a:pt x="1936037" y="638102"/>
                  </a:cubicBezTo>
                  <a:cubicBezTo>
                    <a:pt x="2000913" y="672285"/>
                    <a:pt x="2062375" y="706469"/>
                    <a:pt x="2127251" y="740652"/>
                  </a:cubicBezTo>
                  <a:cubicBezTo>
                    <a:pt x="2243345" y="802181"/>
                    <a:pt x="2294563" y="942332"/>
                    <a:pt x="2243345" y="1065391"/>
                  </a:cubicBezTo>
                  <a:cubicBezTo>
                    <a:pt x="2216029" y="1130339"/>
                    <a:pt x="2185298" y="1195287"/>
                    <a:pt x="2151153" y="1256817"/>
                  </a:cubicBezTo>
                  <a:cubicBezTo>
                    <a:pt x="2134080" y="1291000"/>
                    <a:pt x="2099935" y="1308092"/>
                    <a:pt x="2062375" y="1294418"/>
                  </a:cubicBezTo>
                  <a:cubicBezTo>
                    <a:pt x="2021400" y="1284163"/>
                    <a:pt x="2017986" y="1253399"/>
                    <a:pt x="2024815" y="1222634"/>
                  </a:cubicBezTo>
                  <a:cubicBezTo>
                    <a:pt x="2028230" y="1205542"/>
                    <a:pt x="2031644" y="1188451"/>
                    <a:pt x="2035059" y="1171359"/>
                  </a:cubicBezTo>
                  <a:cubicBezTo>
                    <a:pt x="2048717" y="1116666"/>
                    <a:pt x="2045302" y="1068810"/>
                    <a:pt x="2007742" y="1031208"/>
                  </a:cubicBezTo>
                  <a:cubicBezTo>
                    <a:pt x="1994084" y="1082483"/>
                    <a:pt x="1983841" y="1133758"/>
                    <a:pt x="1970183" y="1188451"/>
                  </a:cubicBezTo>
                  <a:cubicBezTo>
                    <a:pt x="1953110" y="1263654"/>
                    <a:pt x="1973597" y="1332020"/>
                    <a:pt x="2035059" y="1349111"/>
                  </a:cubicBezTo>
                  <a:cubicBezTo>
                    <a:pt x="2069204" y="1359366"/>
                    <a:pt x="2106764" y="1352530"/>
                    <a:pt x="2147738" y="1352530"/>
                  </a:cubicBezTo>
                  <a:cubicBezTo>
                    <a:pt x="2157982" y="1437988"/>
                    <a:pt x="2130666" y="1465334"/>
                    <a:pt x="2052131" y="1444824"/>
                  </a:cubicBezTo>
                  <a:cubicBezTo>
                    <a:pt x="2000913" y="1431151"/>
                    <a:pt x="1977012" y="1386713"/>
                    <a:pt x="1949695" y="1349111"/>
                  </a:cubicBezTo>
                  <a:cubicBezTo>
                    <a:pt x="1905307" y="1280745"/>
                    <a:pt x="1857503" y="1215797"/>
                    <a:pt x="1809700" y="1147431"/>
                  </a:cubicBezTo>
                  <a:cubicBezTo>
                    <a:pt x="1891648" y="1079065"/>
                    <a:pt x="1925794" y="990189"/>
                    <a:pt x="1901892" y="877384"/>
                  </a:cubicBezTo>
                  <a:cubicBezTo>
                    <a:pt x="1895063" y="901312"/>
                    <a:pt x="1888234" y="925241"/>
                    <a:pt x="1881405" y="949169"/>
                  </a:cubicBezTo>
                  <a:cubicBezTo>
                    <a:pt x="1860918" y="1041463"/>
                    <a:pt x="1799456" y="1109830"/>
                    <a:pt x="1717507" y="1120084"/>
                  </a:cubicBezTo>
                  <a:cubicBezTo>
                    <a:pt x="1597999" y="1137176"/>
                    <a:pt x="1481905" y="1099575"/>
                    <a:pt x="1447760" y="1010698"/>
                  </a:cubicBezTo>
                  <a:cubicBezTo>
                    <a:pt x="1423858" y="952587"/>
                    <a:pt x="1423858" y="884221"/>
                    <a:pt x="1417029" y="822691"/>
                  </a:cubicBezTo>
                  <a:cubicBezTo>
                    <a:pt x="1406785" y="761162"/>
                    <a:pt x="1410200" y="699632"/>
                    <a:pt x="1396542" y="638102"/>
                  </a:cubicBezTo>
                  <a:cubicBezTo>
                    <a:pt x="1386298" y="579991"/>
                    <a:pt x="1321422" y="556063"/>
                    <a:pt x="1253132" y="576573"/>
                  </a:cubicBezTo>
                  <a:cubicBezTo>
                    <a:pt x="1178012" y="597083"/>
                    <a:pt x="1143867" y="641521"/>
                    <a:pt x="1160939" y="706469"/>
                  </a:cubicBezTo>
                  <a:cubicBezTo>
                    <a:pt x="1171183" y="750907"/>
                    <a:pt x="1195085" y="795345"/>
                    <a:pt x="1212157" y="843201"/>
                  </a:cubicBezTo>
                  <a:cubicBezTo>
                    <a:pt x="1218986" y="832946"/>
                    <a:pt x="1222401" y="822691"/>
                    <a:pt x="1218986" y="815855"/>
                  </a:cubicBezTo>
                  <a:cubicBezTo>
                    <a:pt x="1215572" y="778253"/>
                    <a:pt x="1208743" y="740652"/>
                    <a:pt x="1208743" y="703050"/>
                  </a:cubicBezTo>
                  <a:cubicBezTo>
                    <a:pt x="1208743" y="658612"/>
                    <a:pt x="1236059" y="638102"/>
                    <a:pt x="1290691" y="631266"/>
                  </a:cubicBezTo>
                  <a:cubicBezTo>
                    <a:pt x="1331666" y="624429"/>
                    <a:pt x="1345324" y="648357"/>
                    <a:pt x="1352153" y="682540"/>
                  </a:cubicBezTo>
                  <a:cubicBezTo>
                    <a:pt x="1355567" y="723560"/>
                    <a:pt x="1358982" y="764580"/>
                    <a:pt x="1358982" y="802181"/>
                  </a:cubicBezTo>
                  <a:cubicBezTo>
                    <a:pt x="1345324" y="942332"/>
                    <a:pt x="1362397" y="1068810"/>
                    <a:pt x="1495563" y="1147431"/>
                  </a:cubicBezTo>
                  <a:cubicBezTo>
                    <a:pt x="1444345" y="1226052"/>
                    <a:pt x="1396542" y="1236307"/>
                    <a:pt x="1331666" y="1178196"/>
                  </a:cubicBezTo>
                  <a:cubicBezTo>
                    <a:pt x="1311179" y="1157686"/>
                    <a:pt x="1290691" y="1137176"/>
                    <a:pt x="1277033" y="1113248"/>
                  </a:cubicBezTo>
                  <a:cubicBezTo>
                    <a:pt x="1253132" y="1075646"/>
                    <a:pt x="1232644" y="1034627"/>
                    <a:pt x="1205328" y="986770"/>
                  </a:cubicBezTo>
                  <a:cubicBezTo>
                    <a:pt x="1205328" y="1075646"/>
                    <a:pt x="1229230" y="1150849"/>
                    <a:pt x="1287277" y="1212379"/>
                  </a:cubicBezTo>
                  <a:cubicBezTo>
                    <a:pt x="1365811" y="1297837"/>
                    <a:pt x="1413614" y="1304673"/>
                    <a:pt x="1505807" y="1236307"/>
                  </a:cubicBezTo>
                  <a:cubicBezTo>
                    <a:pt x="1618486" y="1150849"/>
                    <a:pt x="1775554" y="1171359"/>
                    <a:pt x="1860918" y="1308092"/>
                  </a:cubicBezTo>
                  <a:cubicBezTo>
                    <a:pt x="1915550" y="1396968"/>
                    <a:pt x="1994084" y="1475589"/>
                    <a:pt x="2065789" y="1554210"/>
                  </a:cubicBezTo>
                  <a:cubicBezTo>
                    <a:pt x="2103349" y="1598648"/>
                    <a:pt x="2147738" y="1632831"/>
                    <a:pt x="2192127" y="1673851"/>
                  </a:cubicBezTo>
                  <a:cubicBezTo>
                    <a:pt x="2086276" y="1629413"/>
                    <a:pt x="1980426" y="1619158"/>
                    <a:pt x="1877990" y="1653341"/>
                  </a:cubicBezTo>
                  <a:cubicBezTo>
                    <a:pt x="1816529" y="1673851"/>
                    <a:pt x="1765311" y="1656760"/>
                    <a:pt x="1710678" y="1639668"/>
                  </a:cubicBezTo>
                  <a:cubicBezTo>
                    <a:pt x="1693606" y="1632831"/>
                    <a:pt x="1683362" y="1612322"/>
                    <a:pt x="1669704" y="1595230"/>
                  </a:cubicBezTo>
                  <a:cubicBezTo>
                    <a:pt x="1690191" y="1584975"/>
                    <a:pt x="1707264" y="1574720"/>
                    <a:pt x="1727751" y="1564465"/>
                  </a:cubicBezTo>
                  <a:cubicBezTo>
                    <a:pt x="1734580" y="1564465"/>
                    <a:pt x="1744824" y="1571302"/>
                    <a:pt x="1755067" y="1571302"/>
                  </a:cubicBezTo>
                  <a:cubicBezTo>
                    <a:pt x="1802871" y="1574720"/>
                    <a:pt x="1847260" y="1574720"/>
                    <a:pt x="1905307" y="1574720"/>
                  </a:cubicBezTo>
                  <a:cubicBezTo>
                    <a:pt x="1837016" y="1543955"/>
                    <a:pt x="1772140" y="1526864"/>
                    <a:pt x="1727751" y="1489262"/>
                  </a:cubicBezTo>
                  <a:cubicBezTo>
                    <a:pt x="1683362" y="1451661"/>
                    <a:pt x="1652631" y="1393550"/>
                    <a:pt x="1615072" y="1342275"/>
                  </a:cubicBezTo>
                  <a:cubicBezTo>
                    <a:pt x="1611657" y="1342275"/>
                    <a:pt x="1611657" y="1342275"/>
                    <a:pt x="1608243" y="1342275"/>
                  </a:cubicBezTo>
                  <a:cubicBezTo>
                    <a:pt x="1625315" y="1400386"/>
                    <a:pt x="1642388" y="1458497"/>
                    <a:pt x="1659460" y="1523445"/>
                  </a:cubicBezTo>
                  <a:cubicBezTo>
                    <a:pt x="1642388" y="1523445"/>
                    <a:pt x="1625315" y="1523445"/>
                    <a:pt x="1611657" y="1523445"/>
                  </a:cubicBezTo>
                  <a:cubicBezTo>
                    <a:pt x="1519465" y="1509772"/>
                    <a:pt x="1427273" y="1492681"/>
                    <a:pt x="1335080" y="1482426"/>
                  </a:cubicBezTo>
                  <a:cubicBezTo>
                    <a:pt x="1266790" y="1479007"/>
                    <a:pt x="1225815" y="1451661"/>
                    <a:pt x="1198499" y="1386713"/>
                  </a:cubicBezTo>
                  <a:cubicBezTo>
                    <a:pt x="1181427" y="1345693"/>
                    <a:pt x="1154110" y="1308092"/>
                    <a:pt x="1130209" y="1267072"/>
                  </a:cubicBezTo>
                  <a:cubicBezTo>
                    <a:pt x="1000457" y="1058555"/>
                    <a:pt x="966311" y="843201"/>
                    <a:pt x="1078991" y="617592"/>
                  </a:cubicBezTo>
                  <a:cubicBezTo>
                    <a:pt x="1126794" y="518461"/>
                    <a:pt x="1116551" y="456932"/>
                    <a:pt x="1061918" y="409075"/>
                  </a:cubicBezTo>
                  <a:cubicBezTo>
                    <a:pt x="1055089" y="456932"/>
                    <a:pt x="1061918" y="518461"/>
                    <a:pt x="1038016" y="566318"/>
                  </a:cubicBezTo>
                  <a:cubicBezTo>
                    <a:pt x="969726" y="692795"/>
                    <a:pt x="945824" y="829528"/>
                    <a:pt x="956068" y="969679"/>
                  </a:cubicBezTo>
                  <a:cubicBezTo>
                    <a:pt x="962897" y="1048300"/>
                    <a:pt x="932166" y="1102993"/>
                    <a:pt x="887777" y="1154268"/>
                  </a:cubicBezTo>
                  <a:cubicBezTo>
                    <a:pt x="795585" y="1260235"/>
                    <a:pt x="655589" y="1232889"/>
                    <a:pt x="607786" y="1102993"/>
                  </a:cubicBezTo>
                  <a:cubicBezTo>
                    <a:pt x="597542" y="1072228"/>
                    <a:pt x="587299" y="1041463"/>
                    <a:pt x="573641" y="1014117"/>
                  </a:cubicBezTo>
                  <a:cubicBezTo>
                    <a:pt x="556568" y="983352"/>
                    <a:pt x="542910" y="949169"/>
                    <a:pt x="495106" y="949169"/>
                  </a:cubicBezTo>
                  <a:cubicBezTo>
                    <a:pt x="539495" y="997025"/>
                    <a:pt x="505350" y="1031208"/>
                    <a:pt x="488277" y="1072228"/>
                  </a:cubicBezTo>
                  <a:cubicBezTo>
                    <a:pt x="464376" y="1130339"/>
                    <a:pt x="433645" y="1188451"/>
                    <a:pt x="423401" y="1249980"/>
                  </a:cubicBezTo>
                  <a:cubicBezTo>
                    <a:pt x="416572" y="1294418"/>
                    <a:pt x="413158" y="1332020"/>
                    <a:pt x="382427" y="1369621"/>
                  </a:cubicBezTo>
                  <a:cubicBezTo>
                    <a:pt x="351696" y="1403804"/>
                    <a:pt x="355111" y="1434569"/>
                    <a:pt x="385841" y="1465334"/>
                  </a:cubicBezTo>
                  <a:cubicBezTo>
                    <a:pt x="396085" y="1448243"/>
                    <a:pt x="402914" y="1431151"/>
                    <a:pt x="416572" y="1407223"/>
                  </a:cubicBezTo>
                  <a:cubicBezTo>
                    <a:pt x="464376" y="1461916"/>
                    <a:pt x="460961" y="1530282"/>
                    <a:pt x="491692" y="1588393"/>
                  </a:cubicBezTo>
                  <a:cubicBezTo>
                    <a:pt x="498521" y="1537119"/>
                    <a:pt x="501935" y="1485844"/>
                    <a:pt x="498521" y="1434569"/>
                  </a:cubicBezTo>
                  <a:cubicBezTo>
                    <a:pt x="495106" y="1373040"/>
                    <a:pt x="484863" y="1311510"/>
                    <a:pt x="484863" y="1253399"/>
                  </a:cubicBezTo>
                  <a:cubicBezTo>
                    <a:pt x="481448" y="1198706"/>
                    <a:pt x="488277" y="1147431"/>
                    <a:pt x="536081" y="1109830"/>
                  </a:cubicBezTo>
                  <a:cubicBezTo>
                    <a:pt x="563397" y="1150849"/>
                    <a:pt x="583884" y="1195287"/>
                    <a:pt x="611200" y="1226052"/>
                  </a:cubicBezTo>
                  <a:cubicBezTo>
                    <a:pt x="638517" y="1253399"/>
                    <a:pt x="659004" y="1277327"/>
                    <a:pt x="655589" y="1321765"/>
                  </a:cubicBezTo>
                  <a:cubicBezTo>
                    <a:pt x="655589" y="1349111"/>
                    <a:pt x="679491" y="1379876"/>
                    <a:pt x="693149" y="1407223"/>
                  </a:cubicBezTo>
                  <a:cubicBezTo>
                    <a:pt x="696564" y="1407223"/>
                    <a:pt x="699978" y="1403804"/>
                    <a:pt x="703393" y="1400386"/>
                  </a:cubicBezTo>
                  <a:cubicBezTo>
                    <a:pt x="706807" y="1373040"/>
                    <a:pt x="703393" y="1342275"/>
                    <a:pt x="706807" y="1311510"/>
                  </a:cubicBezTo>
                  <a:cubicBezTo>
                    <a:pt x="710222" y="1297837"/>
                    <a:pt x="727294" y="1280745"/>
                    <a:pt x="737538" y="1280745"/>
                  </a:cubicBezTo>
                  <a:cubicBezTo>
                    <a:pt x="819487" y="1273909"/>
                    <a:pt x="887777" y="1243144"/>
                    <a:pt x="942410" y="1181614"/>
                  </a:cubicBezTo>
                  <a:cubicBezTo>
                    <a:pt x="962897" y="1157686"/>
                    <a:pt x="983384" y="1161104"/>
                    <a:pt x="1003871" y="1185032"/>
                  </a:cubicBezTo>
                  <a:cubicBezTo>
                    <a:pt x="1031187" y="1226052"/>
                    <a:pt x="1061918" y="1263654"/>
                    <a:pt x="1078991" y="1308092"/>
                  </a:cubicBezTo>
                  <a:cubicBezTo>
                    <a:pt x="1092649" y="1335438"/>
                    <a:pt x="1099478" y="1373040"/>
                    <a:pt x="1096063" y="1407223"/>
                  </a:cubicBezTo>
                  <a:cubicBezTo>
                    <a:pt x="1092649" y="1455079"/>
                    <a:pt x="1078991" y="1502936"/>
                    <a:pt x="1068747" y="1550792"/>
                  </a:cubicBezTo>
                  <a:cubicBezTo>
                    <a:pt x="1041431" y="1547374"/>
                    <a:pt x="1014115" y="1540537"/>
                    <a:pt x="986798" y="1537119"/>
                  </a:cubicBezTo>
                  <a:cubicBezTo>
                    <a:pt x="904850" y="1523445"/>
                    <a:pt x="822901" y="1502936"/>
                    <a:pt x="740952" y="1526864"/>
                  </a:cubicBezTo>
                  <a:cubicBezTo>
                    <a:pt x="717051" y="1537119"/>
                    <a:pt x="696564" y="1533700"/>
                    <a:pt x="682905" y="1509772"/>
                  </a:cubicBezTo>
                  <a:cubicBezTo>
                    <a:pt x="648760" y="1455079"/>
                    <a:pt x="614615" y="1396968"/>
                    <a:pt x="583884" y="1345693"/>
                  </a:cubicBezTo>
                  <a:cubicBezTo>
                    <a:pt x="566811" y="1424314"/>
                    <a:pt x="611200" y="1496099"/>
                    <a:pt x="648760" y="1561047"/>
                  </a:cubicBezTo>
                  <a:cubicBezTo>
                    <a:pt x="628273" y="1598648"/>
                    <a:pt x="604371" y="1636250"/>
                    <a:pt x="583884" y="1670433"/>
                  </a:cubicBezTo>
                  <a:cubicBezTo>
                    <a:pt x="563397" y="1711453"/>
                    <a:pt x="505350" y="1742217"/>
                    <a:pt x="464376" y="1728544"/>
                  </a:cubicBezTo>
                  <a:cubicBezTo>
                    <a:pt x="382427" y="1704616"/>
                    <a:pt x="307307" y="1667015"/>
                    <a:pt x="276577" y="1578138"/>
                  </a:cubicBezTo>
                  <a:cubicBezTo>
                    <a:pt x="256089" y="1520027"/>
                    <a:pt x="239017" y="1461916"/>
                    <a:pt x="232188" y="1400386"/>
                  </a:cubicBezTo>
                  <a:cubicBezTo>
                    <a:pt x="228773" y="1369621"/>
                    <a:pt x="242431" y="1332020"/>
                    <a:pt x="259504" y="1301255"/>
                  </a:cubicBezTo>
                  <a:cubicBezTo>
                    <a:pt x="290235" y="1249980"/>
                    <a:pt x="314136" y="1198706"/>
                    <a:pt x="307307" y="1137176"/>
                  </a:cubicBezTo>
                  <a:cubicBezTo>
                    <a:pt x="307307" y="1113248"/>
                    <a:pt x="307307" y="1085901"/>
                    <a:pt x="317551" y="1065391"/>
                  </a:cubicBezTo>
                  <a:cubicBezTo>
                    <a:pt x="341453" y="1010698"/>
                    <a:pt x="368769" y="959424"/>
                    <a:pt x="402914" y="908149"/>
                  </a:cubicBezTo>
                  <a:cubicBezTo>
                    <a:pt x="447303" y="839783"/>
                    <a:pt x="491692" y="774835"/>
                    <a:pt x="542910" y="709887"/>
                  </a:cubicBezTo>
                  <a:cubicBezTo>
                    <a:pt x="570226" y="672285"/>
                    <a:pt x="604371" y="672285"/>
                    <a:pt x="631687" y="709887"/>
                  </a:cubicBezTo>
                  <a:cubicBezTo>
                    <a:pt x="665833" y="761162"/>
                    <a:pt x="696564" y="819273"/>
                    <a:pt x="720465" y="877384"/>
                  </a:cubicBezTo>
                  <a:cubicBezTo>
                    <a:pt x="740952" y="932077"/>
                    <a:pt x="761440" y="997025"/>
                    <a:pt x="706807" y="1051718"/>
                  </a:cubicBezTo>
                  <a:cubicBezTo>
                    <a:pt x="703393" y="1055137"/>
                    <a:pt x="703393" y="1065391"/>
                    <a:pt x="706807" y="1058555"/>
                  </a:cubicBezTo>
                  <a:cubicBezTo>
                    <a:pt x="751196" y="1058555"/>
                    <a:pt x="795585" y="1058555"/>
                    <a:pt x="860461" y="1061973"/>
                  </a:cubicBezTo>
                  <a:cubicBezTo>
                    <a:pt x="850217" y="1051718"/>
                    <a:pt x="836559" y="1038045"/>
                    <a:pt x="826316" y="1027790"/>
                  </a:cubicBezTo>
                  <a:cubicBezTo>
                    <a:pt x="788756" y="983352"/>
                    <a:pt x="785341" y="908149"/>
                    <a:pt x="816072" y="867129"/>
                  </a:cubicBezTo>
                  <a:cubicBezTo>
                    <a:pt x="877534" y="785090"/>
                    <a:pt x="884363" y="716724"/>
                    <a:pt x="846803" y="655194"/>
                  </a:cubicBezTo>
                  <a:cubicBezTo>
                    <a:pt x="836559" y="692795"/>
                    <a:pt x="829730" y="730397"/>
                    <a:pt x="816072" y="767998"/>
                  </a:cubicBezTo>
                  <a:cubicBezTo>
                    <a:pt x="812657" y="788508"/>
                    <a:pt x="792170" y="798763"/>
                    <a:pt x="778512" y="815855"/>
                  </a:cubicBezTo>
                  <a:cubicBezTo>
                    <a:pt x="768269" y="802181"/>
                    <a:pt x="751196" y="788508"/>
                    <a:pt x="744367" y="771417"/>
                  </a:cubicBezTo>
                  <a:cubicBezTo>
                    <a:pt x="730709" y="750907"/>
                    <a:pt x="720465" y="723560"/>
                    <a:pt x="706807" y="703050"/>
                  </a:cubicBezTo>
                  <a:cubicBezTo>
                    <a:pt x="662418" y="624429"/>
                    <a:pt x="590713" y="607338"/>
                    <a:pt x="515594" y="655194"/>
                  </a:cubicBezTo>
                  <a:cubicBezTo>
                    <a:pt x="505350" y="658612"/>
                    <a:pt x="495106" y="665449"/>
                    <a:pt x="484863" y="672285"/>
                  </a:cubicBezTo>
                  <a:cubicBezTo>
                    <a:pt x="481448" y="668867"/>
                    <a:pt x="478034" y="665449"/>
                    <a:pt x="474619" y="662031"/>
                  </a:cubicBezTo>
                  <a:cubicBezTo>
                    <a:pt x="495106" y="624429"/>
                    <a:pt x="512179" y="579991"/>
                    <a:pt x="539495" y="549226"/>
                  </a:cubicBezTo>
                  <a:cubicBezTo>
                    <a:pt x="618029" y="460350"/>
                    <a:pt x="713636" y="395402"/>
                    <a:pt x="843388" y="405657"/>
                  </a:cubicBezTo>
                  <a:cubicBezTo>
                    <a:pt x="891192" y="409075"/>
                    <a:pt x="904850" y="436422"/>
                    <a:pt x="877534" y="477442"/>
                  </a:cubicBezTo>
                  <a:cubicBezTo>
                    <a:pt x="850217" y="518461"/>
                    <a:pt x="812657" y="528716"/>
                    <a:pt x="768269" y="535553"/>
                  </a:cubicBezTo>
                  <a:cubicBezTo>
                    <a:pt x="734123" y="538971"/>
                    <a:pt x="703393" y="552645"/>
                    <a:pt x="669247" y="562899"/>
                  </a:cubicBezTo>
                  <a:cubicBezTo>
                    <a:pt x="669247" y="566318"/>
                    <a:pt x="672662" y="573154"/>
                    <a:pt x="672662" y="576573"/>
                  </a:cubicBezTo>
                  <a:cubicBezTo>
                    <a:pt x="737538" y="569736"/>
                    <a:pt x="798999" y="566318"/>
                    <a:pt x="863875" y="556063"/>
                  </a:cubicBezTo>
                  <a:cubicBezTo>
                    <a:pt x="911679" y="549226"/>
                    <a:pt x="952653" y="494533"/>
                    <a:pt x="952653" y="439840"/>
                  </a:cubicBezTo>
                  <a:cubicBezTo>
                    <a:pt x="956068" y="388565"/>
                    <a:pt x="921922" y="368056"/>
                    <a:pt x="877534" y="354382"/>
                  </a:cubicBezTo>
                  <a:cubicBezTo>
                    <a:pt x="867290" y="350964"/>
                    <a:pt x="860461" y="347546"/>
                    <a:pt x="846803" y="340709"/>
                  </a:cubicBezTo>
                  <a:cubicBezTo>
                    <a:pt x="908264" y="282598"/>
                    <a:pt x="973140" y="248415"/>
                    <a:pt x="1051674" y="227905"/>
                  </a:cubicBezTo>
                  <a:cubicBezTo>
                    <a:pt x="1085820" y="217650"/>
                    <a:pt x="1082405" y="241578"/>
                    <a:pt x="1085820" y="265506"/>
                  </a:cubicBezTo>
                  <a:cubicBezTo>
                    <a:pt x="1089234" y="296271"/>
                    <a:pt x="1085820" y="330454"/>
                    <a:pt x="1099478" y="357801"/>
                  </a:cubicBezTo>
                  <a:cubicBezTo>
                    <a:pt x="1150696" y="453513"/>
                    <a:pt x="1232644" y="511625"/>
                    <a:pt x="1338495" y="521880"/>
                  </a:cubicBezTo>
                  <a:cubicBezTo>
                    <a:pt x="1420444" y="528716"/>
                    <a:pt x="1475076" y="556063"/>
                    <a:pt x="1495563" y="644939"/>
                  </a:cubicBezTo>
                  <a:cubicBezTo>
                    <a:pt x="1505807" y="692795"/>
                    <a:pt x="1522879" y="747488"/>
                    <a:pt x="1577512" y="754325"/>
                  </a:cubicBezTo>
                  <a:cubicBezTo>
                    <a:pt x="1563854" y="709887"/>
                    <a:pt x="1543367" y="662031"/>
                    <a:pt x="1533123" y="614174"/>
                  </a:cubicBezTo>
                  <a:cubicBezTo>
                    <a:pt x="1512636" y="515043"/>
                    <a:pt x="1478490" y="463768"/>
                    <a:pt x="1362397" y="463768"/>
                  </a:cubicBezTo>
                  <a:cubicBezTo>
                    <a:pt x="1300935" y="463768"/>
                    <a:pt x="1246303" y="446677"/>
                    <a:pt x="1205328" y="398820"/>
                  </a:cubicBezTo>
                  <a:cubicBezTo>
                    <a:pt x="1143867" y="333872"/>
                    <a:pt x="1126794" y="227905"/>
                    <a:pt x="1239474" y="173212"/>
                  </a:cubicBezTo>
                  <a:cubicBezTo>
                    <a:pt x="1273619" y="152702"/>
                    <a:pt x="1311179" y="139029"/>
                    <a:pt x="1352153" y="125355"/>
                  </a:cubicBezTo>
                  <a:cubicBezTo>
                    <a:pt x="1410200" y="106555"/>
                    <a:pt x="1468247" y="93736"/>
                    <a:pt x="1526294" y="92454"/>
                  </a:cubicBezTo>
                  <a:close/>
                  <a:moveTo>
                    <a:pt x="2135521" y="83107"/>
                  </a:moveTo>
                  <a:cubicBezTo>
                    <a:pt x="2262765" y="84549"/>
                    <a:pt x="2387609" y="98009"/>
                    <a:pt x="2502849" y="159539"/>
                  </a:cubicBezTo>
                  <a:cubicBezTo>
                    <a:pt x="2489191" y="200558"/>
                    <a:pt x="2475533" y="234741"/>
                    <a:pt x="2461875" y="275761"/>
                  </a:cubicBezTo>
                  <a:cubicBezTo>
                    <a:pt x="2441388" y="289434"/>
                    <a:pt x="2414072" y="309944"/>
                    <a:pt x="2386755" y="327036"/>
                  </a:cubicBezTo>
                  <a:cubicBezTo>
                    <a:pt x="2475533" y="327036"/>
                    <a:pt x="2564311" y="316781"/>
                    <a:pt x="2649674" y="327036"/>
                  </a:cubicBezTo>
                  <a:cubicBezTo>
                    <a:pt x="2748695" y="340709"/>
                    <a:pt x="2844302" y="381729"/>
                    <a:pt x="2875033" y="494533"/>
                  </a:cubicBezTo>
                  <a:cubicBezTo>
                    <a:pt x="2892105" y="552645"/>
                    <a:pt x="2895520" y="614174"/>
                    <a:pt x="2898934" y="675704"/>
                  </a:cubicBezTo>
                  <a:cubicBezTo>
                    <a:pt x="2902349" y="733815"/>
                    <a:pt x="2875033" y="774835"/>
                    <a:pt x="2813571" y="791926"/>
                  </a:cubicBezTo>
                  <a:cubicBezTo>
                    <a:pt x="2779426" y="802181"/>
                    <a:pt x="2745281" y="815855"/>
                    <a:pt x="2711135" y="822691"/>
                  </a:cubicBezTo>
                  <a:cubicBezTo>
                    <a:pt x="2656503" y="839783"/>
                    <a:pt x="2622358" y="812436"/>
                    <a:pt x="2622358" y="754325"/>
                  </a:cubicBezTo>
                  <a:cubicBezTo>
                    <a:pt x="2622358" y="730397"/>
                    <a:pt x="2629187" y="709887"/>
                    <a:pt x="2636016" y="685959"/>
                  </a:cubicBezTo>
                  <a:cubicBezTo>
                    <a:pt x="2656503" y="597083"/>
                    <a:pt x="2690648" y="504788"/>
                    <a:pt x="2636016" y="429585"/>
                  </a:cubicBezTo>
                  <a:cubicBezTo>
                    <a:pt x="2629187" y="484278"/>
                    <a:pt x="2625772" y="552645"/>
                    <a:pt x="2608700" y="610756"/>
                  </a:cubicBezTo>
                  <a:cubicBezTo>
                    <a:pt x="2598456" y="644939"/>
                    <a:pt x="2557482" y="685959"/>
                    <a:pt x="2526751" y="689377"/>
                  </a:cubicBezTo>
                  <a:cubicBezTo>
                    <a:pt x="2499435" y="692795"/>
                    <a:pt x="2458460" y="658612"/>
                    <a:pt x="2434559" y="631266"/>
                  </a:cubicBezTo>
                  <a:cubicBezTo>
                    <a:pt x="2403828" y="597083"/>
                    <a:pt x="2417486" y="566318"/>
                    <a:pt x="2461875" y="552645"/>
                  </a:cubicBezTo>
                  <a:cubicBezTo>
                    <a:pt x="2485777" y="542390"/>
                    <a:pt x="2509678" y="528716"/>
                    <a:pt x="2533580" y="515043"/>
                  </a:cubicBezTo>
                  <a:cubicBezTo>
                    <a:pt x="2444802" y="511625"/>
                    <a:pt x="2379926" y="467187"/>
                    <a:pt x="2304807" y="433004"/>
                  </a:cubicBezTo>
                  <a:cubicBezTo>
                    <a:pt x="2233102" y="402239"/>
                    <a:pt x="2209200" y="361219"/>
                    <a:pt x="2219443" y="279179"/>
                  </a:cubicBezTo>
                  <a:cubicBezTo>
                    <a:pt x="2229687" y="190303"/>
                    <a:pt x="2164811" y="128774"/>
                    <a:pt x="2072618" y="115100"/>
                  </a:cubicBezTo>
                  <a:cubicBezTo>
                    <a:pt x="2048717" y="111682"/>
                    <a:pt x="2024815" y="104846"/>
                    <a:pt x="2004328" y="101427"/>
                  </a:cubicBezTo>
                  <a:cubicBezTo>
                    <a:pt x="2004328" y="94591"/>
                    <a:pt x="2004328" y="87754"/>
                    <a:pt x="2007742" y="84336"/>
                  </a:cubicBezTo>
                  <a:cubicBezTo>
                    <a:pt x="2050424" y="83481"/>
                    <a:pt x="2093105" y="82627"/>
                    <a:pt x="2135521" y="83107"/>
                  </a:cubicBezTo>
                  <a:close/>
                  <a:moveTo>
                    <a:pt x="1790920" y="59126"/>
                  </a:moveTo>
                  <a:cubicBezTo>
                    <a:pt x="1813114" y="58698"/>
                    <a:pt x="1835309" y="58698"/>
                    <a:pt x="1857503" y="60407"/>
                  </a:cubicBezTo>
                  <a:cubicBezTo>
                    <a:pt x="1901892" y="63826"/>
                    <a:pt x="1953110" y="63826"/>
                    <a:pt x="1953110" y="128774"/>
                  </a:cubicBezTo>
                  <a:cubicBezTo>
                    <a:pt x="1953110" y="135610"/>
                    <a:pt x="1963353" y="145865"/>
                    <a:pt x="1970183" y="149284"/>
                  </a:cubicBezTo>
                  <a:cubicBezTo>
                    <a:pt x="2000913" y="159539"/>
                    <a:pt x="2028230" y="169793"/>
                    <a:pt x="2058960" y="173212"/>
                  </a:cubicBezTo>
                  <a:cubicBezTo>
                    <a:pt x="2127251" y="183467"/>
                    <a:pt x="2161396" y="221068"/>
                    <a:pt x="2161396" y="289434"/>
                  </a:cubicBezTo>
                  <a:cubicBezTo>
                    <a:pt x="2157982" y="306526"/>
                    <a:pt x="2154567" y="323618"/>
                    <a:pt x="2154567" y="340709"/>
                  </a:cubicBezTo>
                  <a:cubicBezTo>
                    <a:pt x="2147738" y="405657"/>
                    <a:pt x="2168225" y="433004"/>
                    <a:pt x="2229687" y="460350"/>
                  </a:cubicBezTo>
                  <a:cubicBezTo>
                    <a:pt x="2263832" y="477442"/>
                    <a:pt x="2297978" y="494533"/>
                    <a:pt x="2328708" y="518461"/>
                  </a:cubicBezTo>
                  <a:cubicBezTo>
                    <a:pt x="2342366" y="528716"/>
                    <a:pt x="2359439" y="552645"/>
                    <a:pt x="2356025" y="569736"/>
                  </a:cubicBezTo>
                  <a:cubicBezTo>
                    <a:pt x="2332123" y="672285"/>
                    <a:pt x="2410657" y="733815"/>
                    <a:pt x="2492606" y="774835"/>
                  </a:cubicBezTo>
                  <a:cubicBezTo>
                    <a:pt x="2533580" y="795345"/>
                    <a:pt x="2574554" y="826110"/>
                    <a:pt x="2601871" y="860293"/>
                  </a:cubicBezTo>
                  <a:cubicBezTo>
                    <a:pt x="2642845" y="918404"/>
                    <a:pt x="2670161" y="983352"/>
                    <a:pt x="2632601" y="1051718"/>
                  </a:cubicBezTo>
                  <a:cubicBezTo>
                    <a:pt x="2605285" y="1096156"/>
                    <a:pt x="2574554" y="1144013"/>
                    <a:pt x="2540409" y="1181614"/>
                  </a:cubicBezTo>
                  <a:cubicBezTo>
                    <a:pt x="2492606" y="1232889"/>
                    <a:pt x="2461875" y="1291000"/>
                    <a:pt x="2444802" y="1359366"/>
                  </a:cubicBezTo>
                  <a:cubicBezTo>
                    <a:pt x="2431144" y="1407223"/>
                    <a:pt x="2410657" y="1451661"/>
                    <a:pt x="2393584" y="1499517"/>
                  </a:cubicBezTo>
                  <a:cubicBezTo>
                    <a:pt x="2424315" y="1472171"/>
                    <a:pt x="2455046" y="1441406"/>
                    <a:pt x="2475533" y="1407223"/>
                  </a:cubicBezTo>
                  <a:cubicBezTo>
                    <a:pt x="2506264" y="1359366"/>
                    <a:pt x="2526751" y="1308092"/>
                    <a:pt x="2557482" y="1260235"/>
                  </a:cubicBezTo>
                  <a:cubicBezTo>
                    <a:pt x="2564311" y="1249980"/>
                    <a:pt x="2584798" y="1236307"/>
                    <a:pt x="2598456" y="1239725"/>
                  </a:cubicBezTo>
                  <a:cubicBezTo>
                    <a:pt x="2608700" y="1243144"/>
                    <a:pt x="2622358" y="1263654"/>
                    <a:pt x="2622358" y="1277327"/>
                  </a:cubicBezTo>
                  <a:cubicBezTo>
                    <a:pt x="2632601" y="1349111"/>
                    <a:pt x="2629187" y="1424314"/>
                    <a:pt x="2591627" y="1489262"/>
                  </a:cubicBezTo>
                  <a:cubicBezTo>
                    <a:pt x="2557482" y="1543955"/>
                    <a:pt x="2519922" y="1598648"/>
                    <a:pt x="2482362" y="1656760"/>
                  </a:cubicBezTo>
                  <a:cubicBezTo>
                    <a:pt x="2492606" y="1653341"/>
                    <a:pt x="2502849" y="1649923"/>
                    <a:pt x="2513093" y="1646505"/>
                  </a:cubicBezTo>
                  <a:cubicBezTo>
                    <a:pt x="2598456" y="1612322"/>
                    <a:pt x="2608700" y="1619158"/>
                    <a:pt x="2618943" y="1714871"/>
                  </a:cubicBezTo>
                  <a:cubicBezTo>
                    <a:pt x="2618943" y="1721708"/>
                    <a:pt x="2618943" y="1728544"/>
                    <a:pt x="2618943" y="1728544"/>
                  </a:cubicBezTo>
                  <a:cubicBezTo>
                    <a:pt x="2564311" y="1718289"/>
                    <a:pt x="2509678" y="1701198"/>
                    <a:pt x="2455046" y="1694361"/>
                  </a:cubicBezTo>
                  <a:cubicBezTo>
                    <a:pt x="2359439" y="1680688"/>
                    <a:pt x="2263832" y="1663596"/>
                    <a:pt x="2188713" y="1588393"/>
                  </a:cubicBezTo>
                  <a:cubicBezTo>
                    <a:pt x="2130666" y="1530282"/>
                    <a:pt x="2134080" y="1520027"/>
                    <a:pt x="2192127" y="1461916"/>
                  </a:cubicBezTo>
                  <a:cubicBezTo>
                    <a:pt x="2209200" y="1448243"/>
                    <a:pt x="2222858" y="1417478"/>
                    <a:pt x="2216029" y="1400386"/>
                  </a:cubicBezTo>
                  <a:cubicBezTo>
                    <a:pt x="2195542" y="1325183"/>
                    <a:pt x="2216029" y="1256817"/>
                    <a:pt x="2246760" y="1188451"/>
                  </a:cubicBezTo>
                  <a:cubicBezTo>
                    <a:pt x="2277490" y="1126921"/>
                    <a:pt x="2318465" y="1068810"/>
                    <a:pt x="2403828" y="1079065"/>
                  </a:cubicBezTo>
                  <a:cubicBezTo>
                    <a:pt x="2431144" y="1082483"/>
                    <a:pt x="2461875" y="1072228"/>
                    <a:pt x="2482362" y="1058555"/>
                  </a:cubicBezTo>
                  <a:cubicBezTo>
                    <a:pt x="2523336" y="1038045"/>
                    <a:pt x="2523336" y="993607"/>
                    <a:pt x="2489191" y="962842"/>
                  </a:cubicBezTo>
                  <a:cubicBezTo>
                    <a:pt x="2478948" y="1017535"/>
                    <a:pt x="2461875" y="1031208"/>
                    <a:pt x="2403828" y="1027790"/>
                  </a:cubicBezTo>
                  <a:cubicBezTo>
                    <a:pt x="2338952" y="1020953"/>
                    <a:pt x="2328708" y="1007280"/>
                    <a:pt x="2321879" y="942332"/>
                  </a:cubicBezTo>
                  <a:cubicBezTo>
                    <a:pt x="2318465" y="914986"/>
                    <a:pt x="2311636" y="887639"/>
                    <a:pt x="2304807" y="860293"/>
                  </a:cubicBezTo>
                  <a:cubicBezTo>
                    <a:pt x="2274076" y="757743"/>
                    <a:pt x="2188713" y="709887"/>
                    <a:pt x="2103349" y="662031"/>
                  </a:cubicBezTo>
                  <a:cubicBezTo>
                    <a:pt x="2052131" y="634684"/>
                    <a:pt x="2000913" y="603919"/>
                    <a:pt x="1949695" y="573154"/>
                  </a:cubicBezTo>
                  <a:cubicBezTo>
                    <a:pt x="2035059" y="521880"/>
                    <a:pt x="2106764" y="597083"/>
                    <a:pt x="2178469" y="586828"/>
                  </a:cubicBezTo>
                  <a:cubicBezTo>
                    <a:pt x="2144324" y="545808"/>
                    <a:pt x="2106764" y="508206"/>
                    <a:pt x="2086276" y="460350"/>
                  </a:cubicBezTo>
                  <a:cubicBezTo>
                    <a:pt x="2058960" y="405657"/>
                    <a:pt x="2028230" y="354382"/>
                    <a:pt x="1977012" y="320199"/>
                  </a:cubicBezTo>
                  <a:cubicBezTo>
                    <a:pt x="1922379" y="282598"/>
                    <a:pt x="1864332" y="248415"/>
                    <a:pt x="1802871" y="210813"/>
                  </a:cubicBezTo>
                  <a:cubicBezTo>
                    <a:pt x="1830187" y="135610"/>
                    <a:pt x="1778969" y="101427"/>
                    <a:pt x="1724337" y="60407"/>
                  </a:cubicBezTo>
                  <a:cubicBezTo>
                    <a:pt x="1746531" y="60407"/>
                    <a:pt x="1768725" y="59553"/>
                    <a:pt x="1790920" y="59126"/>
                  </a:cubicBezTo>
                  <a:close/>
                  <a:moveTo>
                    <a:pt x="1871161" y="2296"/>
                  </a:moveTo>
                  <a:cubicBezTo>
                    <a:pt x="1710678" y="-11377"/>
                    <a:pt x="1557025" y="39898"/>
                    <a:pt x="1396542" y="53571"/>
                  </a:cubicBezTo>
                  <a:cubicBezTo>
                    <a:pt x="1386298" y="53571"/>
                    <a:pt x="1372640" y="56989"/>
                    <a:pt x="1362397" y="60407"/>
                  </a:cubicBezTo>
                  <a:cubicBezTo>
                    <a:pt x="1277033" y="91172"/>
                    <a:pt x="1191670" y="121937"/>
                    <a:pt x="1106307" y="145865"/>
                  </a:cubicBezTo>
                  <a:cubicBezTo>
                    <a:pt x="976555" y="180048"/>
                    <a:pt x="857046" y="231323"/>
                    <a:pt x="764854" y="337291"/>
                  </a:cubicBezTo>
                  <a:cubicBezTo>
                    <a:pt x="758025" y="347546"/>
                    <a:pt x="740952" y="350964"/>
                    <a:pt x="727294" y="357801"/>
                  </a:cubicBezTo>
                  <a:cubicBezTo>
                    <a:pt x="679491" y="385147"/>
                    <a:pt x="621444" y="402239"/>
                    <a:pt x="580470" y="439840"/>
                  </a:cubicBezTo>
                  <a:cubicBezTo>
                    <a:pt x="484863" y="528716"/>
                    <a:pt x="399500" y="624429"/>
                    <a:pt x="310722" y="720142"/>
                  </a:cubicBezTo>
                  <a:cubicBezTo>
                    <a:pt x="293649" y="737233"/>
                    <a:pt x="279991" y="757743"/>
                    <a:pt x="269747" y="774835"/>
                  </a:cubicBezTo>
                  <a:cubicBezTo>
                    <a:pt x="235602" y="832946"/>
                    <a:pt x="201457" y="887639"/>
                    <a:pt x="170726" y="945751"/>
                  </a:cubicBezTo>
                  <a:cubicBezTo>
                    <a:pt x="112679" y="1102993"/>
                    <a:pt x="54632" y="1263654"/>
                    <a:pt x="0" y="1420896"/>
                  </a:cubicBezTo>
                  <a:cubicBezTo>
                    <a:pt x="3414" y="1530282"/>
                    <a:pt x="0" y="1639668"/>
                    <a:pt x="17072" y="1745636"/>
                  </a:cubicBezTo>
                  <a:cubicBezTo>
                    <a:pt x="27316" y="1824257"/>
                    <a:pt x="47803" y="1902879"/>
                    <a:pt x="102436" y="1964408"/>
                  </a:cubicBezTo>
                  <a:cubicBezTo>
                    <a:pt x="157068" y="2022520"/>
                    <a:pt x="225359" y="2060121"/>
                    <a:pt x="307307" y="2070376"/>
                  </a:cubicBezTo>
                  <a:cubicBezTo>
                    <a:pt x="303893" y="2224200"/>
                    <a:pt x="348282" y="2354096"/>
                    <a:pt x="464376" y="2456645"/>
                  </a:cubicBezTo>
                  <a:cubicBezTo>
                    <a:pt x="559982" y="2542103"/>
                    <a:pt x="672662" y="2596796"/>
                    <a:pt x="798999" y="2627561"/>
                  </a:cubicBezTo>
                  <a:cubicBezTo>
                    <a:pt x="880948" y="2644652"/>
                    <a:pt x="959482" y="2671999"/>
                    <a:pt x="1041431" y="2695927"/>
                  </a:cubicBezTo>
                  <a:cubicBezTo>
                    <a:pt x="993627" y="2754038"/>
                    <a:pt x="945824" y="2808731"/>
                    <a:pt x="904850" y="2866843"/>
                  </a:cubicBezTo>
                  <a:cubicBezTo>
                    <a:pt x="860461" y="2931791"/>
                    <a:pt x="860461" y="2952301"/>
                    <a:pt x="898021" y="2989902"/>
                  </a:cubicBezTo>
                  <a:cubicBezTo>
                    <a:pt x="935580" y="3024085"/>
                    <a:pt x="1014115" y="3034340"/>
                    <a:pt x="1051674" y="2996739"/>
                  </a:cubicBezTo>
                  <a:cubicBezTo>
                    <a:pt x="1184841" y="2866843"/>
                    <a:pt x="1355567" y="2805313"/>
                    <a:pt x="1519465" y="2730110"/>
                  </a:cubicBezTo>
                  <a:cubicBezTo>
                    <a:pt x="1580926" y="2702764"/>
                    <a:pt x="1628730" y="2665162"/>
                    <a:pt x="1656046" y="2600214"/>
                  </a:cubicBezTo>
                  <a:cubicBezTo>
                    <a:pt x="1673119" y="2562613"/>
                    <a:pt x="1727751" y="2548940"/>
                    <a:pt x="1765311" y="2569450"/>
                  </a:cubicBezTo>
                  <a:cubicBezTo>
                    <a:pt x="1785798" y="2583123"/>
                    <a:pt x="1813114" y="2593378"/>
                    <a:pt x="1833601" y="2607051"/>
                  </a:cubicBezTo>
                  <a:cubicBezTo>
                    <a:pt x="1871161" y="2627561"/>
                    <a:pt x="1905307" y="2654907"/>
                    <a:pt x="1939452" y="2678836"/>
                  </a:cubicBezTo>
                  <a:cubicBezTo>
                    <a:pt x="2017986" y="2733529"/>
                    <a:pt x="2103349" y="2754038"/>
                    <a:pt x="2195542" y="2757457"/>
                  </a:cubicBezTo>
                  <a:cubicBezTo>
                    <a:pt x="2349195" y="2760875"/>
                    <a:pt x="2492606" y="2733529"/>
                    <a:pt x="2622358" y="2651489"/>
                  </a:cubicBezTo>
                  <a:cubicBezTo>
                    <a:pt x="2636016" y="2641234"/>
                    <a:pt x="2649674" y="2630979"/>
                    <a:pt x="2656503" y="2620724"/>
                  </a:cubicBezTo>
                  <a:cubicBezTo>
                    <a:pt x="2738452" y="2507920"/>
                    <a:pt x="2861375" y="2422462"/>
                    <a:pt x="2898934" y="2272056"/>
                  </a:cubicBezTo>
                  <a:cubicBezTo>
                    <a:pt x="3021858" y="2350677"/>
                    <a:pt x="3158439" y="2343841"/>
                    <a:pt x="3288191" y="2337004"/>
                  </a:cubicBezTo>
                  <a:cubicBezTo>
                    <a:pt x="3472575" y="2330168"/>
                    <a:pt x="3602327" y="2224200"/>
                    <a:pt x="3691105" y="2066958"/>
                  </a:cubicBezTo>
                  <a:cubicBezTo>
                    <a:pt x="3725250" y="2008846"/>
                    <a:pt x="3762810" y="1957572"/>
                    <a:pt x="3796955" y="1906297"/>
                  </a:cubicBezTo>
                  <a:cubicBezTo>
                    <a:pt x="3817443" y="1848186"/>
                    <a:pt x="3841344" y="1786656"/>
                    <a:pt x="3861831" y="1728544"/>
                  </a:cubicBezTo>
                  <a:cubicBezTo>
                    <a:pt x="3861831" y="1721708"/>
                    <a:pt x="3858417" y="1711453"/>
                    <a:pt x="3861831" y="1701198"/>
                  </a:cubicBezTo>
                  <a:cubicBezTo>
                    <a:pt x="3878904" y="1561047"/>
                    <a:pt x="3885733" y="1420896"/>
                    <a:pt x="3844759" y="1284163"/>
                  </a:cubicBezTo>
                  <a:cubicBezTo>
                    <a:pt x="3807199" y="1157686"/>
                    <a:pt x="3745737" y="1034627"/>
                    <a:pt x="3677447" y="918404"/>
                  </a:cubicBezTo>
                  <a:cubicBezTo>
                    <a:pt x="3633058" y="836365"/>
                    <a:pt x="3554524" y="774835"/>
                    <a:pt x="3499891" y="696214"/>
                  </a:cubicBezTo>
                  <a:cubicBezTo>
                    <a:pt x="3373554" y="515043"/>
                    <a:pt x="3182340" y="415912"/>
                    <a:pt x="3004785" y="299689"/>
                  </a:cubicBezTo>
                  <a:cubicBezTo>
                    <a:pt x="2963811" y="272343"/>
                    <a:pt x="2912593" y="258670"/>
                    <a:pt x="2868204" y="241578"/>
                  </a:cubicBezTo>
                  <a:cubicBezTo>
                    <a:pt x="2793084" y="210813"/>
                    <a:pt x="2721379" y="180048"/>
                    <a:pt x="2649674" y="152702"/>
                  </a:cubicBezTo>
                  <a:cubicBezTo>
                    <a:pt x="2615529" y="139029"/>
                    <a:pt x="2581383" y="128774"/>
                    <a:pt x="2547238" y="115100"/>
                  </a:cubicBezTo>
                  <a:cubicBezTo>
                    <a:pt x="2465289" y="87754"/>
                    <a:pt x="2386755" y="50153"/>
                    <a:pt x="2301392" y="36479"/>
                  </a:cubicBezTo>
                  <a:cubicBezTo>
                    <a:pt x="2161396" y="15969"/>
                    <a:pt x="2014571" y="12551"/>
                    <a:pt x="1871161" y="229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</a:defRPr>
              </a:lvl9pPr>
            </a:lstStyle>
            <a:p>
              <a:endParaRPr lang="id-ID"/>
            </a:p>
          </p:txBody>
        </p:sp>
        <p:sp>
          <p:nvSpPr>
            <p:cNvPr id="6" name="isľîḍè">
              <a:extLst>
                <a:ext uri="{FF2B5EF4-FFF2-40B4-BE49-F238E27FC236}">
                  <a16:creationId xmlns:a16="http://schemas.microsoft.com/office/drawing/2014/main" id="{8F641F4C-1377-4FDF-AB6B-36324E8425EA}"/>
                </a:ext>
              </a:extLst>
            </p:cNvPr>
            <p:cNvSpPr/>
            <p:nvPr/>
          </p:nvSpPr>
          <p:spPr>
            <a:xfrm>
              <a:off x="3194470" y="1642367"/>
              <a:ext cx="497636" cy="527848"/>
            </a:xfrm>
            <a:custGeom>
              <a:avLst/>
              <a:gdLst>
                <a:gd name="connsiteX0" fmla="*/ 459431 w 571597"/>
                <a:gd name="connsiteY0" fmla="*/ 368750 h 606298"/>
                <a:gd name="connsiteX1" fmla="*/ 407567 w 571597"/>
                <a:gd name="connsiteY1" fmla="*/ 390187 h 606298"/>
                <a:gd name="connsiteX2" fmla="*/ 407567 w 571597"/>
                <a:gd name="connsiteY2" fmla="*/ 493782 h 606298"/>
                <a:gd name="connsiteX3" fmla="*/ 459431 w 571597"/>
                <a:gd name="connsiteY3" fmla="*/ 515095 h 606298"/>
                <a:gd name="connsiteX4" fmla="*/ 511296 w 571597"/>
                <a:gd name="connsiteY4" fmla="*/ 493782 h 606298"/>
                <a:gd name="connsiteX5" fmla="*/ 532761 w 571597"/>
                <a:gd name="connsiteY5" fmla="*/ 441985 h 606298"/>
                <a:gd name="connsiteX6" fmla="*/ 511296 w 571597"/>
                <a:gd name="connsiteY6" fmla="*/ 390187 h 606298"/>
                <a:gd name="connsiteX7" fmla="*/ 459431 w 571597"/>
                <a:gd name="connsiteY7" fmla="*/ 368750 h 606298"/>
                <a:gd name="connsiteX8" fmla="*/ 459431 w 571597"/>
                <a:gd name="connsiteY8" fmla="*/ 329964 h 606298"/>
                <a:gd name="connsiteX9" fmla="*/ 538717 w 571597"/>
                <a:gd name="connsiteY9" fmla="*/ 362678 h 606298"/>
                <a:gd name="connsiteX10" fmla="*/ 571597 w 571597"/>
                <a:gd name="connsiteY10" fmla="*/ 441985 h 606298"/>
                <a:gd name="connsiteX11" fmla="*/ 538717 w 571597"/>
                <a:gd name="connsiteY11" fmla="*/ 521167 h 606298"/>
                <a:gd name="connsiteX12" fmla="*/ 459431 w 571597"/>
                <a:gd name="connsiteY12" fmla="*/ 553881 h 606298"/>
                <a:gd name="connsiteX13" fmla="*/ 404093 w 571597"/>
                <a:gd name="connsiteY13" fmla="*/ 539383 h 606298"/>
                <a:gd name="connsiteX14" fmla="*/ 400246 w 571597"/>
                <a:gd name="connsiteY14" fmla="*/ 537276 h 606298"/>
                <a:gd name="connsiteX15" fmla="*/ 338580 w 571597"/>
                <a:gd name="connsiteY15" fmla="*/ 598863 h 606298"/>
                <a:gd name="connsiteX16" fmla="*/ 320465 w 571597"/>
                <a:gd name="connsiteY16" fmla="*/ 606298 h 606298"/>
                <a:gd name="connsiteX17" fmla="*/ 302350 w 571597"/>
                <a:gd name="connsiteY17" fmla="*/ 598863 h 606298"/>
                <a:gd name="connsiteX18" fmla="*/ 302350 w 571597"/>
                <a:gd name="connsiteY18" fmla="*/ 562679 h 606298"/>
                <a:gd name="connsiteX19" fmla="*/ 364016 w 571597"/>
                <a:gd name="connsiteY19" fmla="*/ 500969 h 606298"/>
                <a:gd name="connsiteX20" fmla="*/ 361783 w 571597"/>
                <a:gd name="connsiteY20" fmla="*/ 497251 h 606298"/>
                <a:gd name="connsiteX21" fmla="*/ 380022 w 571597"/>
                <a:gd name="connsiteY21" fmla="*/ 362678 h 606298"/>
                <a:gd name="connsiteX22" fmla="*/ 459431 w 571597"/>
                <a:gd name="connsiteY22" fmla="*/ 329964 h 606298"/>
                <a:gd name="connsiteX23" fmla="*/ 164803 w 571597"/>
                <a:gd name="connsiteY23" fmla="*/ 311798 h 606298"/>
                <a:gd name="connsiteX24" fmla="*/ 174979 w 571597"/>
                <a:gd name="connsiteY24" fmla="*/ 312665 h 606298"/>
                <a:gd name="connsiteX25" fmla="*/ 223998 w 571597"/>
                <a:gd name="connsiteY25" fmla="*/ 336327 h 606298"/>
                <a:gd name="connsiteX26" fmla="*/ 230699 w 571597"/>
                <a:gd name="connsiteY26" fmla="*/ 342149 h 606298"/>
                <a:gd name="connsiteX27" fmla="*/ 248445 w 571597"/>
                <a:gd name="connsiteY27" fmla="*/ 388853 h 606298"/>
                <a:gd name="connsiteX28" fmla="*/ 266192 w 571597"/>
                <a:gd name="connsiteY28" fmla="*/ 342149 h 606298"/>
                <a:gd name="connsiteX29" fmla="*/ 272893 w 571597"/>
                <a:gd name="connsiteY29" fmla="*/ 336327 h 606298"/>
                <a:gd name="connsiteX30" fmla="*/ 321788 w 571597"/>
                <a:gd name="connsiteY30" fmla="*/ 312665 h 606298"/>
                <a:gd name="connsiteX31" fmla="*/ 332088 w 571597"/>
                <a:gd name="connsiteY31" fmla="*/ 311798 h 606298"/>
                <a:gd name="connsiteX32" fmla="*/ 332585 w 571597"/>
                <a:gd name="connsiteY32" fmla="*/ 312170 h 606298"/>
                <a:gd name="connsiteX33" fmla="*/ 380859 w 571597"/>
                <a:gd name="connsiteY33" fmla="*/ 338061 h 606298"/>
                <a:gd name="connsiteX34" fmla="*/ 367208 w 571597"/>
                <a:gd name="connsiteY34" fmla="*/ 349954 h 606298"/>
                <a:gd name="connsiteX35" fmla="*/ 341520 w 571597"/>
                <a:gd name="connsiteY35" fmla="*/ 497744 h 606298"/>
                <a:gd name="connsiteX36" fmla="*/ 289398 w 571597"/>
                <a:gd name="connsiteY36" fmla="*/ 549775 h 606298"/>
                <a:gd name="connsiteX37" fmla="*/ 276740 w 571597"/>
                <a:gd name="connsiteY37" fmla="*/ 577276 h 606298"/>
                <a:gd name="connsiteX38" fmla="*/ 248445 w 571597"/>
                <a:gd name="connsiteY38" fmla="*/ 577648 h 606298"/>
                <a:gd name="connsiteX39" fmla="*/ 496 w 571597"/>
                <a:gd name="connsiteY39" fmla="*/ 497497 h 606298"/>
                <a:gd name="connsiteX40" fmla="*/ 124 w 571597"/>
                <a:gd name="connsiteY40" fmla="*/ 492913 h 606298"/>
                <a:gd name="connsiteX41" fmla="*/ 49267 w 571597"/>
                <a:gd name="connsiteY41" fmla="*/ 376464 h 606298"/>
                <a:gd name="connsiteX42" fmla="*/ 164803 w 571597"/>
                <a:gd name="connsiteY42" fmla="*/ 311798 h 606298"/>
                <a:gd name="connsiteX43" fmla="*/ 248478 w 571597"/>
                <a:gd name="connsiteY43" fmla="*/ 114259 h 606298"/>
                <a:gd name="connsiteX44" fmla="*/ 152788 w 571597"/>
                <a:gd name="connsiteY44" fmla="*/ 155526 h 606298"/>
                <a:gd name="connsiteX45" fmla="*/ 134544 w 571597"/>
                <a:gd name="connsiteY45" fmla="*/ 138053 h 606298"/>
                <a:gd name="connsiteX46" fmla="*/ 134171 w 571597"/>
                <a:gd name="connsiteY46" fmla="*/ 162962 h 606298"/>
                <a:gd name="connsiteX47" fmla="*/ 179844 w 571597"/>
                <a:gd name="connsiteY47" fmla="*/ 273256 h 606298"/>
                <a:gd name="connsiteX48" fmla="*/ 248478 w 571597"/>
                <a:gd name="connsiteY48" fmla="*/ 306344 h 606298"/>
                <a:gd name="connsiteX49" fmla="*/ 317112 w 571597"/>
                <a:gd name="connsiteY49" fmla="*/ 273256 h 606298"/>
                <a:gd name="connsiteX50" fmla="*/ 362785 w 571597"/>
                <a:gd name="connsiteY50" fmla="*/ 162962 h 606298"/>
                <a:gd name="connsiteX51" fmla="*/ 362288 w 571597"/>
                <a:gd name="connsiteY51" fmla="*/ 138053 h 606298"/>
                <a:gd name="connsiteX52" fmla="*/ 344168 w 571597"/>
                <a:gd name="connsiteY52" fmla="*/ 155526 h 606298"/>
                <a:gd name="connsiteX53" fmla="*/ 248478 w 571597"/>
                <a:gd name="connsiteY53" fmla="*/ 114259 h 606298"/>
                <a:gd name="connsiteX54" fmla="*/ 248478 w 571597"/>
                <a:gd name="connsiteY54" fmla="*/ 52575 h 606298"/>
                <a:gd name="connsiteX55" fmla="*/ 204791 w 571597"/>
                <a:gd name="connsiteY55" fmla="*/ 59732 h 606298"/>
                <a:gd name="connsiteX56" fmla="*/ 214471 w 571597"/>
                <a:gd name="connsiteY56" fmla="*/ 84269 h 606298"/>
                <a:gd name="connsiteX57" fmla="*/ 282360 w 571597"/>
                <a:gd name="connsiteY57" fmla="*/ 84269 h 606298"/>
                <a:gd name="connsiteX58" fmla="*/ 292165 w 571597"/>
                <a:gd name="connsiteY58" fmla="*/ 59732 h 606298"/>
                <a:gd name="connsiteX59" fmla="*/ 248478 w 571597"/>
                <a:gd name="connsiteY59" fmla="*/ 52575 h 606298"/>
                <a:gd name="connsiteX60" fmla="*/ 248478 w 571597"/>
                <a:gd name="connsiteY60" fmla="*/ 0 h 606298"/>
                <a:gd name="connsiteX61" fmla="*/ 357696 w 571597"/>
                <a:gd name="connsiteY61" fmla="*/ 42878 h 606298"/>
                <a:gd name="connsiteX62" fmla="*/ 380533 w 571597"/>
                <a:gd name="connsiteY62" fmla="*/ 116738 h 606298"/>
                <a:gd name="connsiteX63" fmla="*/ 382270 w 571597"/>
                <a:gd name="connsiteY63" fmla="*/ 162962 h 606298"/>
                <a:gd name="connsiteX64" fmla="*/ 248478 w 571597"/>
                <a:gd name="connsiteY64" fmla="*/ 325800 h 606298"/>
                <a:gd name="connsiteX65" fmla="*/ 114686 w 571597"/>
                <a:gd name="connsiteY65" fmla="*/ 162962 h 606298"/>
                <a:gd name="connsiteX66" fmla="*/ 116423 w 571597"/>
                <a:gd name="connsiteY66" fmla="*/ 116738 h 606298"/>
                <a:gd name="connsiteX67" fmla="*/ 139136 w 571597"/>
                <a:gd name="connsiteY67" fmla="*/ 42878 h 606298"/>
                <a:gd name="connsiteX68" fmla="*/ 248478 w 571597"/>
                <a:gd name="connsiteY68" fmla="*/ 0 h 606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571597" h="606298">
                  <a:moveTo>
                    <a:pt x="459431" y="368750"/>
                  </a:moveTo>
                  <a:cubicBezTo>
                    <a:pt x="439827" y="368750"/>
                    <a:pt x="421340" y="376309"/>
                    <a:pt x="407567" y="390187"/>
                  </a:cubicBezTo>
                  <a:cubicBezTo>
                    <a:pt x="379029" y="418688"/>
                    <a:pt x="379029" y="465157"/>
                    <a:pt x="407567" y="493782"/>
                  </a:cubicBezTo>
                  <a:cubicBezTo>
                    <a:pt x="421340" y="507536"/>
                    <a:pt x="439827" y="515095"/>
                    <a:pt x="459431" y="515095"/>
                  </a:cubicBezTo>
                  <a:cubicBezTo>
                    <a:pt x="479036" y="515095"/>
                    <a:pt x="497399" y="507536"/>
                    <a:pt x="511296" y="493782"/>
                  </a:cubicBezTo>
                  <a:cubicBezTo>
                    <a:pt x="525068" y="479903"/>
                    <a:pt x="532761" y="461563"/>
                    <a:pt x="532761" y="441985"/>
                  </a:cubicBezTo>
                  <a:cubicBezTo>
                    <a:pt x="532761" y="422406"/>
                    <a:pt x="525068" y="403942"/>
                    <a:pt x="511296" y="390187"/>
                  </a:cubicBezTo>
                  <a:cubicBezTo>
                    <a:pt x="497399" y="376309"/>
                    <a:pt x="479036" y="368750"/>
                    <a:pt x="459431" y="368750"/>
                  </a:cubicBezTo>
                  <a:close/>
                  <a:moveTo>
                    <a:pt x="459431" y="329964"/>
                  </a:moveTo>
                  <a:cubicBezTo>
                    <a:pt x="489458" y="329964"/>
                    <a:pt x="517624" y="341612"/>
                    <a:pt x="538717" y="362678"/>
                  </a:cubicBezTo>
                  <a:cubicBezTo>
                    <a:pt x="559934" y="383868"/>
                    <a:pt x="571597" y="411997"/>
                    <a:pt x="571597" y="441985"/>
                  </a:cubicBezTo>
                  <a:cubicBezTo>
                    <a:pt x="571597" y="471849"/>
                    <a:pt x="559934" y="500102"/>
                    <a:pt x="538717" y="521167"/>
                  </a:cubicBezTo>
                  <a:cubicBezTo>
                    <a:pt x="517624" y="542357"/>
                    <a:pt x="489458" y="553881"/>
                    <a:pt x="459431" y="553881"/>
                  </a:cubicBezTo>
                  <a:cubicBezTo>
                    <a:pt x="439951" y="553881"/>
                    <a:pt x="420843" y="548925"/>
                    <a:pt x="404093" y="539383"/>
                  </a:cubicBezTo>
                  <a:lnTo>
                    <a:pt x="400246" y="537276"/>
                  </a:lnTo>
                  <a:lnTo>
                    <a:pt x="338580" y="598863"/>
                  </a:lnTo>
                  <a:cubicBezTo>
                    <a:pt x="333741" y="603696"/>
                    <a:pt x="327289" y="606298"/>
                    <a:pt x="320465" y="606298"/>
                  </a:cubicBezTo>
                  <a:cubicBezTo>
                    <a:pt x="313641" y="606298"/>
                    <a:pt x="307189" y="603696"/>
                    <a:pt x="302350" y="598863"/>
                  </a:cubicBezTo>
                  <a:cubicBezTo>
                    <a:pt x="292299" y="588826"/>
                    <a:pt x="292299" y="572593"/>
                    <a:pt x="302350" y="562679"/>
                  </a:cubicBezTo>
                  <a:lnTo>
                    <a:pt x="364016" y="500969"/>
                  </a:lnTo>
                  <a:lnTo>
                    <a:pt x="361783" y="497251"/>
                  </a:lnTo>
                  <a:cubicBezTo>
                    <a:pt x="336967" y="453509"/>
                    <a:pt x="344536" y="398242"/>
                    <a:pt x="380022" y="362678"/>
                  </a:cubicBezTo>
                  <a:cubicBezTo>
                    <a:pt x="401239" y="341612"/>
                    <a:pt x="429405" y="329964"/>
                    <a:pt x="459431" y="329964"/>
                  </a:cubicBezTo>
                  <a:close/>
                  <a:moveTo>
                    <a:pt x="164803" y="311798"/>
                  </a:moveTo>
                  <a:cubicBezTo>
                    <a:pt x="168029" y="310064"/>
                    <a:pt x="172125" y="310436"/>
                    <a:pt x="174979" y="312665"/>
                  </a:cubicBezTo>
                  <a:cubicBezTo>
                    <a:pt x="189995" y="324434"/>
                    <a:pt x="206500" y="332487"/>
                    <a:pt x="223998" y="336327"/>
                  </a:cubicBezTo>
                  <a:cubicBezTo>
                    <a:pt x="226976" y="336946"/>
                    <a:pt x="229582" y="339176"/>
                    <a:pt x="230699" y="342149"/>
                  </a:cubicBezTo>
                  <a:lnTo>
                    <a:pt x="248445" y="388853"/>
                  </a:lnTo>
                  <a:lnTo>
                    <a:pt x="266192" y="342149"/>
                  </a:lnTo>
                  <a:cubicBezTo>
                    <a:pt x="267308" y="339176"/>
                    <a:pt x="269790" y="336946"/>
                    <a:pt x="272893" y="336327"/>
                  </a:cubicBezTo>
                  <a:cubicBezTo>
                    <a:pt x="290391" y="332487"/>
                    <a:pt x="306772" y="324434"/>
                    <a:pt x="321788" y="312665"/>
                  </a:cubicBezTo>
                  <a:cubicBezTo>
                    <a:pt x="324767" y="310436"/>
                    <a:pt x="328738" y="310064"/>
                    <a:pt x="332088" y="311798"/>
                  </a:cubicBezTo>
                  <a:lnTo>
                    <a:pt x="332585" y="312170"/>
                  </a:lnTo>
                  <a:cubicBezTo>
                    <a:pt x="344250" y="318364"/>
                    <a:pt x="362244" y="327903"/>
                    <a:pt x="380859" y="338061"/>
                  </a:cubicBezTo>
                  <a:cubicBezTo>
                    <a:pt x="376019" y="341654"/>
                    <a:pt x="371428" y="345618"/>
                    <a:pt x="367208" y="349954"/>
                  </a:cubicBezTo>
                  <a:cubicBezTo>
                    <a:pt x="327621" y="389348"/>
                    <a:pt x="318189" y="448687"/>
                    <a:pt x="341520" y="497744"/>
                  </a:cubicBezTo>
                  <a:lnTo>
                    <a:pt x="289398" y="549775"/>
                  </a:lnTo>
                  <a:cubicBezTo>
                    <a:pt x="281704" y="557455"/>
                    <a:pt x="277485" y="567242"/>
                    <a:pt x="276740" y="577276"/>
                  </a:cubicBezTo>
                  <a:cubicBezTo>
                    <a:pt x="267681" y="577524"/>
                    <a:pt x="258249" y="577648"/>
                    <a:pt x="248445" y="577648"/>
                  </a:cubicBezTo>
                  <a:cubicBezTo>
                    <a:pt x="31397" y="577648"/>
                    <a:pt x="1613" y="500718"/>
                    <a:pt x="496" y="497497"/>
                  </a:cubicBezTo>
                  <a:cubicBezTo>
                    <a:pt x="0" y="496010"/>
                    <a:pt x="-124" y="494400"/>
                    <a:pt x="124" y="492913"/>
                  </a:cubicBezTo>
                  <a:cubicBezTo>
                    <a:pt x="2606" y="477304"/>
                    <a:pt x="16753" y="398268"/>
                    <a:pt x="49267" y="376464"/>
                  </a:cubicBezTo>
                  <a:cubicBezTo>
                    <a:pt x="68378" y="363581"/>
                    <a:pt x="136384" y="326912"/>
                    <a:pt x="164803" y="311798"/>
                  </a:cubicBezTo>
                  <a:close/>
                  <a:moveTo>
                    <a:pt x="248478" y="114259"/>
                  </a:moveTo>
                  <a:cubicBezTo>
                    <a:pt x="183816" y="114259"/>
                    <a:pt x="164454" y="156890"/>
                    <a:pt x="152788" y="155526"/>
                  </a:cubicBezTo>
                  <a:cubicBezTo>
                    <a:pt x="142611" y="154287"/>
                    <a:pt x="136157" y="141399"/>
                    <a:pt x="134544" y="138053"/>
                  </a:cubicBezTo>
                  <a:cubicBezTo>
                    <a:pt x="134295" y="146232"/>
                    <a:pt x="134171" y="154535"/>
                    <a:pt x="134171" y="162962"/>
                  </a:cubicBezTo>
                  <a:cubicBezTo>
                    <a:pt x="134171" y="219100"/>
                    <a:pt x="158993" y="253923"/>
                    <a:pt x="179844" y="273256"/>
                  </a:cubicBezTo>
                  <a:cubicBezTo>
                    <a:pt x="206156" y="297545"/>
                    <a:pt x="235322" y="306344"/>
                    <a:pt x="248478" y="306344"/>
                  </a:cubicBezTo>
                  <a:cubicBezTo>
                    <a:pt x="261634" y="306344"/>
                    <a:pt x="290800" y="297545"/>
                    <a:pt x="317112" y="273256"/>
                  </a:cubicBezTo>
                  <a:cubicBezTo>
                    <a:pt x="337963" y="253923"/>
                    <a:pt x="362785" y="219100"/>
                    <a:pt x="362785" y="162962"/>
                  </a:cubicBezTo>
                  <a:cubicBezTo>
                    <a:pt x="362785" y="154659"/>
                    <a:pt x="362661" y="146232"/>
                    <a:pt x="362288" y="138053"/>
                  </a:cubicBezTo>
                  <a:cubicBezTo>
                    <a:pt x="360799" y="141399"/>
                    <a:pt x="354221" y="154287"/>
                    <a:pt x="344168" y="155526"/>
                  </a:cubicBezTo>
                  <a:cubicBezTo>
                    <a:pt x="332502" y="156890"/>
                    <a:pt x="313140" y="114259"/>
                    <a:pt x="248478" y="114259"/>
                  </a:cubicBezTo>
                  <a:close/>
                  <a:moveTo>
                    <a:pt x="248478" y="52575"/>
                  </a:moveTo>
                  <a:cubicBezTo>
                    <a:pt x="234515" y="52575"/>
                    <a:pt x="220553" y="54961"/>
                    <a:pt x="204791" y="59732"/>
                  </a:cubicBezTo>
                  <a:cubicBezTo>
                    <a:pt x="208638" y="69522"/>
                    <a:pt x="210624" y="74479"/>
                    <a:pt x="214471" y="84269"/>
                  </a:cubicBezTo>
                  <a:cubicBezTo>
                    <a:pt x="239666" y="77206"/>
                    <a:pt x="257166" y="77206"/>
                    <a:pt x="282360" y="84269"/>
                  </a:cubicBezTo>
                  <a:cubicBezTo>
                    <a:pt x="286332" y="74479"/>
                    <a:pt x="288193" y="69522"/>
                    <a:pt x="292165" y="59732"/>
                  </a:cubicBezTo>
                  <a:cubicBezTo>
                    <a:pt x="276403" y="54961"/>
                    <a:pt x="262440" y="52575"/>
                    <a:pt x="248478" y="52575"/>
                  </a:cubicBezTo>
                  <a:close/>
                  <a:moveTo>
                    <a:pt x="248478" y="0"/>
                  </a:moveTo>
                  <a:cubicBezTo>
                    <a:pt x="305818" y="0"/>
                    <a:pt x="338831" y="16234"/>
                    <a:pt x="357696" y="42878"/>
                  </a:cubicBezTo>
                  <a:cubicBezTo>
                    <a:pt x="372465" y="62458"/>
                    <a:pt x="378299" y="87987"/>
                    <a:pt x="380533" y="116738"/>
                  </a:cubicBezTo>
                  <a:cubicBezTo>
                    <a:pt x="381898" y="131361"/>
                    <a:pt x="382270" y="146852"/>
                    <a:pt x="382270" y="162962"/>
                  </a:cubicBezTo>
                  <a:cubicBezTo>
                    <a:pt x="382270" y="277841"/>
                    <a:pt x="288317" y="325800"/>
                    <a:pt x="248478" y="325800"/>
                  </a:cubicBezTo>
                  <a:cubicBezTo>
                    <a:pt x="208514" y="325800"/>
                    <a:pt x="114686" y="277841"/>
                    <a:pt x="114686" y="162962"/>
                  </a:cubicBezTo>
                  <a:cubicBezTo>
                    <a:pt x="114686" y="146852"/>
                    <a:pt x="115058" y="131361"/>
                    <a:pt x="116423" y="116738"/>
                  </a:cubicBezTo>
                  <a:cubicBezTo>
                    <a:pt x="118533" y="87987"/>
                    <a:pt x="124491" y="62458"/>
                    <a:pt x="139136" y="42878"/>
                  </a:cubicBezTo>
                  <a:cubicBezTo>
                    <a:pt x="158001" y="16234"/>
                    <a:pt x="191014" y="0"/>
                    <a:pt x="248478" y="0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7" name="ï$ļïdê">
              <a:extLst>
                <a:ext uri="{FF2B5EF4-FFF2-40B4-BE49-F238E27FC236}">
                  <a16:creationId xmlns:a16="http://schemas.microsoft.com/office/drawing/2014/main" id="{3D67DAA5-6A58-47D5-88FC-0A65E0445859}"/>
                </a:ext>
              </a:extLst>
            </p:cNvPr>
            <p:cNvSpPr txBox="1"/>
            <p:nvPr/>
          </p:nvSpPr>
          <p:spPr bwMode="auto">
            <a:xfrm>
              <a:off x="673100" y="1747141"/>
              <a:ext cx="2403475" cy="43259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3200" b="1" dirty="0"/>
                <a:t>基础疗法</a:t>
              </a:r>
              <a:endParaRPr lang="en-US" altLang="zh-CN" sz="3200" b="1" dirty="0"/>
            </a:p>
          </p:txBody>
        </p: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3321734B-DAA2-4849-B334-E678B1BF3A80}"/>
                </a:ext>
              </a:extLst>
            </p:cNvPr>
            <p:cNvCxnSpPr/>
            <p:nvPr/>
          </p:nvCxnSpPr>
          <p:spPr>
            <a:xfrm>
              <a:off x="673100" y="2217839"/>
              <a:ext cx="3019006" cy="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îs1iḋe">
              <a:extLst>
                <a:ext uri="{FF2B5EF4-FFF2-40B4-BE49-F238E27FC236}">
                  <a16:creationId xmlns:a16="http://schemas.microsoft.com/office/drawing/2014/main" id="{BFE600F0-DA23-4AF2-BDD3-FBAC6711F4A1}"/>
                </a:ext>
              </a:extLst>
            </p:cNvPr>
            <p:cNvSpPr/>
            <p:nvPr/>
          </p:nvSpPr>
          <p:spPr bwMode="auto">
            <a:xfrm>
              <a:off x="673100" y="2408339"/>
              <a:ext cx="3019006" cy="981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zh-CN" altLang="en-US" sz="2400" dirty="0"/>
                <a:t>胃肠减压</a:t>
              </a:r>
              <a:endParaRPr lang="en-US" altLang="zh-CN" sz="2400" dirty="0"/>
            </a:p>
          </p:txBody>
        </p:sp>
        <p:sp>
          <p:nvSpPr>
            <p:cNvPr id="10" name="íṣľiďe">
              <a:extLst>
                <a:ext uri="{FF2B5EF4-FFF2-40B4-BE49-F238E27FC236}">
                  <a16:creationId xmlns:a16="http://schemas.microsoft.com/office/drawing/2014/main" id="{E4281701-AD7E-4578-9980-890883B60C51}"/>
                </a:ext>
              </a:extLst>
            </p:cNvPr>
            <p:cNvSpPr/>
            <p:nvPr/>
          </p:nvSpPr>
          <p:spPr bwMode="auto">
            <a:xfrm>
              <a:off x="673100" y="3530998"/>
              <a:ext cx="3019006" cy="981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zh-CN" altLang="en-US" sz="2000" dirty="0"/>
                <a:t>纠正水电解质酸碱紊乱和酸碱失衡</a:t>
              </a:r>
              <a:endParaRPr lang="en-US" altLang="zh-CN" sz="2000" dirty="0"/>
            </a:p>
          </p:txBody>
        </p:sp>
        <p:sp>
          <p:nvSpPr>
            <p:cNvPr id="11" name="îṩļîďê">
              <a:extLst>
                <a:ext uri="{FF2B5EF4-FFF2-40B4-BE49-F238E27FC236}">
                  <a16:creationId xmlns:a16="http://schemas.microsoft.com/office/drawing/2014/main" id="{B6C91B20-9853-4743-AA0B-E20B4F0ED32D}"/>
                </a:ext>
              </a:extLst>
            </p:cNvPr>
            <p:cNvSpPr/>
            <p:nvPr/>
          </p:nvSpPr>
          <p:spPr bwMode="auto">
            <a:xfrm>
              <a:off x="673100" y="4653658"/>
              <a:ext cx="3019006" cy="981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zh-CN" altLang="en-US" sz="2400" dirty="0"/>
                <a:t>抗感染等</a:t>
              </a:r>
              <a:endParaRPr lang="en-US" altLang="zh-CN" sz="2400" dirty="0"/>
            </a:p>
          </p:txBody>
        </p:sp>
        <p:sp>
          <p:nvSpPr>
            <p:cNvPr id="12" name="iŝliḋê">
              <a:extLst>
                <a:ext uri="{FF2B5EF4-FFF2-40B4-BE49-F238E27FC236}">
                  <a16:creationId xmlns:a16="http://schemas.microsoft.com/office/drawing/2014/main" id="{50B4BE7C-B61C-4105-B02A-AEEFE9A8F0B7}"/>
                </a:ext>
              </a:extLst>
            </p:cNvPr>
            <p:cNvSpPr/>
            <p:nvPr/>
          </p:nvSpPr>
          <p:spPr>
            <a:xfrm>
              <a:off x="8499894" y="1642367"/>
              <a:ext cx="497636" cy="527848"/>
            </a:xfrm>
            <a:custGeom>
              <a:avLst/>
              <a:gdLst>
                <a:gd name="connsiteX0" fmla="*/ 459431 w 571597"/>
                <a:gd name="connsiteY0" fmla="*/ 368750 h 606298"/>
                <a:gd name="connsiteX1" fmla="*/ 407567 w 571597"/>
                <a:gd name="connsiteY1" fmla="*/ 390187 h 606298"/>
                <a:gd name="connsiteX2" fmla="*/ 407567 w 571597"/>
                <a:gd name="connsiteY2" fmla="*/ 493782 h 606298"/>
                <a:gd name="connsiteX3" fmla="*/ 459431 w 571597"/>
                <a:gd name="connsiteY3" fmla="*/ 515095 h 606298"/>
                <a:gd name="connsiteX4" fmla="*/ 511296 w 571597"/>
                <a:gd name="connsiteY4" fmla="*/ 493782 h 606298"/>
                <a:gd name="connsiteX5" fmla="*/ 532761 w 571597"/>
                <a:gd name="connsiteY5" fmla="*/ 441985 h 606298"/>
                <a:gd name="connsiteX6" fmla="*/ 511296 w 571597"/>
                <a:gd name="connsiteY6" fmla="*/ 390187 h 606298"/>
                <a:gd name="connsiteX7" fmla="*/ 459431 w 571597"/>
                <a:gd name="connsiteY7" fmla="*/ 368750 h 606298"/>
                <a:gd name="connsiteX8" fmla="*/ 459431 w 571597"/>
                <a:gd name="connsiteY8" fmla="*/ 329964 h 606298"/>
                <a:gd name="connsiteX9" fmla="*/ 538717 w 571597"/>
                <a:gd name="connsiteY9" fmla="*/ 362678 h 606298"/>
                <a:gd name="connsiteX10" fmla="*/ 571597 w 571597"/>
                <a:gd name="connsiteY10" fmla="*/ 441985 h 606298"/>
                <a:gd name="connsiteX11" fmla="*/ 538717 w 571597"/>
                <a:gd name="connsiteY11" fmla="*/ 521167 h 606298"/>
                <a:gd name="connsiteX12" fmla="*/ 459431 w 571597"/>
                <a:gd name="connsiteY12" fmla="*/ 553881 h 606298"/>
                <a:gd name="connsiteX13" fmla="*/ 404093 w 571597"/>
                <a:gd name="connsiteY13" fmla="*/ 539383 h 606298"/>
                <a:gd name="connsiteX14" fmla="*/ 400246 w 571597"/>
                <a:gd name="connsiteY14" fmla="*/ 537276 h 606298"/>
                <a:gd name="connsiteX15" fmla="*/ 338580 w 571597"/>
                <a:gd name="connsiteY15" fmla="*/ 598863 h 606298"/>
                <a:gd name="connsiteX16" fmla="*/ 320465 w 571597"/>
                <a:gd name="connsiteY16" fmla="*/ 606298 h 606298"/>
                <a:gd name="connsiteX17" fmla="*/ 302350 w 571597"/>
                <a:gd name="connsiteY17" fmla="*/ 598863 h 606298"/>
                <a:gd name="connsiteX18" fmla="*/ 302350 w 571597"/>
                <a:gd name="connsiteY18" fmla="*/ 562679 h 606298"/>
                <a:gd name="connsiteX19" fmla="*/ 364016 w 571597"/>
                <a:gd name="connsiteY19" fmla="*/ 500969 h 606298"/>
                <a:gd name="connsiteX20" fmla="*/ 361783 w 571597"/>
                <a:gd name="connsiteY20" fmla="*/ 497251 h 606298"/>
                <a:gd name="connsiteX21" fmla="*/ 380022 w 571597"/>
                <a:gd name="connsiteY21" fmla="*/ 362678 h 606298"/>
                <a:gd name="connsiteX22" fmla="*/ 459431 w 571597"/>
                <a:gd name="connsiteY22" fmla="*/ 329964 h 606298"/>
                <a:gd name="connsiteX23" fmla="*/ 164803 w 571597"/>
                <a:gd name="connsiteY23" fmla="*/ 311798 h 606298"/>
                <a:gd name="connsiteX24" fmla="*/ 174979 w 571597"/>
                <a:gd name="connsiteY24" fmla="*/ 312665 h 606298"/>
                <a:gd name="connsiteX25" fmla="*/ 223998 w 571597"/>
                <a:gd name="connsiteY25" fmla="*/ 336327 h 606298"/>
                <a:gd name="connsiteX26" fmla="*/ 230699 w 571597"/>
                <a:gd name="connsiteY26" fmla="*/ 342149 h 606298"/>
                <a:gd name="connsiteX27" fmla="*/ 248445 w 571597"/>
                <a:gd name="connsiteY27" fmla="*/ 388853 h 606298"/>
                <a:gd name="connsiteX28" fmla="*/ 266192 w 571597"/>
                <a:gd name="connsiteY28" fmla="*/ 342149 h 606298"/>
                <a:gd name="connsiteX29" fmla="*/ 272893 w 571597"/>
                <a:gd name="connsiteY29" fmla="*/ 336327 h 606298"/>
                <a:gd name="connsiteX30" fmla="*/ 321788 w 571597"/>
                <a:gd name="connsiteY30" fmla="*/ 312665 h 606298"/>
                <a:gd name="connsiteX31" fmla="*/ 332088 w 571597"/>
                <a:gd name="connsiteY31" fmla="*/ 311798 h 606298"/>
                <a:gd name="connsiteX32" fmla="*/ 332585 w 571597"/>
                <a:gd name="connsiteY32" fmla="*/ 312170 h 606298"/>
                <a:gd name="connsiteX33" fmla="*/ 380859 w 571597"/>
                <a:gd name="connsiteY33" fmla="*/ 338061 h 606298"/>
                <a:gd name="connsiteX34" fmla="*/ 367208 w 571597"/>
                <a:gd name="connsiteY34" fmla="*/ 349954 h 606298"/>
                <a:gd name="connsiteX35" fmla="*/ 341520 w 571597"/>
                <a:gd name="connsiteY35" fmla="*/ 497744 h 606298"/>
                <a:gd name="connsiteX36" fmla="*/ 289398 w 571597"/>
                <a:gd name="connsiteY36" fmla="*/ 549775 h 606298"/>
                <a:gd name="connsiteX37" fmla="*/ 276740 w 571597"/>
                <a:gd name="connsiteY37" fmla="*/ 577276 h 606298"/>
                <a:gd name="connsiteX38" fmla="*/ 248445 w 571597"/>
                <a:gd name="connsiteY38" fmla="*/ 577648 h 606298"/>
                <a:gd name="connsiteX39" fmla="*/ 496 w 571597"/>
                <a:gd name="connsiteY39" fmla="*/ 497497 h 606298"/>
                <a:gd name="connsiteX40" fmla="*/ 124 w 571597"/>
                <a:gd name="connsiteY40" fmla="*/ 492913 h 606298"/>
                <a:gd name="connsiteX41" fmla="*/ 49267 w 571597"/>
                <a:gd name="connsiteY41" fmla="*/ 376464 h 606298"/>
                <a:gd name="connsiteX42" fmla="*/ 164803 w 571597"/>
                <a:gd name="connsiteY42" fmla="*/ 311798 h 606298"/>
                <a:gd name="connsiteX43" fmla="*/ 248478 w 571597"/>
                <a:gd name="connsiteY43" fmla="*/ 114259 h 606298"/>
                <a:gd name="connsiteX44" fmla="*/ 152788 w 571597"/>
                <a:gd name="connsiteY44" fmla="*/ 155526 h 606298"/>
                <a:gd name="connsiteX45" fmla="*/ 134544 w 571597"/>
                <a:gd name="connsiteY45" fmla="*/ 138053 h 606298"/>
                <a:gd name="connsiteX46" fmla="*/ 134171 w 571597"/>
                <a:gd name="connsiteY46" fmla="*/ 162962 h 606298"/>
                <a:gd name="connsiteX47" fmla="*/ 179844 w 571597"/>
                <a:gd name="connsiteY47" fmla="*/ 273256 h 606298"/>
                <a:gd name="connsiteX48" fmla="*/ 248478 w 571597"/>
                <a:gd name="connsiteY48" fmla="*/ 306344 h 606298"/>
                <a:gd name="connsiteX49" fmla="*/ 317112 w 571597"/>
                <a:gd name="connsiteY49" fmla="*/ 273256 h 606298"/>
                <a:gd name="connsiteX50" fmla="*/ 362785 w 571597"/>
                <a:gd name="connsiteY50" fmla="*/ 162962 h 606298"/>
                <a:gd name="connsiteX51" fmla="*/ 362288 w 571597"/>
                <a:gd name="connsiteY51" fmla="*/ 138053 h 606298"/>
                <a:gd name="connsiteX52" fmla="*/ 344168 w 571597"/>
                <a:gd name="connsiteY52" fmla="*/ 155526 h 606298"/>
                <a:gd name="connsiteX53" fmla="*/ 248478 w 571597"/>
                <a:gd name="connsiteY53" fmla="*/ 114259 h 606298"/>
                <a:gd name="connsiteX54" fmla="*/ 248478 w 571597"/>
                <a:gd name="connsiteY54" fmla="*/ 52575 h 606298"/>
                <a:gd name="connsiteX55" fmla="*/ 204791 w 571597"/>
                <a:gd name="connsiteY55" fmla="*/ 59732 h 606298"/>
                <a:gd name="connsiteX56" fmla="*/ 214471 w 571597"/>
                <a:gd name="connsiteY56" fmla="*/ 84269 h 606298"/>
                <a:gd name="connsiteX57" fmla="*/ 282360 w 571597"/>
                <a:gd name="connsiteY57" fmla="*/ 84269 h 606298"/>
                <a:gd name="connsiteX58" fmla="*/ 292165 w 571597"/>
                <a:gd name="connsiteY58" fmla="*/ 59732 h 606298"/>
                <a:gd name="connsiteX59" fmla="*/ 248478 w 571597"/>
                <a:gd name="connsiteY59" fmla="*/ 52575 h 606298"/>
                <a:gd name="connsiteX60" fmla="*/ 248478 w 571597"/>
                <a:gd name="connsiteY60" fmla="*/ 0 h 606298"/>
                <a:gd name="connsiteX61" fmla="*/ 357696 w 571597"/>
                <a:gd name="connsiteY61" fmla="*/ 42878 h 606298"/>
                <a:gd name="connsiteX62" fmla="*/ 380533 w 571597"/>
                <a:gd name="connsiteY62" fmla="*/ 116738 h 606298"/>
                <a:gd name="connsiteX63" fmla="*/ 382270 w 571597"/>
                <a:gd name="connsiteY63" fmla="*/ 162962 h 606298"/>
                <a:gd name="connsiteX64" fmla="*/ 248478 w 571597"/>
                <a:gd name="connsiteY64" fmla="*/ 325800 h 606298"/>
                <a:gd name="connsiteX65" fmla="*/ 114686 w 571597"/>
                <a:gd name="connsiteY65" fmla="*/ 162962 h 606298"/>
                <a:gd name="connsiteX66" fmla="*/ 116423 w 571597"/>
                <a:gd name="connsiteY66" fmla="*/ 116738 h 606298"/>
                <a:gd name="connsiteX67" fmla="*/ 139136 w 571597"/>
                <a:gd name="connsiteY67" fmla="*/ 42878 h 606298"/>
                <a:gd name="connsiteX68" fmla="*/ 248478 w 571597"/>
                <a:gd name="connsiteY68" fmla="*/ 0 h 606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571597" h="606298">
                  <a:moveTo>
                    <a:pt x="459431" y="368750"/>
                  </a:moveTo>
                  <a:cubicBezTo>
                    <a:pt x="439827" y="368750"/>
                    <a:pt x="421340" y="376309"/>
                    <a:pt x="407567" y="390187"/>
                  </a:cubicBezTo>
                  <a:cubicBezTo>
                    <a:pt x="379029" y="418688"/>
                    <a:pt x="379029" y="465157"/>
                    <a:pt x="407567" y="493782"/>
                  </a:cubicBezTo>
                  <a:cubicBezTo>
                    <a:pt x="421340" y="507536"/>
                    <a:pt x="439827" y="515095"/>
                    <a:pt x="459431" y="515095"/>
                  </a:cubicBezTo>
                  <a:cubicBezTo>
                    <a:pt x="479036" y="515095"/>
                    <a:pt x="497399" y="507536"/>
                    <a:pt x="511296" y="493782"/>
                  </a:cubicBezTo>
                  <a:cubicBezTo>
                    <a:pt x="525068" y="479903"/>
                    <a:pt x="532761" y="461563"/>
                    <a:pt x="532761" y="441985"/>
                  </a:cubicBezTo>
                  <a:cubicBezTo>
                    <a:pt x="532761" y="422406"/>
                    <a:pt x="525068" y="403942"/>
                    <a:pt x="511296" y="390187"/>
                  </a:cubicBezTo>
                  <a:cubicBezTo>
                    <a:pt x="497399" y="376309"/>
                    <a:pt x="479036" y="368750"/>
                    <a:pt x="459431" y="368750"/>
                  </a:cubicBezTo>
                  <a:close/>
                  <a:moveTo>
                    <a:pt x="459431" y="329964"/>
                  </a:moveTo>
                  <a:cubicBezTo>
                    <a:pt x="489458" y="329964"/>
                    <a:pt x="517624" y="341612"/>
                    <a:pt x="538717" y="362678"/>
                  </a:cubicBezTo>
                  <a:cubicBezTo>
                    <a:pt x="559934" y="383868"/>
                    <a:pt x="571597" y="411997"/>
                    <a:pt x="571597" y="441985"/>
                  </a:cubicBezTo>
                  <a:cubicBezTo>
                    <a:pt x="571597" y="471849"/>
                    <a:pt x="559934" y="500102"/>
                    <a:pt x="538717" y="521167"/>
                  </a:cubicBezTo>
                  <a:cubicBezTo>
                    <a:pt x="517624" y="542357"/>
                    <a:pt x="489458" y="553881"/>
                    <a:pt x="459431" y="553881"/>
                  </a:cubicBezTo>
                  <a:cubicBezTo>
                    <a:pt x="439951" y="553881"/>
                    <a:pt x="420843" y="548925"/>
                    <a:pt x="404093" y="539383"/>
                  </a:cubicBezTo>
                  <a:lnTo>
                    <a:pt x="400246" y="537276"/>
                  </a:lnTo>
                  <a:lnTo>
                    <a:pt x="338580" y="598863"/>
                  </a:lnTo>
                  <a:cubicBezTo>
                    <a:pt x="333741" y="603696"/>
                    <a:pt x="327289" y="606298"/>
                    <a:pt x="320465" y="606298"/>
                  </a:cubicBezTo>
                  <a:cubicBezTo>
                    <a:pt x="313641" y="606298"/>
                    <a:pt x="307189" y="603696"/>
                    <a:pt x="302350" y="598863"/>
                  </a:cubicBezTo>
                  <a:cubicBezTo>
                    <a:pt x="292299" y="588826"/>
                    <a:pt x="292299" y="572593"/>
                    <a:pt x="302350" y="562679"/>
                  </a:cubicBezTo>
                  <a:lnTo>
                    <a:pt x="364016" y="500969"/>
                  </a:lnTo>
                  <a:lnTo>
                    <a:pt x="361783" y="497251"/>
                  </a:lnTo>
                  <a:cubicBezTo>
                    <a:pt x="336967" y="453509"/>
                    <a:pt x="344536" y="398242"/>
                    <a:pt x="380022" y="362678"/>
                  </a:cubicBezTo>
                  <a:cubicBezTo>
                    <a:pt x="401239" y="341612"/>
                    <a:pt x="429405" y="329964"/>
                    <a:pt x="459431" y="329964"/>
                  </a:cubicBezTo>
                  <a:close/>
                  <a:moveTo>
                    <a:pt x="164803" y="311798"/>
                  </a:moveTo>
                  <a:cubicBezTo>
                    <a:pt x="168029" y="310064"/>
                    <a:pt x="172125" y="310436"/>
                    <a:pt x="174979" y="312665"/>
                  </a:cubicBezTo>
                  <a:cubicBezTo>
                    <a:pt x="189995" y="324434"/>
                    <a:pt x="206500" y="332487"/>
                    <a:pt x="223998" y="336327"/>
                  </a:cubicBezTo>
                  <a:cubicBezTo>
                    <a:pt x="226976" y="336946"/>
                    <a:pt x="229582" y="339176"/>
                    <a:pt x="230699" y="342149"/>
                  </a:cubicBezTo>
                  <a:lnTo>
                    <a:pt x="248445" y="388853"/>
                  </a:lnTo>
                  <a:lnTo>
                    <a:pt x="266192" y="342149"/>
                  </a:lnTo>
                  <a:cubicBezTo>
                    <a:pt x="267308" y="339176"/>
                    <a:pt x="269790" y="336946"/>
                    <a:pt x="272893" y="336327"/>
                  </a:cubicBezTo>
                  <a:cubicBezTo>
                    <a:pt x="290391" y="332487"/>
                    <a:pt x="306772" y="324434"/>
                    <a:pt x="321788" y="312665"/>
                  </a:cubicBezTo>
                  <a:cubicBezTo>
                    <a:pt x="324767" y="310436"/>
                    <a:pt x="328738" y="310064"/>
                    <a:pt x="332088" y="311798"/>
                  </a:cubicBezTo>
                  <a:lnTo>
                    <a:pt x="332585" y="312170"/>
                  </a:lnTo>
                  <a:cubicBezTo>
                    <a:pt x="344250" y="318364"/>
                    <a:pt x="362244" y="327903"/>
                    <a:pt x="380859" y="338061"/>
                  </a:cubicBezTo>
                  <a:cubicBezTo>
                    <a:pt x="376019" y="341654"/>
                    <a:pt x="371428" y="345618"/>
                    <a:pt x="367208" y="349954"/>
                  </a:cubicBezTo>
                  <a:cubicBezTo>
                    <a:pt x="327621" y="389348"/>
                    <a:pt x="318189" y="448687"/>
                    <a:pt x="341520" y="497744"/>
                  </a:cubicBezTo>
                  <a:lnTo>
                    <a:pt x="289398" y="549775"/>
                  </a:lnTo>
                  <a:cubicBezTo>
                    <a:pt x="281704" y="557455"/>
                    <a:pt x="277485" y="567242"/>
                    <a:pt x="276740" y="577276"/>
                  </a:cubicBezTo>
                  <a:cubicBezTo>
                    <a:pt x="267681" y="577524"/>
                    <a:pt x="258249" y="577648"/>
                    <a:pt x="248445" y="577648"/>
                  </a:cubicBezTo>
                  <a:cubicBezTo>
                    <a:pt x="31397" y="577648"/>
                    <a:pt x="1613" y="500718"/>
                    <a:pt x="496" y="497497"/>
                  </a:cubicBezTo>
                  <a:cubicBezTo>
                    <a:pt x="0" y="496010"/>
                    <a:pt x="-124" y="494400"/>
                    <a:pt x="124" y="492913"/>
                  </a:cubicBezTo>
                  <a:cubicBezTo>
                    <a:pt x="2606" y="477304"/>
                    <a:pt x="16753" y="398268"/>
                    <a:pt x="49267" y="376464"/>
                  </a:cubicBezTo>
                  <a:cubicBezTo>
                    <a:pt x="68378" y="363581"/>
                    <a:pt x="136384" y="326912"/>
                    <a:pt x="164803" y="311798"/>
                  </a:cubicBezTo>
                  <a:close/>
                  <a:moveTo>
                    <a:pt x="248478" y="114259"/>
                  </a:moveTo>
                  <a:cubicBezTo>
                    <a:pt x="183816" y="114259"/>
                    <a:pt x="164454" y="156890"/>
                    <a:pt x="152788" y="155526"/>
                  </a:cubicBezTo>
                  <a:cubicBezTo>
                    <a:pt x="142611" y="154287"/>
                    <a:pt x="136157" y="141399"/>
                    <a:pt x="134544" y="138053"/>
                  </a:cubicBezTo>
                  <a:cubicBezTo>
                    <a:pt x="134295" y="146232"/>
                    <a:pt x="134171" y="154535"/>
                    <a:pt x="134171" y="162962"/>
                  </a:cubicBezTo>
                  <a:cubicBezTo>
                    <a:pt x="134171" y="219100"/>
                    <a:pt x="158993" y="253923"/>
                    <a:pt x="179844" y="273256"/>
                  </a:cubicBezTo>
                  <a:cubicBezTo>
                    <a:pt x="206156" y="297545"/>
                    <a:pt x="235322" y="306344"/>
                    <a:pt x="248478" y="306344"/>
                  </a:cubicBezTo>
                  <a:cubicBezTo>
                    <a:pt x="261634" y="306344"/>
                    <a:pt x="290800" y="297545"/>
                    <a:pt x="317112" y="273256"/>
                  </a:cubicBezTo>
                  <a:cubicBezTo>
                    <a:pt x="337963" y="253923"/>
                    <a:pt x="362785" y="219100"/>
                    <a:pt x="362785" y="162962"/>
                  </a:cubicBezTo>
                  <a:cubicBezTo>
                    <a:pt x="362785" y="154659"/>
                    <a:pt x="362661" y="146232"/>
                    <a:pt x="362288" y="138053"/>
                  </a:cubicBezTo>
                  <a:cubicBezTo>
                    <a:pt x="360799" y="141399"/>
                    <a:pt x="354221" y="154287"/>
                    <a:pt x="344168" y="155526"/>
                  </a:cubicBezTo>
                  <a:cubicBezTo>
                    <a:pt x="332502" y="156890"/>
                    <a:pt x="313140" y="114259"/>
                    <a:pt x="248478" y="114259"/>
                  </a:cubicBezTo>
                  <a:close/>
                  <a:moveTo>
                    <a:pt x="248478" y="52575"/>
                  </a:moveTo>
                  <a:cubicBezTo>
                    <a:pt x="234515" y="52575"/>
                    <a:pt x="220553" y="54961"/>
                    <a:pt x="204791" y="59732"/>
                  </a:cubicBezTo>
                  <a:cubicBezTo>
                    <a:pt x="208638" y="69522"/>
                    <a:pt x="210624" y="74479"/>
                    <a:pt x="214471" y="84269"/>
                  </a:cubicBezTo>
                  <a:cubicBezTo>
                    <a:pt x="239666" y="77206"/>
                    <a:pt x="257166" y="77206"/>
                    <a:pt x="282360" y="84269"/>
                  </a:cubicBezTo>
                  <a:cubicBezTo>
                    <a:pt x="286332" y="74479"/>
                    <a:pt x="288193" y="69522"/>
                    <a:pt x="292165" y="59732"/>
                  </a:cubicBezTo>
                  <a:cubicBezTo>
                    <a:pt x="276403" y="54961"/>
                    <a:pt x="262440" y="52575"/>
                    <a:pt x="248478" y="52575"/>
                  </a:cubicBezTo>
                  <a:close/>
                  <a:moveTo>
                    <a:pt x="248478" y="0"/>
                  </a:moveTo>
                  <a:cubicBezTo>
                    <a:pt x="305818" y="0"/>
                    <a:pt x="338831" y="16234"/>
                    <a:pt x="357696" y="42878"/>
                  </a:cubicBezTo>
                  <a:cubicBezTo>
                    <a:pt x="372465" y="62458"/>
                    <a:pt x="378299" y="87987"/>
                    <a:pt x="380533" y="116738"/>
                  </a:cubicBezTo>
                  <a:cubicBezTo>
                    <a:pt x="381898" y="131361"/>
                    <a:pt x="382270" y="146852"/>
                    <a:pt x="382270" y="162962"/>
                  </a:cubicBezTo>
                  <a:cubicBezTo>
                    <a:pt x="382270" y="277841"/>
                    <a:pt x="288317" y="325800"/>
                    <a:pt x="248478" y="325800"/>
                  </a:cubicBezTo>
                  <a:cubicBezTo>
                    <a:pt x="208514" y="325800"/>
                    <a:pt x="114686" y="277841"/>
                    <a:pt x="114686" y="162962"/>
                  </a:cubicBezTo>
                  <a:cubicBezTo>
                    <a:pt x="114686" y="146852"/>
                    <a:pt x="115058" y="131361"/>
                    <a:pt x="116423" y="116738"/>
                  </a:cubicBezTo>
                  <a:cubicBezTo>
                    <a:pt x="118533" y="87987"/>
                    <a:pt x="124491" y="62458"/>
                    <a:pt x="139136" y="42878"/>
                  </a:cubicBezTo>
                  <a:cubicBezTo>
                    <a:pt x="158001" y="16234"/>
                    <a:pt x="191014" y="0"/>
                    <a:pt x="248478" y="0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13" name="îṥḷíḓê">
              <a:extLst>
                <a:ext uri="{FF2B5EF4-FFF2-40B4-BE49-F238E27FC236}">
                  <a16:creationId xmlns:a16="http://schemas.microsoft.com/office/drawing/2014/main" id="{F4CDE224-4CEE-4044-BC24-0616A304FFA4}"/>
                </a:ext>
              </a:extLst>
            </p:cNvPr>
            <p:cNvSpPr txBox="1"/>
            <p:nvPr/>
          </p:nvSpPr>
          <p:spPr bwMode="auto">
            <a:xfrm>
              <a:off x="9115425" y="1747141"/>
              <a:ext cx="2403475" cy="43259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3200" b="1" dirty="0"/>
                <a:t>手术治疗</a:t>
              </a:r>
              <a:endParaRPr lang="en-US" altLang="zh-CN" sz="3200" b="1" dirty="0"/>
            </a:p>
          </p:txBody>
        </p: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1A9BBED5-51DD-42A4-B995-2F4B3B11AD46}"/>
                </a:ext>
              </a:extLst>
            </p:cNvPr>
            <p:cNvCxnSpPr/>
            <p:nvPr/>
          </p:nvCxnSpPr>
          <p:spPr>
            <a:xfrm>
              <a:off x="8499894" y="2217839"/>
              <a:ext cx="3019006" cy="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íṧ1íḍe">
              <a:extLst>
                <a:ext uri="{FF2B5EF4-FFF2-40B4-BE49-F238E27FC236}">
                  <a16:creationId xmlns:a16="http://schemas.microsoft.com/office/drawing/2014/main" id="{C5F542D0-362A-4C57-A3FC-5C725E018F1E}"/>
                </a:ext>
              </a:extLst>
            </p:cNvPr>
            <p:cNvSpPr/>
            <p:nvPr/>
          </p:nvSpPr>
          <p:spPr bwMode="auto">
            <a:xfrm>
              <a:off x="8499894" y="2408339"/>
              <a:ext cx="3019006" cy="981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zh-CN" altLang="en-US" sz="2400" dirty="0"/>
                <a:t>粘连松解术</a:t>
              </a:r>
              <a:endParaRPr lang="en-US" altLang="zh-CN" sz="2400" dirty="0"/>
            </a:p>
          </p:txBody>
        </p:sp>
        <p:sp>
          <p:nvSpPr>
            <p:cNvPr id="16" name="îṩ1íďé">
              <a:extLst>
                <a:ext uri="{FF2B5EF4-FFF2-40B4-BE49-F238E27FC236}">
                  <a16:creationId xmlns:a16="http://schemas.microsoft.com/office/drawing/2014/main" id="{6A094462-7DFB-4690-BE4F-6C9A4B3C1F23}"/>
                </a:ext>
              </a:extLst>
            </p:cNvPr>
            <p:cNvSpPr/>
            <p:nvPr/>
          </p:nvSpPr>
          <p:spPr bwMode="auto">
            <a:xfrm>
              <a:off x="8499894" y="3530999"/>
              <a:ext cx="3019006" cy="981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zh-CN" altLang="en-US" sz="2400" dirty="0"/>
                <a:t>肠切开取蛔术</a:t>
              </a:r>
              <a:endParaRPr lang="en-US" altLang="zh-CN" sz="2400" dirty="0"/>
            </a:p>
          </p:txBody>
        </p: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id="{87E32935-DC94-4AA4-9F0F-94909E10B57E}"/>
                </a:ext>
              </a:extLst>
            </p:cNvPr>
            <p:cNvCxnSpPr/>
            <p:nvPr/>
          </p:nvCxnSpPr>
          <p:spPr>
            <a:xfrm>
              <a:off x="673100" y="3460206"/>
              <a:ext cx="2908300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>
              <a:extLst>
                <a:ext uri="{FF2B5EF4-FFF2-40B4-BE49-F238E27FC236}">
                  <a16:creationId xmlns:a16="http://schemas.microsoft.com/office/drawing/2014/main" id="{7393B328-04B2-4CBF-A06B-682AF1E273AA}"/>
                </a:ext>
              </a:extLst>
            </p:cNvPr>
            <p:cNvCxnSpPr/>
            <p:nvPr/>
          </p:nvCxnSpPr>
          <p:spPr>
            <a:xfrm>
              <a:off x="673100" y="4582865"/>
              <a:ext cx="2908300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id="{F4B6C38D-B306-45F7-A241-F5872676276F}"/>
                </a:ext>
              </a:extLst>
            </p:cNvPr>
            <p:cNvCxnSpPr/>
            <p:nvPr/>
          </p:nvCxnSpPr>
          <p:spPr>
            <a:xfrm>
              <a:off x="8610600" y="3460206"/>
              <a:ext cx="2908300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20">
              <a:extLst>
                <a:ext uri="{FF2B5EF4-FFF2-40B4-BE49-F238E27FC236}">
                  <a16:creationId xmlns:a16="http://schemas.microsoft.com/office/drawing/2014/main" id="{521CF501-38F9-46AA-8AF4-FA206872F719}"/>
                </a:ext>
              </a:extLst>
            </p:cNvPr>
            <p:cNvCxnSpPr/>
            <p:nvPr/>
          </p:nvCxnSpPr>
          <p:spPr>
            <a:xfrm>
              <a:off x="8610600" y="4582865"/>
              <a:ext cx="2908300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358371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978755" y="3182583"/>
            <a:ext cx="5419185" cy="895350"/>
          </a:xfrm>
        </p:spPr>
        <p:txBody>
          <a:bodyPr>
            <a:noAutofit/>
          </a:bodyPr>
          <a:lstStyle/>
          <a:p>
            <a:r>
              <a:rPr lang="zh-CN" altLang="en-US" sz="4800" dirty="0">
                <a:solidFill>
                  <a:schemeClr val="accent2"/>
                </a:solidFill>
              </a:rPr>
              <a:t>常见护理诊断</a:t>
            </a:r>
            <a:r>
              <a:rPr lang="en-US" altLang="zh-CN" sz="4800" dirty="0">
                <a:solidFill>
                  <a:schemeClr val="accent2"/>
                </a:solidFill>
              </a:rPr>
              <a:t>/</a:t>
            </a:r>
            <a:r>
              <a:rPr lang="zh-CN" altLang="en-US" sz="4800" dirty="0">
                <a:solidFill>
                  <a:schemeClr val="accent2"/>
                </a:solidFill>
              </a:rPr>
              <a:t>问题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303628" y="317118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86068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2FD0AC1-8D34-4C3F-9F9C-20485C32D1B6}"/>
              </a:ext>
            </a:extLst>
          </p:cNvPr>
          <p:cNvSpPr txBox="1"/>
          <p:nvPr/>
        </p:nvSpPr>
        <p:spPr>
          <a:xfrm>
            <a:off x="669925" y="483969"/>
            <a:ext cx="4590232" cy="646331"/>
          </a:xfrm>
          <a:prstGeom prst="rect">
            <a:avLst/>
          </a:prstGeom>
          <a:solidFill>
            <a:srgbClr val="E1F8F7"/>
          </a:solidFill>
        </p:spPr>
        <p:txBody>
          <a:bodyPr wrap="square" rtlCol="0">
            <a:spAutoFit/>
          </a:bodyPr>
          <a:lstStyle/>
          <a:p>
            <a:r>
              <a:rPr lang="zh-CN" altLang="en-US" sz="3600" b="1" dirty="0"/>
              <a:t>常见护理诊断</a:t>
            </a:r>
            <a:r>
              <a:rPr lang="en-US" altLang="zh-CN" sz="3600" b="1" dirty="0"/>
              <a:t>/</a:t>
            </a:r>
            <a:r>
              <a:rPr lang="zh-CN" altLang="en-US" sz="3600" b="1" dirty="0"/>
              <a:t>问题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895F3977-F5DD-491B-8388-59C272C499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63472" y="1429298"/>
            <a:ext cx="5143579" cy="5244432"/>
          </a:xfrm>
          <a:prstGeom prst="rect">
            <a:avLst/>
          </a:prstGeom>
        </p:spPr>
      </p:pic>
      <p:sp>
        <p:nvSpPr>
          <p:cNvPr id="4" name="对话气泡: 矩形 3">
            <a:extLst>
              <a:ext uri="{FF2B5EF4-FFF2-40B4-BE49-F238E27FC236}">
                <a16:creationId xmlns:a16="http://schemas.microsoft.com/office/drawing/2014/main" id="{D959B14E-A069-4857-9EDC-4DD83429F856}"/>
              </a:ext>
            </a:extLst>
          </p:cNvPr>
          <p:cNvSpPr/>
          <p:nvPr/>
        </p:nvSpPr>
        <p:spPr>
          <a:xfrm>
            <a:off x="8474698" y="2696067"/>
            <a:ext cx="3167406" cy="2450969"/>
          </a:xfrm>
          <a:prstGeom prst="wedgeRectCallout">
            <a:avLst>
              <a:gd name="adj1" fmla="val -77976"/>
              <a:gd name="adj2" fmla="val 58269"/>
            </a:avLst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2800" b="1" dirty="0"/>
              <a:t>肠坏死</a:t>
            </a:r>
            <a:endParaRPr lang="en-US" altLang="zh-CN" sz="2800" b="1" dirty="0"/>
          </a:p>
          <a:p>
            <a:pPr algn="ctr">
              <a:lnSpc>
                <a:spcPct val="150000"/>
              </a:lnSpc>
            </a:pPr>
            <a:r>
              <a:rPr lang="zh-CN" altLang="en-US" sz="2800" b="1" dirty="0"/>
              <a:t>急性弥漫性腹膜炎</a:t>
            </a:r>
            <a:endParaRPr lang="en-US" altLang="zh-CN" sz="2800" b="1" dirty="0"/>
          </a:p>
          <a:p>
            <a:pPr algn="ctr">
              <a:lnSpc>
                <a:spcPct val="150000"/>
              </a:lnSpc>
            </a:pPr>
            <a:r>
              <a:rPr lang="zh-CN" altLang="en-US" sz="2800" b="1" dirty="0"/>
              <a:t>休克等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34526182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978755" y="3182583"/>
            <a:ext cx="5419185" cy="895350"/>
          </a:xfrm>
        </p:spPr>
        <p:txBody>
          <a:bodyPr>
            <a:noAutofit/>
          </a:bodyPr>
          <a:lstStyle/>
          <a:p>
            <a:r>
              <a:rPr lang="zh-CN" altLang="en-US" sz="5400" dirty="0">
                <a:solidFill>
                  <a:schemeClr val="accent2"/>
                </a:solidFill>
              </a:rPr>
              <a:t>护理措施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303628" y="317118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40631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2FD0AC1-8D34-4C3F-9F9C-20485C32D1B6}"/>
              </a:ext>
            </a:extLst>
          </p:cNvPr>
          <p:cNvSpPr txBox="1"/>
          <p:nvPr/>
        </p:nvSpPr>
        <p:spPr>
          <a:xfrm>
            <a:off x="669925" y="483969"/>
            <a:ext cx="6400178" cy="646331"/>
          </a:xfrm>
          <a:prstGeom prst="rect">
            <a:avLst/>
          </a:prstGeom>
          <a:solidFill>
            <a:srgbClr val="E1F8F7"/>
          </a:solidFill>
        </p:spPr>
        <p:txBody>
          <a:bodyPr wrap="square" rtlCol="0">
            <a:spAutoFit/>
          </a:bodyPr>
          <a:lstStyle/>
          <a:p>
            <a:r>
              <a:rPr lang="zh-CN" altLang="en-US" sz="3600" b="1" dirty="0"/>
              <a:t>非手术治疗护理</a:t>
            </a:r>
            <a:r>
              <a:rPr lang="en-US" altLang="zh-CN" sz="3600" b="1" dirty="0"/>
              <a:t>/</a:t>
            </a:r>
            <a:r>
              <a:rPr lang="zh-CN" altLang="en-US" sz="3600" b="1" dirty="0"/>
              <a:t>术前护理</a:t>
            </a:r>
          </a:p>
        </p:txBody>
      </p:sp>
      <p:grpSp>
        <p:nvGrpSpPr>
          <p:cNvPr id="4" name="481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8BF43486-384F-4FF3-89B3-777AEA745E6B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24829" y="1927338"/>
            <a:ext cx="11767171" cy="3792115"/>
            <a:chOff x="424828" y="1804790"/>
            <a:chExt cx="11767171" cy="3792115"/>
          </a:xfrm>
        </p:grpSpPr>
        <p:grpSp>
          <p:nvGrpSpPr>
            <p:cNvPr id="5" name="î$ľïḍé">
              <a:extLst>
                <a:ext uri="{FF2B5EF4-FFF2-40B4-BE49-F238E27FC236}">
                  <a16:creationId xmlns:a16="http://schemas.microsoft.com/office/drawing/2014/main" id="{564DCD2E-D49A-46E1-B2BE-F679F0E822E1}"/>
                </a:ext>
              </a:extLst>
            </p:cNvPr>
            <p:cNvGrpSpPr/>
            <p:nvPr/>
          </p:nvGrpSpPr>
          <p:grpSpPr>
            <a:xfrm>
              <a:off x="3716510" y="1810582"/>
              <a:ext cx="4767628" cy="3719764"/>
              <a:chOff x="3716509" y="1810584"/>
              <a:chExt cx="4767628" cy="3719764"/>
            </a:xfrm>
          </p:grpSpPr>
          <p:grpSp>
            <p:nvGrpSpPr>
              <p:cNvPr id="20" name="iṥľiḓe">
                <a:extLst>
                  <a:ext uri="{FF2B5EF4-FFF2-40B4-BE49-F238E27FC236}">
                    <a16:creationId xmlns:a16="http://schemas.microsoft.com/office/drawing/2014/main" id="{99D700CE-FD1D-4868-9D0C-2E10CB1C96E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197238" y="1810584"/>
                <a:ext cx="3719761" cy="3719764"/>
                <a:chOff x="0" y="0"/>
                <a:chExt cx="1261" cy="1261"/>
              </a:xfrm>
              <a:effectLst/>
            </p:grpSpPr>
            <p:sp>
              <p:nvSpPr>
                <p:cNvPr id="45" name="î$lîḓè">
                  <a:extLst>
                    <a:ext uri="{FF2B5EF4-FFF2-40B4-BE49-F238E27FC236}">
                      <a16:creationId xmlns:a16="http://schemas.microsoft.com/office/drawing/2014/main" id="{77D4EE45-6705-49FD-84B4-DC3C7D8F7978}"/>
                    </a:ext>
                  </a:extLst>
                </p:cNvPr>
                <p:cNvSpPr/>
                <p:nvPr/>
              </p:nvSpPr>
              <p:spPr bwMode="auto">
                <a:xfrm>
                  <a:off x="0" y="454"/>
                  <a:ext cx="227" cy="128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1600" h="21600">
                      <a:moveTo>
                        <a:pt x="15835" y="0"/>
                      </a:moveTo>
                      <a:lnTo>
                        <a:pt x="21600" y="3804"/>
                      </a:lnTo>
                      <a:lnTo>
                        <a:pt x="7829" y="21600"/>
                      </a:lnTo>
                      <a:lnTo>
                        <a:pt x="0" y="20464"/>
                      </a:lnTo>
                      <a:lnTo>
                        <a:pt x="15835" y="0"/>
                      </a:lnTo>
                      <a:close/>
                      <a:moveTo>
                        <a:pt x="15835" y="0"/>
                      </a:moveTo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46" name="îṡḻiḋé">
                  <a:extLst>
                    <a:ext uri="{FF2B5EF4-FFF2-40B4-BE49-F238E27FC236}">
                      <a16:creationId xmlns:a16="http://schemas.microsoft.com/office/drawing/2014/main" id="{0472D03C-BE0C-42B2-8A77-4DB4761FF5D5}"/>
                    </a:ext>
                  </a:extLst>
                </p:cNvPr>
                <p:cNvSpPr/>
                <p:nvPr/>
              </p:nvSpPr>
              <p:spPr bwMode="auto">
                <a:xfrm>
                  <a:off x="280" y="104"/>
                  <a:ext cx="219" cy="115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1600" h="21600">
                      <a:moveTo>
                        <a:pt x="19622" y="10107"/>
                      </a:moveTo>
                      <a:lnTo>
                        <a:pt x="21600" y="21600"/>
                      </a:lnTo>
                      <a:lnTo>
                        <a:pt x="4536" y="12810"/>
                      </a:lnTo>
                      <a:lnTo>
                        <a:pt x="0" y="0"/>
                      </a:lnTo>
                      <a:lnTo>
                        <a:pt x="19622" y="10107"/>
                      </a:lnTo>
                      <a:close/>
                      <a:moveTo>
                        <a:pt x="19622" y="10107"/>
                      </a:moveTo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lnSpcReduction="10000"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47" name="ísḷîḑe">
                  <a:extLst>
                    <a:ext uri="{FF2B5EF4-FFF2-40B4-BE49-F238E27FC236}">
                      <a16:creationId xmlns:a16="http://schemas.microsoft.com/office/drawing/2014/main" id="{26133AD9-96A3-49D1-993C-A6D77A6080B2}"/>
                    </a:ext>
                  </a:extLst>
                </p:cNvPr>
                <p:cNvSpPr/>
                <p:nvPr/>
              </p:nvSpPr>
              <p:spPr bwMode="auto">
                <a:xfrm>
                  <a:off x="160" y="488"/>
                  <a:ext cx="171" cy="144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1600" h="21600">
                      <a:moveTo>
                        <a:pt x="0" y="0"/>
                      </a:moveTo>
                      <a:lnTo>
                        <a:pt x="7673" y="2779"/>
                      </a:lnTo>
                      <a:lnTo>
                        <a:pt x="21600" y="21564"/>
                      </a:lnTo>
                      <a:lnTo>
                        <a:pt x="16016" y="21600"/>
                      </a:lnTo>
                      <a:lnTo>
                        <a:pt x="0" y="0"/>
                      </a:lnTo>
                      <a:close/>
                      <a:moveTo>
                        <a:pt x="0" y="0"/>
                      </a:moveTo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48" name="iS1ídè">
                  <a:extLst>
                    <a:ext uri="{FF2B5EF4-FFF2-40B4-BE49-F238E27FC236}">
                      <a16:creationId xmlns:a16="http://schemas.microsoft.com/office/drawing/2014/main" id="{E29B1E9D-8F7D-4304-9702-D07DC040B681}"/>
                    </a:ext>
                  </a:extLst>
                </p:cNvPr>
                <p:cNvSpPr/>
                <p:nvPr/>
              </p:nvSpPr>
              <p:spPr bwMode="auto">
                <a:xfrm>
                  <a:off x="0" y="120"/>
                  <a:ext cx="450" cy="476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w 21600"/>
                    <a:gd name="T13" fmla="*/ 0 h 21600"/>
                    <a:gd name="T14" fmla="*/ 0 w 21600"/>
                    <a:gd name="T15" fmla="*/ 0 h 21600"/>
                    <a:gd name="T16" fmla="*/ 0 w 21600"/>
                    <a:gd name="T17" fmla="*/ 0 h 21600"/>
                    <a:gd name="T18" fmla="*/ 0 w 21600"/>
                    <a:gd name="T19" fmla="*/ 0 h 21600"/>
                    <a:gd name="T20" fmla="*/ 0 w 21600"/>
                    <a:gd name="T21" fmla="*/ 0 h 21600"/>
                    <a:gd name="T22" fmla="*/ 0 w 21600"/>
                    <a:gd name="T23" fmla="*/ 0 h 21600"/>
                    <a:gd name="T24" fmla="*/ 0 w 21600"/>
                    <a:gd name="T25" fmla="*/ 0 h 21600"/>
                    <a:gd name="T26" fmla="*/ 0 w 21600"/>
                    <a:gd name="T27" fmla="*/ 0 h 21600"/>
                    <a:gd name="T28" fmla="*/ 0 w 21600"/>
                    <a:gd name="T29" fmla="*/ 0 h 21600"/>
                    <a:gd name="T30" fmla="*/ 0 w 21600"/>
                    <a:gd name="T31" fmla="*/ 0 h 21600"/>
                    <a:gd name="T32" fmla="*/ 0 w 21600"/>
                    <a:gd name="T33" fmla="*/ 0 h 21600"/>
                    <a:gd name="T34" fmla="*/ 0 w 21600"/>
                    <a:gd name="T35" fmla="*/ 0 h 21600"/>
                    <a:gd name="T36" fmla="*/ 0 w 21600"/>
                    <a:gd name="T37" fmla="*/ 0 h 21600"/>
                    <a:gd name="T38" fmla="*/ 0 w 21600"/>
                    <a:gd name="T39" fmla="*/ 0 h 21600"/>
                    <a:gd name="T40" fmla="*/ 0 w 21600"/>
                    <a:gd name="T41" fmla="*/ 0 h 21600"/>
                    <a:gd name="T42" fmla="*/ 0 w 21600"/>
                    <a:gd name="T43" fmla="*/ 0 h 21600"/>
                    <a:gd name="T44" fmla="*/ 0 w 21600"/>
                    <a:gd name="T45" fmla="*/ 0 h 21600"/>
                    <a:gd name="T46" fmla="*/ 0 w 21600"/>
                    <a:gd name="T47" fmla="*/ 0 h 21600"/>
                    <a:gd name="T48" fmla="*/ 0 w 21600"/>
                    <a:gd name="T49" fmla="*/ 0 h 21600"/>
                    <a:gd name="T50" fmla="*/ 0 w 21600"/>
                    <a:gd name="T51" fmla="*/ 0 h 2160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21600" h="21600">
                      <a:moveTo>
                        <a:pt x="21600" y="2426"/>
                      </a:moveTo>
                      <a:lnTo>
                        <a:pt x="19984" y="11036"/>
                      </a:lnTo>
                      <a:cubicBezTo>
                        <a:pt x="19217" y="11620"/>
                        <a:pt x="18506" y="12270"/>
                        <a:pt x="17861" y="12979"/>
                      </a:cubicBezTo>
                      <a:cubicBezTo>
                        <a:pt x="17216" y="13686"/>
                        <a:pt x="16635" y="14452"/>
                        <a:pt x="16131" y="15269"/>
                      </a:cubicBezTo>
                      <a:cubicBezTo>
                        <a:pt x="15627" y="16086"/>
                        <a:pt x="15199" y="16953"/>
                        <a:pt x="14858" y="17864"/>
                      </a:cubicBezTo>
                      <a:cubicBezTo>
                        <a:pt x="14516" y="18774"/>
                        <a:pt x="14261" y="19728"/>
                        <a:pt x="14103" y="20719"/>
                      </a:cubicBezTo>
                      <a:cubicBezTo>
                        <a:pt x="14091" y="20792"/>
                        <a:pt x="14081" y="20866"/>
                        <a:pt x="14070" y="20940"/>
                      </a:cubicBezTo>
                      <a:cubicBezTo>
                        <a:pt x="14060" y="21014"/>
                        <a:pt x="14050" y="21087"/>
                        <a:pt x="14039" y="21160"/>
                      </a:cubicBezTo>
                      <a:cubicBezTo>
                        <a:pt x="14031" y="21234"/>
                        <a:pt x="14021" y="21307"/>
                        <a:pt x="14013" y="21380"/>
                      </a:cubicBezTo>
                      <a:cubicBezTo>
                        <a:pt x="14005" y="21454"/>
                        <a:pt x="13997" y="21527"/>
                        <a:pt x="13990" y="21600"/>
                      </a:cubicBezTo>
                      <a:lnTo>
                        <a:pt x="7976" y="15147"/>
                      </a:lnTo>
                      <a:lnTo>
                        <a:pt x="0" y="20670"/>
                      </a:lnTo>
                      <a:cubicBezTo>
                        <a:pt x="13" y="20509"/>
                        <a:pt x="30" y="20349"/>
                        <a:pt x="46" y="20187"/>
                      </a:cubicBezTo>
                      <a:cubicBezTo>
                        <a:pt x="64" y="20027"/>
                        <a:pt x="82" y="19866"/>
                        <a:pt x="102" y="19706"/>
                      </a:cubicBezTo>
                      <a:cubicBezTo>
                        <a:pt x="122" y="19545"/>
                        <a:pt x="143" y="19384"/>
                        <a:pt x="166" y="19223"/>
                      </a:cubicBezTo>
                      <a:cubicBezTo>
                        <a:pt x="188" y="19064"/>
                        <a:pt x="212" y="18903"/>
                        <a:pt x="238" y="18742"/>
                      </a:cubicBezTo>
                      <a:cubicBezTo>
                        <a:pt x="390" y="17786"/>
                        <a:pt x="592" y="16844"/>
                        <a:pt x="840" y="15918"/>
                      </a:cubicBezTo>
                      <a:cubicBezTo>
                        <a:pt x="1089" y="14991"/>
                        <a:pt x="1386" y="14081"/>
                        <a:pt x="1730" y="13187"/>
                      </a:cubicBezTo>
                      <a:cubicBezTo>
                        <a:pt x="2075" y="12294"/>
                        <a:pt x="2466" y="11417"/>
                        <a:pt x="2904" y="10559"/>
                      </a:cubicBezTo>
                      <a:cubicBezTo>
                        <a:pt x="3343" y="9702"/>
                        <a:pt x="3827" y="8862"/>
                        <a:pt x="4358" y="8043"/>
                      </a:cubicBezTo>
                      <a:cubicBezTo>
                        <a:pt x="4867" y="7259"/>
                        <a:pt x="5413" y="6501"/>
                        <a:pt x="5994" y="5772"/>
                      </a:cubicBezTo>
                      <a:cubicBezTo>
                        <a:pt x="6574" y="5043"/>
                        <a:pt x="7191" y="4342"/>
                        <a:pt x="7842" y="3670"/>
                      </a:cubicBezTo>
                      <a:cubicBezTo>
                        <a:pt x="8494" y="2998"/>
                        <a:pt x="9179" y="2355"/>
                        <a:pt x="9898" y="1743"/>
                      </a:cubicBezTo>
                      <a:cubicBezTo>
                        <a:pt x="10616" y="1132"/>
                        <a:pt x="11369" y="550"/>
                        <a:pt x="12153" y="0"/>
                      </a:cubicBezTo>
                      <a:lnTo>
                        <a:pt x="21600" y="2426"/>
                      </a:lnTo>
                      <a:close/>
                      <a:moveTo>
                        <a:pt x="21600" y="2426"/>
                      </a:moveTo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49" name="ïṣḷîďe">
                  <a:extLst>
                    <a:ext uri="{FF2B5EF4-FFF2-40B4-BE49-F238E27FC236}">
                      <a16:creationId xmlns:a16="http://schemas.microsoft.com/office/drawing/2014/main" id="{D74345BE-168D-41AE-B0EA-CAC069D99CB7}"/>
                    </a:ext>
                  </a:extLst>
                </p:cNvPr>
                <p:cNvSpPr/>
                <p:nvPr/>
              </p:nvSpPr>
              <p:spPr bwMode="auto">
                <a:xfrm>
                  <a:off x="415" y="176"/>
                  <a:ext cx="57" cy="224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1600" h="21600">
                      <a:moveTo>
                        <a:pt x="12733" y="0"/>
                      </a:moveTo>
                      <a:lnTo>
                        <a:pt x="21600" y="5702"/>
                      </a:lnTo>
                      <a:lnTo>
                        <a:pt x="10534" y="21600"/>
                      </a:lnTo>
                      <a:lnTo>
                        <a:pt x="0" y="18282"/>
                      </a:lnTo>
                      <a:lnTo>
                        <a:pt x="12733" y="0"/>
                      </a:lnTo>
                      <a:close/>
                      <a:moveTo>
                        <a:pt x="12733" y="0"/>
                      </a:moveTo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50" name="ïṡľîḑé">
                  <a:extLst>
                    <a:ext uri="{FF2B5EF4-FFF2-40B4-BE49-F238E27FC236}">
                      <a16:creationId xmlns:a16="http://schemas.microsoft.com/office/drawing/2014/main" id="{619FA0B2-9358-40E6-8F96-407629AE3F25}"/>
                    </a:ext>
                  </a:extLst>
                </p:cNvPr>
                <p:cNvSpPr/>
                <p:nvPr/>
              </p:nvSpPr>
              <p:spPr bwMode="auto">
                <a:xfrm>
                  <a:off x="291" y="364"/>
                  <a:ext cx="152" cy="237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w 21600"/>
                    <a:gd name="T13" fmla="*/ 0 h 21600"/>
                    <a:gd name="T14" fmla="*/ 0 w 21600"/>
                    <a:gd name="T15" fmla="*/ 0 h 21600"/>
                    <a:gd name="T16" fmla="*/ 0 w 21600"/>
                    <a:gd name="T17" fmla="*/ 0 h 21600"/>
                    <a:gd name="T18" fmla="*/ 0 w 21600"/>
                    <a:gd name="T19" fmla="*/ 0 h 21600"/>
                    <a:gd name="T20" fmla="*/ 0 w 21600"/>
                    <a:gd name="T21" fmla="*/ 0 h 21600"/>
                    <a:gd name="T22" fmla="*/ 0 w 21600"/>
                    <a:gd name="T23" fmla="*/ 0 h 21600"/>
                    <a:gd name="T24" fmla="*/ 0 w 21600"/>
                    <a:gd name="T25" fmla="*/ 0 h 21600"/>
                    <a:gd name="T26" fmla="*/ 0 w 21600"/>
                    <a:gd name="T27" fmla="*/ 0 h 21600"/>
                    <a:gd name="T28" fmla="*/ 0 w 21600"/>
                    <a:gd name="T29" fmla="*/ 0 h 21600"/>
                    <a:gd name="T30" fmla="*/ 0 w 21600"/>
                    <a:gd name="T31" fmla="*/ 0 h 21600"/>
                    <a:gd name="T32" fmla="*/ 0 w 21600"/>
                    <a:gd name="T33" fmla="*/ 0 h 21600"/>
                    <a:gd name="T34" fmla="*/ 0 w 21600"/>
                    <a:gd name="T35" fmla="*/ 0 h 21600"/>
                    <a:gd name="T36" fmla="*/ 0 w 21600"/>
                    <a:gd name="T37" fmla="*/ 0 h 21600"/>
                    <a:gd name="T38" fmla="*/ 0 w 21600"/>
                    <a:gd name="T39" fmla="*/ 0 h 21600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0" t="0" r="r" b="b"/>
                  <a:pathLst>
                    <a:path w="21600" h="21600">
                      <a:moveTo>
                        <a:pt x="17659" y="0"/>
                      </a:moveTo>
                      <a:lnTo>
                        <a:pt x="21600" y="3140"/>
                      </a:lnTo>
                      <a:cubicBezTo>
                        <a:pt x="19637" y="4162"/>
                        <a:pt x="17815" y="5296"/>
                        <a:pt x="16163" y="6534"/>
                      </a:cubicBezTo>
                      <a:cubicBezTo>
                        <a:pt x="14508" y="7771"/>
                        <a:pt x="13021" y="9111"/>
                        <a:pt x="11730" y="10536"/>
                      </a:cubicBezTo>
                      <a:cubicBezTo>
                        <a:pt x="10439" y="11964"/>
                        <a:pt x="9341" y="13480"/>
                        <a:pt x="8467" y="15071"/>
                      </a:cubicBezTo>
                      <a:cubicBezTo>
                        <a:pt x="7593" y="16663"/>
                        <a:pt x="6936" y="18331"/>
                        <a:pt x="6533" y="20061"/>
                      </a:cubicBezTo>
                      <a:cubicBezTo>
                        <a:pt x="6502" y="20190"/>
                        <a:pt x="6474" y="20319"/>
                        <a:pt x="6446" y="20447"/>
                      </a:cubicBezTo>
                      <a:cubicBezTo>
                        <a:pt x="6419" y="20575"/>
                        <a:pt x="6394" y="20704"/>
                        <a:pt x="6371" y="20832"/>
                      </a:cubicBezTo>
                      <a:cubicBezTo>
                        <a:pt x="6347" y="20961"/>
                        <a:pt x="6324" y="21090"/>
                        <a:pt x="6302" y="21217"/>
                      </a:cubicBezTo>
                      <a:cubicBezTo>
                        <a:pt x="6283" y="21345"/>
                        <a:pt x="6264" y="21473"/>
                        <a:pt x="6244" y="21600"/>
                      </a:cubicBezTo>
                      <a:lnTo>
                        <a:pt x="0" y="21228"/>
                      </a:lnTo>
                      <a:cubicBezTo>
                        <a:pt x="20" y="21082"/>
                        <a:pt x="43" y="20934"/>
                        <a:pt x="67" y="20787"/>
                      </a:cubicBezTo>
                      <a:cubicBezTo>
                        <a:pt x="90" y="20639"/>
                        <a:pt x="118" y="20492"/>
                        <a:pt x="145" y="20345"/>
                      </a:cubicBezTo>
                      <a:cubicBezTo>
                        <a:pt x="174" y="20197"/>
                        <a:pt x="205" y="20050"/>
                        <a:pt x="234" y="19901"/>
                      </a:cubicBezTo>
                      <a:cubicBezTo>
                        <a:pt x="267" y="19753"/>
                        <a:pt x="297" y="19605"/>
                        <a:pt x="332" y="19458"/>
                      </a:cubicBezTo>
                      <a:cubicBezTo>
                        <a:pt x="799" y="17467"/>
                        <a:pt x="1550" y="15549"/>
                        <a:pt x="2557" y="13719"/>
                      </a:cubicBezTo>
                      <a:cubicBezTo>
                        <a:pt x="3563" y="11890"/>
                        <a:pt x="4822" y="10147"/>
                        <a:pt x="6309" y="8505"/>
                      </a:cubicBezTo>
                      <a:cubicBezTo>
                        <a:pt x="7794" y="6864"/>
                        <a:pt x="9505" y="5325"/>
                        <a:pt x="11406" y="3903"/>
                      </a:cubicBezTo>
                      <a:cubicBezTo>
                        <a:pt x="13306" y="2479"/>
                        <a:pt x="15401" y="1172"/>
                        <a:pt x="17659" y="0"/>
                      </a:cubicBezTo>
                      <a:close/>
                      <a:moveTo>
                        <a:pt x="17659" y="0"/>
                      </a:move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51" name="îṧḻîďê">
                  <a:extLst>
                    <a:ext uri="{FF2B5EF4-FFF2-40B4-BE49-F238E27FC236}">
                      <a16:creationId xmlns:a16="http://schemas.microsoft.com/office/drawing/2014/main" id="{F0FDBDCA-86F1-4416-ABDD-070A61193538}"/>
                    </a:ext>
                  </a:extLst>
                </p:cNvPr>
                <p:cNvSpPr/>
                <p:nvPr/>
              </p:nvSpPr>
              <p:spPr bwMode="auto">
                <a:xfrm>
                  <a:off x="800" y="23"/>
                  <a:ext cx="106" cy="244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1600" h="21600">
                      <a:moveTo>
                        <a:pt x="21600" y="16809"/>
                      </a:moveTo>
                      <a:lnTo>
                        <a:pt x="14404" y="21600"/>
                      </a:lnTo>
                      <a:lnTo>
                        <a:pt x="0" y="6983"/>
                      </a:lnTo>
                      <a:lnTo>
                        <a:pt x="5030" y="0"/>
                      </a:lnTo>
                      <a:lnTo>
                        <a:pt x="21600" y="16809"/>
                      </a:lnTo>
                      <a:close/>
                      <a:moveTo>
                        <a:pt x="21600" y="16809"/>
                      </a:moveTo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52" name="íṥ1ídê">
                  <a:extLst>
                    <a:ext uri="{FF2B5EF4-FFF2-40B4-BE49-F238E27FC236}">
                      <a16:creationId xmlns:a16="http://schemas.microsoft.com/office/drawing/2014/main" id="{FA07CD61-D1A7-4119-B342-1E6AFBF51839}"/>
                    </a:ext>
                  </a:extLst>
                </p:cNvPr>
                <p:cNvSpPr/>
                <p:nvPr/>
              </p:nvSpPr>
              <p:spPr bwMode="auto">
                <a:xfrm>
                  <a:off x="280" y="0"/>
                  <a:ext cx="595" cy="348"/>
                </a:xfrm>
                <a:custGeom>
                  <a:avLst/>
                  <a:gdLst>
                    <a:gd name="T0" fmla="*/ 0 w 21600"/>
                    <a:gd name="T1" fmla="*/ 0 h 21583"/>
                    <a:gd name="T2" fmla="*/ 0 w 21600"/>
                    <a:gd name="T3" fmla="*/ 0 h 21583"/>
                    <a:gd name="T4" fmla="*/ 0 w 21600"/>
                    <a:gd name="T5" fmla="*/ 0 h 21583"/>
                    <a:gd name="T6" fmla="*/ 0 w 21600"/>
                    <a:gd name="T7" fmla="*/ 0 h 21583"/>
                    <a:gd name="T8" fmla="*/ 0 w 21600"/>
                    <a:gd name="T9" fmla="*/ 0 h 21583"/>
                    <a:gd name="T10" fmla="*/ 0 w 21600"/>
                    <a:gd name="T11" fmla="*/ 0 h 21583"/>
                    <a:gd name="T12" fmla="*/ 0 w 21600"/>
                    <a:gd name="T13" fmla="*/ 0 h 21583"/>
                    <a:gd name="T14" fmla="*/ 0 w 21600"/>
                    <a:gd name="T15" fmla="*/ 0 h 21583"/>
                    <a:gd name="T16" fmla="*/ 0 w 21600"/>
                    <a:gd name="T17" fmla="*/ 0 h 21583"/>
                    <a:gd name="T18" fmla="*/ 0 w 21600"/>
                    <a:gd name="T19" fmla="*/ 0 h 21583"/>
                    <a:gd name="T20" fmla="*/ 0 w 21600"/>
                    <a:gd name="T21" fmla="*/ 0 h 21583"/>
                    <a:gd name="T22" fmla="*/ 0 w 21600"/>
                    <a:gd name="T23" fmla="*/ 0 h 21583"/>
                    <a:gd name="T24" fmla="*/ 0 w 21600"/>
                    <a:gd name="T25" fmla="*/ 0 h 21583"/>
                    <a:gd name="T26" fmla="*/ 0 w 21600"/>
                    <a:gd name="T27" fmla="*/ 0 h 21583"/>
                    <a:gd name="T28" fmla="*/ 0 w 21600"/>
                    <a:gd name="T29" fmla="*/ 0 h 21583"/>
                    <a:gd name="T30" fmla="*/ 0 w 21600"/>
                    <a:gd name="T31" fmla="*/ 0 h 21583"/>
                    <a:gd name="T32" fmla="*/ 0 w 21600"/>
                    <a:gd name="T33" fmla="*/ 0 h 21583"/>
                    <a:gd name="T34" fmla="*/ 0 w 21600"/>
                    <a:gd name="T35" fmla="*/ 0 h 21583"/>
                    <a:gd name="T36" fmla="*/ 0 w 21600"/>
                    <a:gd name="T37" fmla="*/ 0 h 21583"/>
                    <a:gd name="T38" fmla="*/ 0 w 21600"/>
                    <a:gd name="T39" fmla="*/ 0 h 21583"/>
                    <a:gd name="T40" fmla="*/ 0 w 21600"/>
                    <a:gd name="T41" fmla="*/ 0 h 21583"/>
                    <a:gd name="T42" fmla="*/ 0 w 21600"/>
                    <a:gd name="T43" fmla="*/ 0 h 21583"/>
                    <a:gd name="T44" fmla="*/ 0 w 21600"/>
                    <a:gd name="T45" fmla="*/ 0 h 21583"/>
                    <a:gd name="T46" fmla="*/ 0 w 21600"/>
                    <a:gd name="T47" fmla="*/ 0 h 21583"/>
                    <a:gd name="T48" fmla="*/ 0 w 21600"/>
                    <a:gd name="T49" fmla="*/ 0 h 21583"/>
                    <a:gd name="T50" fmla="*/ 0 w 21600"/>
                    <a:gd name="T51" fmla="*/ 0 h 21583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21600" h="21583">
                      <a:moveTo>
                        <a:pt x="18662" y="1308"/>
                      </a:moveTo>
                      <a:lnTo>
                        <a:pt x="21600" y="12915"/>
                      </a:lnTo>
                      <a:lnTo>
                        <a:pt x="15458" y="18611"/>
                      </a:lnTo>
                      <a:cubicBezTo>
                        <a:pt x="15390" y="18584"/>
                        <a:pt x="15321" y="18560"/>
                        <a:pt x="15253" y="18536"/>
                      </a:cubicBezTo>
                      <a:cubicBezTo>
                        <a:pt x="15184" y="18512"/>
                        <a:pt x="15114" y="18489"/>
                        <a:pt x="15045" y="18467"/>
                      </a:cubicBezTo>
                      <a:cubicBezTo>
                        <a:pt x="14975" y="18445"/>
                        <a:pt x="14906" y="18422"/>
                        <a:pt x="14836" y="18402"/>
                      </a:cubicBezTo>
                      <a:cubicBezTo>
                        <a:pt x="14766" y="18383"/>
                        <a:pt x="14696" y="18364"/>
                        <a:pt x="14625" y="18346"/>
                      </a:cubicBezTo>
                      <a:cubicBezTo>
                        <a:pt x="13844" y="18145"/>
                        <a:pt x="13068" y="18074"/>
                        <a:pt x="12306" y="18124"/>
                      </a:cubicBezTo>
                      <a:cubicBezTo>
                        <a:pt x="11544" y="18175"/>
                        <a:pt x="10795" y="18345"/>
                        <a:pt x="10067" y="18628"/>
                      </a:cubicBezTo>
                      <a:cubicBezTo>
                        <a:pt x="9339" y="18911"/>
                        <a:pt x="8632" y="19305"/>
                        <a:pt x="7954" y="19800"/>
                      </a:cubicBezTo>
                      <a:cubicBezTo>
                        <a:pt x="7276" y="20295"/>
                        <a:pt x="6626" y="20892"/>
                        <a:pt x="6013" y="21583"/>
                      </a:cubicBezTo>
                      <a:lnTo>
                        <a:pt x="7216" y="10000"/>
                      </a:lnTo>
                      <a:lnTo>
                        <a:pt x="0" y="6652"/>
                      </a:lnTo>
                      <a:cubicBezTo>
                        <a:pt x="543" y="6028"/>
                        <a:pt x="1101" y="5446"/>
                        <a:pt x="1670" y="4906"/>
                      </a:cubicBezTo>
                      <a:cubicBezTo>
                        <a:pt x="2240" y="4366"/>
                        <a:pt x="2822" y="3869"/>
                        <a:pt x="3415" y="3415"/>
                      </a:cubicBezTo>
                      <a:cubicBezTo>
                        <a:pt x="4008" y="2962"/>
                        <a:pt x="4613" y="2551"/>
                        <a:pt x="5228" y="2184"/>
                      </a:cubicBezTo>
                      <a:cubicBezTo>
                        <a:pt x="5844" y="1818"/>
                        <a:pt x="6470" y="1495"/>
                        <a:pt x="7106" y="1217"/>
                      </a:cubicBezTo>
                      <a:cubicBezTo>
                        <a:pt x="7851" y="892"/>
                        <a:pt x="8601" y="632"/>
                        <a:pt x="9354" y="437"/>
                      </a:cubicBezTo>
                      <a:cubicBezTo>
                        <a:pt x="10108" y="243"/>
                        <a:pt x="10866" y="113"/>
                        <a:pt x="11626" y="49"/>
                      </a:cubicBezTo>
                      <a:cubicBezTo>
                        <a:pt x="12386" y="-17"/>
                        <a:pt x="13148" y="-16"/>
                        <a:pt x="13913" y="50"/>
                      </a:cubicBezTo>
                      <a:cubicBezTo>
                        <a:pt x="14677" y="117"/>
                        <a:pt x="15441" y="248"/>
                        <a:pt x="16207" y="444"/>
                      </a:cubicBezTo>
                      <a:cubicBezTo>
                        <a:pt x="16415" y="498"/>
                        <a:pt x="16622" y="558"/>
                        <a:pt x="16828" y="620"/>
                      </a:cubicBezTo>
                      <a:cubicBezTo>
                        <a:pt x="17034" y="683"/>
                        <a:pt x="17240" y="749"/>
                        <a:pt x="17444" y="822"/>
                      </a:cubicBezTo>
                      <a:cubicBezTo>
                        <a:pt x="17649" y="894"/>
                        <a:pt x="17853" y="970"/>
                        <a:pt x="18055" y="1052"/>
                      </a:cubicBezTo>
                      <a:cubicBezTo>
                        <a:pt x="18259" y="1132"/>
                        <a:pt x="18461" y="1217"/>
                        <a:pt x="18662" y="1308"/>
                      </a:cubicBezTo>
                      <a:close/>
                      <a:moveTo>
                        <a:pt x="18662" y="1308"/>
                      </a:moveTo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53" name="ïṣľïḋe">
                  <a:extLst>
                    <a:ext uri="{FF2B5EF4-FFF2-40B4-BE49-F238E27FC236}">
                      <a16:creationId xmlns:a16="http://schemas.microsoft.com/office/drawing/2014/main" id="{4939A03E-303E-48B9-BCF7-A5260E904A09}"/>
                    </a:ext>
                  </a:extLst>
                </p:cNvPr>
                <p:cNvSpPr/>
                <p:nvPr/>
              </p:nvSpPr>
              <p:spPr bwMode="auto">
                <a:xfrm>
                  <a:off x="696" y="208"/>
                  <a:ext cx="178" cy="135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1600" h="21600">
                      <a:moveTo>
                        <a:pt x="21600" y="0"/>
                      </a:moveTo>
                      <a:lnTo>
                        <a:pt x="17778" y="8830"/>
                      </a:lnTo>
                      <a:lnTo>
                        <a:pt x="0" y="21600"/>
                      </a:lnTo>
                      <a:lnTo>
                        <a:pt x="1155" y="14687"/>
                      </a:lnTo>
                      <a:lnTo>
                        <a:pt x="21600" y="0"/>
                      </a:lnTo>
                      <a:close/>
                      <a:moveTo>
                        <a:pt x="21600" y="0"/>
                      </a:moveTo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54" name="ïṡ1îďe">
                  <a:extLst>
                    <a:ext uri="{FF2B5EF4-FFF2-40B4-BE49-F238E27FC236}">
                      <a16:creationId xmlns:a16="http://schemas.microsoft.com/office/drawing/2014/main" id="{44AE772C-81DA-4611-A4A3-180ECF60F6C4}"/>
                    </a:ext>
                  </a:extLst>
                </p:cNvPr>
                <p:cNvSpPr/>
                <p:nvPr/>
              </p:nvSpPr>
              <p:spPr bwMode="auto">
                <a:xfrm>
                  <a:off x="446" y="292"/>
                  <a:ext cx="260" cy="93"/>
                </a:xfrm>
                <a:custGeom>
                  <a:avLst/>
                  <a:gdLst>
                    <a:gd name="T0" fmla="*/ 0 w 21600"/>
                    <a:gd name="T1" fmla="*/ 0 h 21470"/>
                    <a:gd name="T2" fmla="*/ 0 w 21600"/>
                    <a:gd name="T3" fmla="*/ 0 h 21470"/>
                    <a:gd name="T4" fmla="*/ 0 w 21600"/>
                    <a:gd name="T5" fmla="*/ 0 h 21470"/>
                    <a:gd name="T6" fmla="*/ 0 w 21600"/>
                    <a:gd name="T7" fmla="*/ 0 h 21470"/>
                    <a:gd name="T8" fmla="*/ 0 w 21600"/>
                    <a:gd name="T9" fmla="*/ 0 h 21470"/>
                    <a:gd name="T10" fmla="*/ 0 w 21600"/>
                    <a:gd name="T11" fmla="*/ 0 h 21470"/>
                    <a:gd name="T12" fmla="*/ 0 w 21600"/>
                    <a:gd name="T13" fmla="*/ 0 h 21470"/>
                    <a:gd name="T14" fmla="*/ 0 w 21600"/>
                    <a:gd name="T15" fmla="*/ 0 h 21470"/>
                    <a:gd name="T16" fmla="*/ 0 w 21600"/>
                    <a:gd name="T17" fmla="*/ 0 h 21470"/>
                    <a:gd name="T18" fmla="*/ 0 w 21600"/>
                    <a:gd name="T19" fmla="*/ 0 h 21470"/>
                    <a:gd name="T20" fmla="*/ 0 w 21600"/>
                    <a:gd name="T21" fmla="*/ 0 h 21470"/>
                    <a:gd name="T22" fmla="*/ 0 w 21600"/>
                    <a:gd name="T23" fmla="*/ 0 h 21470"/>
                    <a:gd name="T24" fmla="*/ 0 w 21600"/>
                    <a:gd name="T25" fmla="*/ 0 h 21470"/>
                    <a:gd name="T26" fmla="*/ 0 w 21600"/>
                    <a:gd name="T27" fmla="*/ 0 h 21470"/>
                    <a:gd name="T28" fmla="*/ 0 w 21600"/>
                    <a:gd name="T29" fmla="*/ 0 h 21470"/>
                    <a:gd name="T30" fmla="*/ 0 w 21600"/>
                    <a:gd name="T31" fmla="*/ 0 h 21470"/>
                    <a:gd name="T32" fmla="*/ 0 w 21600"/>
                    <a:gd name="T33" fmla="*/ 0 h 21470"/>
                    <a:gd name="T34" fmla="*/ 0 w 21600"/>
                    <a:gd name="T35" fmla="*/ 0 h 21470"/>
                    <a:gd name="T36" fmla="*/ 0 w 21600"/>
                    <a:gd name="T37" fmla="*/ 0 h 21470"/>
                    <a:gd name="T38" fmla="*/ 0 w 21600"/>
                    <a:gd name="T39" fmla="*/ 0 h 21470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0" t="0" r="r" b="b"/>
                  <a:pathLst>
                    <a:path w="21600" h="21470">
                      <a:moveTo>
                        <a:pt x="21600" y="1872"/>
                      </a:moveTo>
                      <a:lnTo>
                        <a:pt x="20807" y="11851"/>
                      </a:lnTo>
                      <a:cubicBezTo>
                        <a:pt x="20671" y="11770"/>
                        <a:pt x="20535" y="11689"/>
                        <a:pt x="20396" y="11614"/>
                      </a:cubicBezTo>
                      <a:cubicBezTo>
                        <a:pt x="20260" y="11533"/>
                        <a:pt x="20122" y="11461"/>
                        <a:pt x="19983" y="11387"/>
                      </a:cubicBezTo>
                      <a:cubicBezTo>
                        <a:pt x="19846" y="11315"/>
                        <a:pt x="19708" y="11247"/>
                        <a:pt x="19568" y="11182"/>
                      </a:cubicBezTo>
                      <a:cubicBezTo>
                        <a:pt x="19430" y="11118"/>
                        <a:pt x="19290" y="11055"/>
                        <a:pt x="19151" y="10994"/>
                      </a:cubicBezTo>
                      <a:cubicBezTo>
                        <a:pt x="17595" y="10342"/>
                        <a:pt x="16054" y="10117"/>
                        <a:pt x="14537" y="10279"/>
                      </a:cubicBezTo>
                      <a:cubicBezTo>
                        <a:pt x="13022" y="10436"/>
                        <a:pt x="11533" y="10993"/>
                        <a:pt x="10085" y="11907"/>
                      </a:cubicBezTo>
                      <a:cubicBezTo>
                        <a:pt x="8637" y="12823"/>
                        <a:pt x="7231" y="14098"/>
                        <a:pt x="5883" y="15701"/>
                      </a:cubicBezTo>
                      <a:cubicBezTo>
                        <a:pt x="4533" y="17305"/>
                        <a:pt x="3243" y="19240"/>
                        <a:pt x="2022" y="21470"/>
                      </a:cubicBezTo>
                      <a:lnTo>
                        <a:pt x="0" y="12933"/>
                      </a:lnTo>
                      <a:cubicBezTo>
                        <a:pt x="1403" y="10362"/>
                        <a:pt x="2889" y="8138"/>
                        <a:pt x="4441" y="6297"/>
                      </a:cubicBezTo>
                      <a:cubicBezTo>
                        <a:pt x="5991" y="4454"/>
                        <a:pt x="7607" y="2985"/>
                        <a:pt x="9273" y="1934"/>
                      </a:cubicBezTo>
                      <a:cubicBezTo>
                        <a:pt x="10937" y="882"/>
                        <a:pt x="12649" y="248"/>
                        <a:pt x="14392" y="58"/>
                      </a:cubicBezTo>
                      <a:cubicBezTo>
                        <a:pt x="16137" y="-130"/>
                        <a:pt x="17910" y="134"/>
                        <a:pt x="19697" y="884"/>
                      </a:cubicBezTo>
                      <a:cubicBezTo>
                        <a:pt x="19858" y="950"/>
                        <a:pt x="20019" y="1020"/>
                        <a:pt x="20179" y="1092"/>
                      </a:cubicBezTo>
                      <a:cubicBezTo>
                        <a:pt x="20339" y="1167"/>
                        <a:pt x="20498" y="1250"/>
                        <a:pt x="20656" y="1333"/>
                      </a:cubicBezTo>
                      <a:cubicBezTo>
                        <a:pt x="20815" y="1416"/>
                        <a:pt x="20974" y="1501"/>
                        <a:pt x="21132" y="1590"/>
                      </a:cubicBezTo>
                      <a:cubicBezTo>
                        <a:pt x="21287" y="1682"/>
                        <a:pt x="21445" y="1772"/>
                        <a:pt x="21600" y="1872"/>
                      </a:cubicBezTo>
                      <a:close/>
                      <a:moveTo>
                        <a:pt x="21600" y="1872"/>
                      </a:moveTo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55" name="îšľîḋê">
                  <a:extLst>
                    <a:ext uri="{FF2B5EF4-FFF2-40B4-BE49-F238E27FC236}">
                      <a16:creationId xmlns:a16="http://schemas.microsoft.com/office/drawing/2014/main" id="{98BA26BE-E90D-48BC-9544-735D629A96DC}"/>
                    </a:ext>
                  </a:extLst>
                </p:cNvPr>
                <p:cNvSpPr/>
                <p:nvPr/>
              </p:nvSpPr>
              <p:spPr bwMode="auto">
                <a:xfrm>
                  <a:off x="1058" y="401"/>
                  <a:ext cx="161" cy="188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1600" h="21600">
                      <a:moveTo>
                        <a:pt x="8610" y="20926"/>
                      </a:moveTo>
                      <a:lnTo>
                        <a:pt x="0" y="21600"/>
                      </a:lnTo>
                      <a:lnTo>
                        <a:pt x="11295" y="3403"/>
                      </a:lnTo>
                      <a:lnTo>
                        <a:pt x="21600" y="0"/>
                      </a:lnTo>
                      <a:lnTo>
                        <a:pt x="8610" y="20926"/>
                      </a:lnTo>
                      <a:close/>
                      <a:moveTo>
                        <a:pt x="8610" y="20926"/>
                      </a:moveTo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56" name="íṥļíďê">
                  <a:extLst>
                    <a:ext uri="{FF2B5EF4-FFF2-40B4-BE49-F238E27FC236}">
                      <a16:creationId xmlns:a16="http://schemas.microsoft.com/office/drawing/2014/main" id="{EB78B427-D2A7-4B16-9602-FA8A5336F32E}"/>
                    </a:ext>
                  </a:extLst>
                </p:cNvPr>
                <p:cNvSpPr/>
                <p:nvPr/>
              </p:nvSpPr>
              <p:spPr bwMode="auto">
                <a:xfrm>
                  <a:off x="736" y="24"/>
                  <a:ext cx="473" cy="529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w 21600"/>
                    <a:gd name="T13" fmla="*/ 0 h 21600"/>
                    <a:gd name="T14" fmla="*/ 0 w 21600"/>
                    <a:gd name="T15" fmla="*/ 0 h 21600"/>
                    <a:gd name="T16" fmla="*/ 0 w 21600"/>
                    <a:gd name="T17" fmla="*/ 0 h 21600"/>
                    <a:gd name="T18" fmla="*/ 0 w 21600"/>
                    <a:gd name="T19" fmla="*/ 0 h 21600"/>
                    <a:gd name="T20" fmla="*/ 0 w 21600"/>
                    <a:gd name="T21" fmla="*/ 0 h 21600"/>
                    <a:gd name="T22" fmla="*/ 0 w 21600"/>
                    <a:gd name="T23" fmla="*/ 0 h 21600"/>
                    <a:gd name="T24" fmla="*/ 0 w 21600"/>
                    <a:gd name="T25" fmla="*/ 0 h 21600"/>
                    <a:gd name="T26" fmla="*/ 0 w 21600"/>
                    <a:gd name="T27" fmla="*/ 0 h 21600"/>
                    <a:gd name="T28" fmla="*/ 0 w 21600"/>
                    <a:gd name="T29" fmla="*/ 0 h 21600"/>
                    <a:gd name="T30" fmla="*/ 0 w 21600"/>
                    <a:gd name="T31" fmla="*/ 0 h 21600"/>
                    <a:gd name="T32" fmla="*/ 0 w 21600"/>
                    <a:gd name="T33" fmla="*/ 0 h 21600"/>
                    <a:gd name="T34" fmla="*/ 0 w 21600"/>
                    <a:gd name="T35" fmla="*/ 0 h 21600"/>
                    <a:gd name="T36" fmla="*/ 0 w 21600"/>
                    <a:gd name="T37" fmla="*/ 0 h 21600"/>
                    <a:gd name="T38" fmla="*/ 0 w 21600"/>
                    <a:gd name="T39" fmla="*/ 0 h 21600"/>
                    <a:gd name="T40" fmla="*/ 0 w 21600"/>
                    <a:gd name="T41" fmla="*/ 0 h 21600"/>
                    <a:gd name="T42" fmla="*/ 0 w 21600"/>
                    <a:gd name="T43" fmla="*/ 0 h 21600"/>
                    <a:gd name="T44" fmla="*/ 0 w 21600"/>
                    <a:gd name="T45" fmla="*/ 0 h 21600"/>
                    <a:gd name="T46" fmla="*/ 0 w 21600"/>
                    <a:gd name="T47" fmla="*/ 0 h 21600"/>
                    <a:gd name="T48" fmla="*/ 0 w 21600"/>
                    <a:gd name="T49" fmla="*/ 0 h 21600"/>
                    <a:gd name="T50" fmla="*/ 0 w 21600"/>
                    <a:gd name="T51" fmla="*/ 0 h 2160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21600" h="21600">
                      <a:moveTo>
                        <a:pt x="4067" y="56"/>
                      </a:moveTo>
                      <a:cubicBezTo>
                        <a:pt x="4606" y="212"/>
                        <a:pt x="5141" y="382"/>
                        <a:pt x="5669" y="566"/>
                      </a:cubicBezTo>
                      <a:cubicBezTo>
                        <a:pt x="6197" y="750"/>
                        <a:pt x="6719" y="949"/>
                        <a:pt x="7235" y="1160"/>
                      </a:cubicBezTo>
                      <a:cubicBezTo>
                        <a:pt x="7750" y="1373"/>
                        <a:pt x="8260" y="1599"/>
                        <a:pt x="8762" y="1839"/>
                      </a:cubicBezTo>
                      <a:cubicBezTo>
                        <a:pt x="9265" y="2080"/>
                        <a:pt x="9759" y="2334"/>
                        <a:pt x="10249" y="2601"/>
                      </a:cubicBezTo>
                      <a:cubicBezTo>
                        <a:pt x="11044" y="3038"/>
                        <a:pt x="11812" y="3506"/>
                        <a:pt x="12551" y="4005"/>
                      </a:cubicBezTo>
                      <a:cubicBezTo>
                        <a:pt x="13290" y="4504"/>
                        <a:pt x="14002" y="5033"/>
                        <a:pt x="14682" y="5592"/>
                      </a:cubicBezTo>
                      <a:cubicBezTo>
                        <a:pt x="15363" y="6152"/>
                        <a:pt x="16013" y="6741"/>
                        <a:pt x="16634" y="7359"/>
                      </a:cubicBezTo>
                      <a:cubicBezTo>
                        <a:pt x="17253" y="7976"/>
                        <a:pt x="17841" y="8623"/>
                        <a:pt x="18398" y="9297"/>
                      </a:cubicBezTo>
                      <a:cubicBezTo>
                        <a:pt x="18717" y="9685"/>
                        <a:pt x="19024" y="10079"/>
                        <a:pt x="19317" y="10479"/>
                      </a:cubicBezTo>
                      <a:cubicBezTo>
                        <a:pt x="19610" y="10879"/>
                        <a:pt x="19890" y="11285"/>
                        <a:pt x="20157" y="11697"/>
                      </a:cubicBezTo>
                      <a:cubicBezTo>
                        <a:pt x="20424" y="12108"/>
                        <a:pt x="20678" y="12527"/>
                        <a:pt x="20919" y="12951"/>
                      </a:cubicBezTo>
                      <a:cubicBezTo>
                        <a:pt x="21159" y="13374"/>
                        <a:pt x="21386" y="13804"/>
                        <a:pt x="21600" y="14238"/>
                      </a:cubicBezTo>
                      <a:lnTo>
                        <a:pt x="17214" y="21600"/>
                      </a:lnTo>
                      <a:lnTo>
                        <a:pt x="9106" y="18532"/>
                      </a:lnTo>
                      <a:cubicBezTo>
                        <a:pt x="8653" y="17708"/>
                        <a:pt x="8111" y="16927"/>
                        <a:pt x="7490" y="16199"/>
                      </a:cubicBezTo>
                      <a:cubicBezTo>
                        <a:pt x="6868" y="15472"/>
                        <a:pt x="6167" y="14799"/>
                        <a:pt x="5395" y="14192"/>
                      </a:cubicBezTo>
                      <a:cubicBezTo>
                        <a:pt x="4623" y="13585"/>
                        <a:pt x="3781" y="13044"/>
                        <a:pt x="2879" y="12580"/>
                      </a:cubicBezTo>
                      <a:cubicBezTo>
                        <a:pt x="1976" y="12117"/>
                        <a:pt x="1014" y="11731"/>
                        <a:pt x="0" y="11435"/>
                      </a:cubicBezTo>
                      <a:lnTo>
                        <a:pt x="7609" y="7735"/>
                      </a:lnTo>
                      <a:lnTo>
                        <a:pt x="3874" y="0"/>
                      </a:lnTo>
                      <a:cubicBezTo>
                        <a:pt x="3890" y="5"/>
                        <a:pt x="3906" y="8"/>
                        <a:pt x="3923" y="13"/>
                      </a:cubicBezTo>
                      <a:cubicBezTo>
                        <a:pt x="3938" y="18"/>
                        <a:pt x="3955" y="23"/>
                        <a:pt x="3970" y="27"/>
                      </a:cubicBezTo>
                      <a:cubicBezTo>
                        <a:pt x="3987" y="32"/>
                        <a:pt x="4003" y="36"/>
                        <a:pt x="4019" y="41"/>
                      </a:cubicBezTo>
                      <a:cubicBezTo>
                        <a:pt x="4034" y="46"/>
                        <a:pt x="4050" y="51"/>
                        <a:pt x="4067" y="56"/>
                      </a:cubicBezTo>
                      <a:close/>
                      <a:moveTo>
                        <a:pt x="4067" y="56"/>
                      </a:moveTo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57" name="iṩ1idé">
                  <a:extLst>
                    <a:ext uri="{FF2B5EF4-FFF2-40B4-BE49-F238E27FC236}">
                      <a16:creationId xmlns:a16="http://schemas.microsoft.com/office/drawing/2014/main" id="{E38E8DAC-9E0C-4EF7-AE92-551E904D1E5B}"/>
                    </a:ext>
                  </a:extLst>
                </p:cNvPr>
                <p:cNvSpPr/>
                <p:nvPr/>
              </p:nvSpPr>
              <p:spPr bwMode="auto">
                <a:xfrm>
                  <a:off x="896" y="477"/>
                  <a:ext cx="217" cy="84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1600" h="21600">
                      <a:moveTo>
                        <a:pt x="21600" y="19130"/>
                      </a:moveTo>
                      <a:lnTo>
                        <a:pt x="15344" y="21600"/>
                      </a:lnTo>
                      <a:lnTo>
                        <a:pt x="0" y="4963"/>
                      </a:lnTo>
                      <a:lnTo>
                        <a:pt x="3953" y="0"/>
                      </a:lnTo>
                      <a:lnTo>
                        <a:pt x="21600" y="19130"/>
                      </a:lnTo>
                      <a:close/>
                      <a:moveTo>
                        <a:pt x="21600" y="19130"/>
                      </a:moveTo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58" name="íṩľïḓè">
                  <a:extLst>
                    <a:ext uri="{FF2B5EF4-FFF2-40B4-BE49-F238E27FC236}">
                      <a16:creationId xmlns:a16="http://schemas.microsoft.com/office/drawing/2014/main" id="{E4A94F2E-D80F-4F76-BEB1-B546C48313DA}"/>
                    </a:ext>
                  </a:extLst>
                </p:cNvPr>
                <p:cNvSpPr/>
                <p:nvPr/>
              </p:nvSpPr>
              <p:spPr bwMode="auto">
                <a:xfrm>
                  <a:off x="722" y="304"/>
                  <a:ext cx="213" cy="193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w 21600"/>
                    <a:gd name="T13" fmla="*/ 0 h 21600"/>
                    <a:gd name="T14" fmla="*/ 0 w 21600"/>
                    <a:gd name="T15" fmla="*/ 0 h 21600"/>
                    <a:gd name="T16" fmla="*/ 0 w 21600"/>
                    <a:gd name="T17" fmla="*/ 0 h 21600"/>
                    <a:gd name="T18" fmla="*/ 0 w 21600"/>
                    <a:gd name="T19" fmla="*/ 0 h 21600"/>
                    <a:gd name="T20" fmla="*/ 0 w 21600"/>
                    <a:gd name="T21" fmla="*/ 0 h 21600"/>
                    <a:gd name="T22" fmla="*/ 0 w 21600"/>
                    <a:gd name="T23" fmla="*/ 0 h 2160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21600" h="21600">
                      <a:moveTo>
                        <a:pt x="21600" y="19421"/>
                      </a:moveTo>
                      <a:lnTo>
                        <a:pt x="17570" y="21600"/>
                      </a:lnTo>
                      <a:cubicBezTo>
                        <a:pt x="16697" y="19639"/>
                        <a:pt x="15652" y="17779"/>
                        <a:pt x="14451" y="16049"/>
                      </a:cubicBezTo>
                      <a:cubicBezTo>
                        <a:pt x="13253" y="14319"/>
                        <a:pt x="11899" y="12718"/>
                        <a:pt x="10410" y="11272"/>
                      </a:cubicBezTo>
                      <a:cubicBezTo>
                        <a:pt x="8921" y="9829"/>
                        <a:pt x="7298" y="8542"/>
                        <a:pt x="5556" y="7439"/>
                      </a:cubicBezTo>
                      <a:cubicBezTo>
                        <a:pt x="3815" y="6337"/>
                        <a:pt x="1957" y="5417"/>
                        <a:pt x="0" y="4711"/>
                      </a:cubicBezTo>
                      <a:lnTo>
                        <a:pt x="1397" y="0"/>
                      </a:lnTo>
                      <a:cubicBezTo>
                        <a:pt x="3646" y="811"/>
                        <a:pt x="5782" y="1868"/>
                        <a:pt x="7785" y="3135"/>
                      </a:cubicBezTo>
                      <a:cubicBezTo>
                        <a:pt x="9787" y="4403"/>
                        <a:pt x="11655" y="5885"/>
                        <a:pt x="13367" y="7546"/>
                      </a:cubicBezTo>
                      <a:cubicBezTo>
                        <a:pt x="15081" y="9207"/>
                        <a:pt x="16637" y="11048"/>
                        <a:pt x="18017" y="13037"/>
                      </a:cubicBezTo>
                      <a:cubicBezTo>
                        <a:pt x="19395" y="15027"/>
                        <a:pt x="20596" y="17166"/>
                        <a:pt x="21600" y="19421"/>
                      </a:cubicBezTo>
                      <a:close/>
                      <a:moveTo>
                        <a:pt x="21600" y="19421"/>
                      </a:moveTo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12700" cap="flat">
                      <a:solidFill>
                        <a:srgbClr val="000000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59" name="ïṧ1íḓe">
                  <a:extLst>
                    <a:ext uri="{FF2B5EF4-FFF2-40B4-BE49-F238E27FC236}">
                      <a16:creationId xmlns:a16="http://schemas.microsoft.com/office/drawing/2014/main" id="{145ED7F4-0BF3-45CD-BAEF-D8C1B541ED15}"/>
                    </a:ext>
                  </a:extLst>
                </p:cNvPr>
                <p:cNvSpPr/>
                <p:nvPr/>
              </p:nvSpPr>
              <p:spPr bwMode="auto">
                <a:xfrm>
                  <a:off x="933" y="912"/>
                  <a:ext cx="247" cy="79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1600" h="21600">
                      <a:moveTo>
                        <a:pt x="3899" y="21600"/>
                      </a:moveTo>
                      <a:lnTo>
                        <a:pt x="0" y="8904"/>
                      </a:lnTo>
                      <a:lnTo>
                        <a:pt x="15393" y="0"/>
                      </a:lnTo>
                      <a:lnTo>
                        <a:pt x="21600" y="11358"/>
                      </a:lnTo>
                      <a:lnTo>
                        <a:pt x="3899" y="21600"/>
                      </a:lnTo>
                      <a:close/>
                      <a:moveTo>
                        <a:pt x="3899" y="21600"/>
                      </a:moveTo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60" name="íšḻïďe">
                  <a:extLst>
                    <a:ext uri="{FF2B5EF4-FFF2-40B4-BE49-F238E27FC236}">
                      <a16:creationId xmlns:a16="http://schemas.microsoft.com/office/drawing/2014/main" id="{ACAE681B-9BF0-4E48-883C-3E3F82858DD2}"/>
                    </a:ext>
                  </a:extLst>
                </p:cNvPr>
                <p:cNvSpPr/>
                <p:nvPr/>
              </p:nvSpPr>
              <p:spPr bwMode="auto">
                <a:xfrm>
                  <a:off x="936" y="400"/>
                  <a:ext cx="325" cy="558"/>
                </a:xfrm>
                <a:custGeom>
                  <a:avLst/>
                  <a:gdLst>
                    <a:gd name="T0" fmla="*/ 0 w 21582"/>
                    <a:gd name="T1" fmla="*/ 0 h 21600"/>
                    <a:gd name="T2" fmla="*/ 0 w 21582"/>
                    <a:gd name="T3" fmla="*/ 0 h 21600"/>
                    <a:gd name="T4" fmla="*/ 0 w 21582"/>
                    <a:gd name="T5" fmla="*/ 0 h 21600"/>
                    <a:gd name="T6" fmla="*/ 0 w 21582"/>
                    <a:gd name="T7" fmla="*/ 0 h 21600"/>
                    <a:gd name="T8" fmla="*/ 0 w 21582"/>
                    <a:gd name="T9" fmla="*/ 0 h 21600"/>
                    <a:gd name="T10" fmla="*/ 0 w 21582"/>
                    <a:gd name="T11" fmla="*/ 0 h 21600"/>
                    <a:gd name="T12" fmla="*/ 0 w 21582"/>
                    <a:gd name="T13" fmla="*/ 0 h 21600"/>
                    <a:gd name="T14" fmla="*/ 0 w 21582"/>
                    <a:gd name="T15" fmla="*/ 0 h 21600"/>
                    <a:gd name="T16" fmla="*/ 0 w 21582"/>
                    <a:gd name="T17" fmla="*/ 0 h 21600"/>
                    <a:gd name="T18" fmla="*/ 0 w 21582"/>
                    <a:gd name="T19" fmla="*/ 0 h 21600"/>
                    <a:gd name="T20" fmla="*/ 0 w 21582"/>
                    <a:gd name="T21" fmla="*/ 0 h 21600"/>
                    <a:gd name="T22" fmla="*/ 0 w 21582"/>
                    <a:gd name="T23" fmla="*/ 0 h 21600"/>
                    <a:gd name="T24" fmla="*/ 0 w 21582"/>
                    <a:gd name="T25" fmla="*/ 0 h 21600"/>
                    <a:gd name="T26" fmla="*/ 0 w 21582"/>
                    <a:gd name="T27" fmla="*/ 0 h 21600"/>
                    <a:gd name="T28" fmla="*/ 0 w 21582"/>
                    <a:gd name="T29" fmla="*/ 0 h 21600"/>
                    <a:gd name="T30" fmla="*/ 0 w 21582"/>
                    <a:gd name="T31" fmla="*/ 0 h 21600"/>
                    <a:gd name="T32" fmla="*/ 0 w 21582"/>
                    <a:gd name="T33" fmla="*/ 0 h 21600"/>
                    <a:gd name="T34" fmla="*/ 0 w 21582"/>
                    <a:gd name="T35" fmla="*/ 0 h 21600"/>
                    <a:gd name="T36" fmla="*/ 0 w 21582"/>
                    <a:gd name="T37" fmla="*/ 0 h 21600"/>
                    <a:gd name="T38" fmla="*/ 0 w 21582"/>
                    <a:gd name="T39" fmla="*/ 0 h 21600"/>
                    <a:gd name="T40" fmla="*/ 0 w 21582"/>
                    <a:gd name="T41" fmla="*/ 0 h 21600"/>
                    <a:gd name="T42" fmla="*/ 0 w 21582"/>
                    <a:gd name="T43" fmla="*/ 0 h 21600"/>
                    <a:gd name="T44" fmla="*/ 0 w 21582"/>
                    <a:gd name="T45" fmla="*/ 0 h 21600"/>
                    <a:gd name="T46" fmla="*/ 0 w 21582"/>
                    <a:gd name="T47" fmla="*/ 0 h 21600"/>
                    <a:gd name="T48" fmla="*/ 0 w 21582"/>
                    <a:gd name="T49" fmla="*/ 0 h 21600"/>
                    <a:gd name="T50" fmla="*/ 0 w 21582"/>
                    <a:gd name="T51" fmla="*/ 0 h 2160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21582" h="21600">
                      <a:moveTo>
                        <a:pt x="18790" y="0"/>
                      </a:moveTo>
                      <a:cubicBezTo>
                        <a:pt x="18935" y="221"/>
                        <a:pt x="19076" y="444"/>
                        <a:pt x="19211" y="668"/>
                      </a:cubicBezTo>
                      <a:cubicBezTo>
                        <a:pt x="19347" y="893"/>
                        <a:pt x="19475" y="1118"/>
                        <a:pt x="19600" y="1345"/>
                      </a:cubicBezTo>
                      <a:cubicBezTo>
                        <a:pt x="19724" y="1572"/>
                        <a:pt x="19843" y="1800"/>
                        <a:pt x="19957" y="2029"/>
                      </a:cubicBezTo>
                      <a:cubicBezTo>
                        <a:pt x="20070" y="2258"/>
                        <a:pt x="20177" y="2489"/>
                        <a:pt x="20278" y="2721"/>
                      </a:cubicBezTo>
                      <a:cubicBezTo>
                        <a:pt x="20626" y="3516"/>
                        <a:pt x="20905" y="4315"/>
                        <a:pt x="21114" y="5120"/>
                      </a:cubicBezTo>
                      <a:cubicBezTo>
                        <a:pt x="21322" y="5924"/>
                        <a:pt x="21462" y="6733"/>
                        <a:pt x="21531" y="7544"/>
                      </a:cubicBezTo>
                      <a:cubicBezTo>
                        <a:pt x="21600" y="8355"/>
                        <a:pt x="21599" y="9168"/>
                        <a:pt x="21528" y="9983"/>
                      </a:cubicBezTo>
                      <a:cubicBezTo>
                        <a:pt x="21458" y="10798"/>
                        <a:pt x="21316" y="11614"/>
                        <a:pt x="21105" y="12431"/>
                      </a:cubicBezTo>
                      <a:cubicBezTo>
                        <a:pt x="20930" y="13112"/>
                        <a:pt x="20707" y="13786"/>
                        <a:pt x="20437" y="14449"/>
                      </a:cubicBezTo>
                      <a:cubicBezTo>
                        <a:pt x="20168" y="15113"/>
                        <a:pt x="19852" y="15769"/>
                        <a:pt x="19490" y="16413"/>
                      </a:cubicBezTo>
                      <a:cubicBezTo>
                        <a:pt x="19129" y="17058"/>
                        <a:pt x="18723" y="17694"/>
                        <a:pt x="18270" y="18318"/>
                      </a:cubicBezTo>
                      <a:cubicBezTo>
                        <a:pt x="17817" y="18942"/>
                        <a:pt x="17319" y="19556"/>
                        <a:pt x="16776" y="20158"/>
                      </a:cubicBezTo>
                      <a:lnTo>
                        <a:pt x="3449" y="21600"/>
                      </a:lnTo>
                      <a:lnTo>
                        <a:pt x="0" y="14421"/>
                      </a:lnTo>
                      <a:cubicBezTo>
                        <a:pt x="231" y="14137"/>
                        <a:pt x="446" y="13847"/>
                        <a:pt x="643" y="13551"/>
                      </a:cubicBezTo>
                      <a:cubicBezTo>
                        <a:pt x="841" y="13255"/>
                        <a:pt x="1021" y="12953"/>
                        <a:pt x="1182" y="12647"/>
                      </a:cubicBezTo>
                      <a:cubicBezTo>
                        <a:pt x="1344" y="12340"/>
                        <a:pt x="1487" y="12027"/>
                        <a:pt x="1612" y="11710"/>
                      </a:cubicBezTo>
                      <a:cubicBezTo>
                        <a:pt x="1735" y="11393"/>
                        <a:pt x="1841" y="11070"/>
                        <a:pt x="1926" y="10744"/>
                      </a:cubicBezTo>
                      <a:cubicBezTo>
                        <a:pt x="2074" y="10171"/>
                        <a:pt x="2154" y="9602"/>
                        <a:pt x="2175" y="9038"/>
                      </a:cubicBezTo>
                      <a:cubicBezTo>
                        <a:pt x="2193" y="8474"/>
                        <a:pt x="2151" y="7916"/>
                        <a:pt x="2049" y="7365"/>
                      </a:cubicBezTo>
                      <a:cubicBezTo>
                        <a:pt x="1947" y="6815"/>
                        <a:pt x="1784" y="6273"/>
                        <a:pt x="1567" y="5742"/>
                      </a:cubicBezTo>
                      <a:cubicBezTo>
                        <a:pt x="1350" y="5211"/>
                        <a:pt x="1076" y="4691"/>
                        <a:pt x="751" y="4183"/>
                      </a:cubicBezTo>
                      <a:lnTo>
                        <a:pt x="12351" y="7045"/>
                      </a:lnTo>
                      <a:lnTo>
                        <a:pt x="18790" y="0"/>
                      </a:lnTo>
                      <a:close/>
                      <a:moveTo>
                        <a:pt x="18790" y="0"/>
                      </a:moveTo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61" name="íṥlidé">
                  <a:extLst>
                    <a:ext uri="{FF2B5EF4-FFF2-40B4-BE49-F238E27FC236}">
                      <a16:creationId xmlns:a16="http://schemas.microsoft.com/office/drawing/2014/main" id="{38B2B599-55EA-4233-96BD-ACC3C5635904}"/>
                    </a:ext>
                  </a:extLst>
                </p:cNvPr>
                <p:cNvSpPr/>
                <p:nvPr/>
              </p:nvSpPr>
              <p:spPr bwMode="auto">
                <a:xfrm>
                  <a:off x="897" y="754"/>
                  <a:ext cx="92" cy="204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1600" h="21600">
                      <a:moveTo>
                        <a:pt x="21600" y="21600"/>
                      </a:moveTo>
                      <a:lnTo>
                        <a:pt x="10609" y="17037"/>
                      </a:lnTo>
                      <a:lnTo>
                        <a:pt x="0" y="0"/>
                      </a:lnTo>
                      <a:lnTo>
                        <a:pt x="9400" y="2007"/>
                      </a:lnTo>
                      <a:lnTo>
                        <a:pt x="21600" y="21600"/>
                      </a:lnTo>
                      <a:close/>
                      <a:moveTo>
                        <a:pt x="21600" y="21600"/>
                      </a:moveTo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62" name="íṣḷîḓê">
                  <a:extLst>
                    <a:ext uri="{FF2B5EF4-FFF2-40B4-BE49-F238E27FC236}">
                      <a16:creationId xmlns:a16="http://schemas.microsoft.com/office/drawing/2014/main" id="{8DB3868C-89AC-4AFC-AAFD-DD6C5E12CFF1}"/>
                    </a:ext>
                  </a:extLst>
                </p:cNvPr>
                <p:cNvSpPr/>
                <p:nvPr/>
              </p:nvSpPr>
              <p:spPr bwMode="auto">
                <a:xfrm>
                  <a:off x="898" y="510"/>
                  <a:ext cx="72" cy="264"/>
                </a:xfrm>
                <a:custGeom>
                  <a:avLst/>
                  <a:gdLst>
                    <a:gd name="T0" fmla="*/ 0 w 21539"/>
                    <a:gd name="T1" fmla="*/ 0 h 21600"/>
                    <a:gd name="T2" fmla="*/ 0 w 21539"/>
                    <a:gd name="T3" fmla="*/ 0 h 21600"/>
                    <a:gd name="T4" fmla="*/ 0 w 21539"/>
                    <a:gd name="T5" fmla="*/ 0 h 21600"/>
                    <a:gd name="T6" fmla="*/ 0 w 21539"/>
                    <a:gd name="T7" fmla="*/ 0 h 21600"/>
                    <a:gd name="T8" fmla="*/ 0 w 21539"/>
                    <a:gd name="T9" fmla="*/ 0 h 21600"/>
                    <a:gd name="T10" fmla="*/ 0 w 21539"/>
                    <a:gd name="T11" fmla="*/ 0 h 21600"/>
                    <a:gd name="T12" fmla="*/ 0 w 21539"/>
                    <a:gd name="T13" fmla="*/ 0 h 21600"/>
                    <a:gd name="T14" fmla="*/ 0 w 21539"/>
                    <a:gd name="T15" fmla="*/ 0 h 21600"/>
                    <a:gd name="T16" fmla="*/ 0 w 21539"/>
                    <a:gd name="T17" fmla="*/ 0 h 21600"/>
                    <a:gd name="T18" fmla="*/ 0 w 21539"/>
                    <a:gd name="T19" fmla="*/ 0 h 21600"/>
                    <a:gd name="T20" fmla="*/ 0 w 21539"/>
                    <a:gd name="T21" fmla="*/ 0 h 21600"/>
                    <a:gd name="T22" fmla="*/ 0 w 21539"/>
                    <a:gd name="T23" fmla="*/ 0 h 21600"/>
                    <a:gd name="T24" fmla="*/ 0 w 21539"/>
                    <a:gd name="T25" fmla="*/ 0 h 21600"/>
                    <a:gd name="T26" fmla="*/ 0 w 21539"/>
                    <a:gd name="T27" fmla="*/ 0 h 21600"/>
                    <a:gd name="T28" fmla="*/ 0 w 21539"/>
                    <a:gd name="T29" fmla="*/ 0 h 21600"/>
                    <a:gd name="T30" fmla="*/ 0 w 21539"/>
                    <a:gd name="T31" fmla="*/ 0 h 21600"/>
                    <a:gd name="T32" fmla="*/ 0 w 21539"/>
                    <a:gd name="T33" fmla="*/ 0 h 21600"/>
                    <a:gd name="T34" fmla="*/ 0 w 21539"/>
                    <a:gd name="T35" fmla="*/ 0 h 21600"/>
                    <a:gd name="T36" fmla="*/ 0 w 21539"/>
                    <a:gd name="T37" fmla="*/ 0 h 21600"/>
                    <a:gd name="T38" fmla="*/ 0 w 21539"/>
                    <a:gd name="T39" fmla="*/ 0 h 21600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0" t="0" r="r" b="b"/>
                  <a:pathLst>
                    <a:path w="21539" h="21600">
                      <a:moveTo>
                        <a:pt x="11836" y="21600"/>
                      </a:moveTo>
                      <a:lnTo>
                        <a:pt x="0" y="20048"/>
                      </a:lnTo>
                      <a:cubicBezTo>
                        <a:pt x="893" y="19527"/>
                        <a:pt x="1727" y="18995"/>
                        <a:pt x="2493" y="18452"/>
                      </a:cubicBezTo>
                      <a:cubicBezTo>
                        <a:pt x="3259" y="17909"/>
                        <a:pt x="3951" y="17354"/>
                        <a:pt x="4579" y="16792"/>
                      </a:cubicBezTo>
                      <a:cubicBezTo>
                        <a:pt x="5210" y="16230"/>
                        <a:pt x="5761" y="15656"/>
                        <a:pt x="6241" y="15074"/>
                      </a:cubicBezTo>
                      <a:cubicBezTo>
                        <a:pt x="6723" y="14491"/>
                        <a:pt x="7124" y="13900"/>
                        <a:pt x="7455" y="13302"/>
                      </a:cubicBezTo>
                      <a:cubicBezTo>
                        <a:pt x="8027" y="12251"/>
                        <a:pt x="8346" y="11206"/>
                        <a:pt x="8419" y="10170"/>
                      </a:cubicBezTo>
                      <a:cubicBezTo>
                        <a:pt x="8495" y="9137"/>
                        <a:pt x="8330" y="8113"/>
                        <a:pt x="7933" y="7104"/>
                      </a:cubicBezTo>
                      <a:cubicBezTo>
                        <a:pt x="7533" y="6094"/>
                        <a:pt x="6909" y="5100"/>
                        <a:pt x="6066" y="4126"/>
                      </a:cubicBezTo>
                      <a:cubicBezTo>
                        <a:pt x="5222" y="3152"/>
                        <a:pt x="4161" y="2198"/>
                        <a:pt x="2904" y="1267"/>
                      </a:cubicBezTo>
                      <a:lnTo>
                        <a:pt x="15175" y="0"/>
                      </a:lnTo>
                      <a:cubicBezTo>
                        <a:pt x="16626" y="1071"/>
                        <a:pt x="17843" y="2167"/>
                        <a:pt x="18812" y="3289"/>
                      </a:cubicBezTo>
                      <a:cubicBezTo>
                        <a:pt x="19778" y="4409"/>
                        <a:pt x="20504" y="5553"/>
                        <a:pt x="20960" y="6713"/>
                      </a:cubicBezTo>
                      <a:cubicBezTo>
                        <a:pt x="21411" y="7875"/>
                        <a:pt x="21600" y="9052"/>
                        <a:pt x="21522" y="10241"/>
                      </a:cubicBezTo>
                      <a:cubicBezTo>
                        <a:pt x="21428" y="11430"/>
                        <a:pt x="21071" y="12632"/>
                        <a:pt x="20411" y="13840"/>
                      </a:cubicBezTo>
                      <a:cubicBezTo>
                        <a:pt x="20033" y="14530"/>
                        <a:pt x="19563" y="15209"/>
                        <a:pt x="19013" y="15880"/>
                      </a:cubicBezTo>
                      <a:cubicBezTo>
                        <a:pt x="18457" y="16548"/>
                        <a:pt x="17819" y="17208"/>
                        <a:pt x="17099" y="17856"/>
                      </a:cubicBezTo>
                      <a:cubicBezTo>
                        <a:pt x="16378" y="18502"/>
                        <a:pt x="15581" y="19138"/>
                        <a:pt x="14698" y="19763"/>
                      </a:cubicBezTo>
                      <a:cubicBezTo>
                        <a:pt x="13821" y="20387"/>
                        <a:pt x="12864" y="20999"/>
                        <a:pt x="11836" y="21600"/>
                      </a:cubicBezTo>
                      <a:close/>
                      <a:moveTo>
                        <a:pt x="11836" y="21600"/>
                      </a:moveTo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12700" cap="flat">
                      <a:solidFill>
                        <a:srgbClr val="000000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63" name="ïṧlîḍè">
                  <a:extLst>
                    <a:ext uri="{FF2B5EF4-FFF2-40B4-BE49-F238E27FC236}">
                      <a16:creationId xmlns:a16="http://schemas.microsoft.com/office/drawing/2014/main" id="{41A7081D-B43B-464A-B03E-50E0AD48E7D0}"/>
                    </a:ext>
                  </a:extLst>
                </p:cNvPr>
                <p:cNvSpPr/>
                <p:nvPr/>
              </p:nvSpPr>
              <p:spPr bwMode="auto">
                <a:xfrm>
                  <a:off x="568" y="1056"/>
                  <a:ext cx="156" cy="199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1600" h="21600">
                      <a:moveTo>
                        <a:pt x="0" y="6942"/>
                      </a:moveTo>
                      <a:lnTo>
                        <a:pt x="1197" y="0"/>
                      </a:lnTo>
                      <a:lnTo>
                        <a:pt x="19980" y="12745"/>
                      </a:lnTo>
                      <a:lnTo>
                        <a:pt x="21600" y="21600"/>
                      </a:lnTo>
                      <a:lnTo>
                        <a:pt x="0" y="6942"/>
                      </a:lnTo>
                      <a:close/>
                      <a:moveTo>
                        <a:pt x="0" y="6942"/>
                      </a:moveTo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64" name="îṧliďè">
                  <a:extLst>
                    <a:ext uri="{FF2B5EF4-FFF2-40B4-BE49-F238E27FC236}">
                      <a16:creationId xmlns:a16="http://schemas.microsoft.com/office/drawing/2014/main" id="{AFEE92DC-14F1-484F-B7D2-B650722E9BB7}"/>
                    </a:ext>
                  </a:extLst>
                </p:cNvPr>
                <p:cNvSpPr/>
                <p:nvPr/>
              </p:nvSpPr>
              <p:spPr bwMode="auto">
                <a:xfrm>
                  <a:off x="199" y="848"/>
                  <a:ext cx="63" cy="239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1600" h="21600">
                      <a:moveTo>
                        <a:pt x="2851" y="2996"/>
                      </a:moveTo>
                      <a:lnTo>
                        <a:pt x="21600" y="0"/>
                      </a:lnTo>
                      <a:lnTo>
                        <a:pt x="19124" y="16177"/>
                      </a:lnTo>
                      <a:lnTo>
                        <a:pt x="0" y="21600"/>
                      </a:lnTo>
                      <a:lnTo>
                        <a:pt x="2851" y="2996"/>
                      </a:lnTo>
                      <a:close/>
                      <a:moveTo>
                        <a:pt x="2851" y="2996"/>
                      </a:moveTo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65" name="ïşḷíḓe">
                  <a:extLst>
                    <a:ext uri="{FF2B5EF4-FFF2-40B4-BE49-F238E27FC236}">
                      <a16:creationId xmlns:a16="http://schemas.microsoft.com/office/drawing/2014/main" id="{CED7D3E6-E91C-44B3-AB31-B608FDF4F57C}"/>
                    </a:ext>
                  </a:extLst>
                </p:cNvPr>
                <p:cNvSpPr/>
                <p:nvPr/>
              </p:nvSpPr>
              <p:spPr bwMode="auto">
                <a:xfrm>
                  <a:off x="601" y="921"/>
                  <a:ext cx="112" cy="199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1600" h="21600">
                      <a:moveTo>
                        <a:pt x="0" y="21600"/>
                      </a:moveTo>
                      <a:lnTo>
                        <a:pt x="879" y="14719"/>
                      </a:lnTo>
                      <a:lnTo>
                        <a:pt x="19660" y="0"/>
                      </a:lnTo>
                      <a:lnTo>
                        <a:pt x="21600" y="4674"/>
                      </a:lnTo>
                      <a:lnTo>
                        <a:pt x="0" y="21600"/>
                      </a:lnTo>
                      <a:close/>
                      <a:moveTo>
                        <a:pt x="0" y="21600"/>
                      </a:moveTo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66" name="ïṡļiḑé">
                  <a:extLst>
                    <a:ext uri="{FF2B5EF4-FFF2-40B4-BE49-F238E27FC236}">
                      <a16:creationId xmlns:a16="http://schemas.microsoft.com/office/drawing/2014/main" id="{0BB17CC9-8993-4070-BFF2-1B345A8B3BE1}"/>
                    </a:ext>
                  </a:extLst>
                </p:cNvPr>
                <p:cNvSpPr/>
                <p:nvPr/>
              </p:nvSpPr>
              <p:spPr bwMode="auto">
                <a:xfrm>
                  <a:off x="224" y="896"/>
                  <a:ext cx="501" cy="365"/>
                </a:xfrm>
                <a:custGeom>
                  <a:avLst/>
                  <a:gdLst>
                    <a:gd name="T0" fmla="*/ 0 w 21600"/>
                    <a:gd name="T1" fmla="*/ 0 h 21596"/>
                    <a:gd name="T2" fmla="*/ 0 w 21600"/>
                    <a:gd name="T3" fmla="*/ 0 h 21596"/>
                    <a:gd name="T4" fmla="*/ 0 w 21600"/>
                    <a:gd name="T5" fmla="*/ 0 h 21596"/>
                    <a:gd name="T6" fmla="*/ 0 w 21600"/>
                    <a:gd name="T7" fmla="*/ 0 h 21596"/>
                    <a:gd name="T8" fmla="*/ 0 w 21600"/>
                    <a:gd name="T9" fmla="*/ 0 h 21596"/>
                    <a:gd name="T10" fmla="*/ 0 w 21600"/>
                    <a:gd name="T11" fmla="*/ 0 h 21596"/>
                    <a:gd name="T12" fmla="*/ 0 w 21600"/>
                    <a:gd name="T13" fmla="*/ 0 h 21596"/>
                    <a:gd name="T14" fmla="*/ 0 w 21600"/>
                    <a:gd name="T15" fmla="*/ 0 h 21596"/>
                    <a:gd name="T16" fmla="*/ 0 w 21600"/>
                    <a:gd name="T17" fmla="*/ 0 h 21596"/>
                    <a:gd name="T18" fmla="*/ 0 w 21600"/>
                    <a:gd name="T19" fmla="*/ 0 h 21596"/>
                    <a:gd name="T20" fmla="*/ 0 w 21600"/>
                    <a:gd name="T21" fmla="*/ 0 h 21596"/>
                    <a:gd name="T22" fmla="*/ 0 w 21600"/>
                    <a:gd name="T23" fmla="*/ 0 h 21596"/>
                    <a:gd name="T24" fmla="*/ 0 w 21600"/>
                    <a:gd name="T25" fmla="*/ 0 h 21596"/>
                    <a:gd name="T26" fmla="*/ 0 w 21600"/>
                    <a:gd name="T27" fmla="*/ 0 h 21596"/>
                    <a:gd name="T28" fmla="*/ 0 w 21600"/>
                    <a:gd name="T29" fmla="*/ 0 h 21596"/>
                    <a:gd name="T30" fmla="*/ 0 w 21600"/>
                    <a:gd name="T31" fmla="*/ 0 h 21596"/>
                    <a:gd name="T32" fmla="*/ 0 w 21600"/>
                    <a:gd name="T33" fmla="*/ 0 h 21596"/>
                    <a:gd name="T34" fmla="*/ 0 w 21600"/>
                    <a:gd name="T35" fmla="*/ 0 h 21596"/>
                    <a:gd name="T36" fmla="*/ 0 w 21600"/>
                    <a:gd name="T37" fmla="*/ 0 h 21596"/>
                    <a:gd name="T38" fmla="*/ 0 w 21600"/>
                    <a:gd name="T39" fmla="*/ 0 h 21596"/>
                    <a:gd name="T40" fmla="*/ 0 w 21600"/>
                    <a:gd name="T41" fmla="*/ 0 h 21596"/>
                    <a:gd name="T42" fmla="*/ 0 w 21600"/>
                    <a:gd name="T43" fmla="*/ 0 h 21596"/>
                    <a:gd name="T44" fmla="*/ 0 w 21600"/>
                    <a:gd name="T45" fmla="*/ 0 h 21596"/>
                    <a:gd name="T46" fmla="*/ 0 w 21600"/>
                    <a:gd name="T47" fmla="*/ 0 h 21596"/>
                    <a:gd name="T48" fmla="*/ 0 w 21600"/>
                    <a:gd name="T49" fmla="*/ 0 h 21596"/>
                    <a:gd name="T50" fmla="*/ 0 w 21600"/>
                    <a:gd name="T51" fmla="*/ 0 h 21596"/>
                    <a:gd name="T52" fmla="*/ 0 w 21600"/>
                    <a:gd name="T53" fmla="*/ 0 h 21596"/>
                    <a:gd name="T54" fmla="*/ 0 w 21600"/>
                    <a:gd name="T55" fmla="*/ 0 h 21596"/>
                    <a:gd name="T56" fmla="*/ 0 w 21600"/>
                    <a:gd name="T57" fmla="*/ 0 h 21596"/>
                    <a:gd name="T58" fmla="*/ 0 w 21600"/>
                    <a:gd name="T59" fmla="*/ 0 h 21596"/>
                    <a:gd name="T60" fmla="*/ 0 w 21600"/>
                    <a:gd name="T61" fmla="*/ 0 h 21596"/>
                    <a:gd name="T62" fmla="*/ 0 w 21600"/>
                    <a:gd name="T63" fmla="*/ 0 h 21596"/>
                    <a:gd name="T64" fmla="*/ 0 w 21600"/>
                    <a:gd name="T65" fmla="*/ 0 h 21596"/>
                    <a:gd name="T66" fmla="*/ 0 w 21600"/>
                    <a:gd name="T67" fmla="*/ 0 h 2159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21600" h="21596">
                      <a:moveTo>
                        <a:pt x="19659" y="4136"/>
                      </a:moveTo>
                      <a:lnTo>
                        <a:pt x="14878" y="13232"/>
                      </a:lnTo>
                      <a:lnTo>
                        <a:pt x="21600" y="21220"/>
                      </a:lnTo>
                      <a:cubicBezTo>
                        <a:pt x="20945" y="21350"/>
                        <a:pt x="20287" y="21445"/>
                        <a:pt x="19627" y="21508"/>
                      </a:cubicBezTo>
                      <a:cubicBezTo>
                        <a:pt x="18968" y="21570"/>
                        <a:pt x="18307" y="21600"/>
                        <a:pt x="17644" y="21596"/>
                      </a:cubicBezTo>
                      <a:cubicBezTo>
                        <a:pt x="16981" y="21592"/>
                        <a:pt x="16318" y="21555"/>
                        <a:pt x="15654" y="21485"/>
                      </a:cubicBezTo>
                      <a:cubicBezTo>
                        <a:pt x="14989" y="21415"/>
                        <a:pt x="14325" y="21311"/>
                        <a:pt x="13661" y="21173"/>
                      </a:cubicBezTo>
                      <a:cubicBezTo>
                        <a:pt x="13289" y="21096"/>
                        <a:pt x="12920" y="21009"/>
                        <a:pt x="12553" y="20912"/>
                      </a:cubicBezTo>
                      <a:cubicBezTo>
                        <a:pt x="12186" y="20816"/>
                        <a:pt x="11822" y="20708"/>
                        <a:pt x="11460" y="20593"/>
                      </a:cubicBezTo>
                      <a:cubicBezTo>
                        <a:pt x="11097" y="20476"/>
                        <a:pt x="10738" y="20349"/>
                        <a:pt x="10381" y="20214"/>
                      </a:cubicBezTo>
                      <a:cubicBezTo>
                        <a:pt x="10024" y="20077"/>
                        <a:pt x="9669" y="19931"/>
                        <a:pt x="9317" y="19775"/>
                      </a:cubicBezTo>
                      <a:cubicBezTo>
                        <a:pt x="8807" y="19550"/>
                        <a:pt x="8304" y="19304"/>
                        <a:pt x="7805" y="19037"/>
                      </a:cubicBezTo>
                      <a:cubicBezTo>
                        <a:pt x="7307" y="18771"/>
                        <a:pt x="6814" y="18484"/>
                        <a:pt x="6327" y="18178"/>
                      </a:cubicBezTo>
                      <a:cubicBezTo>
                        <a:pt x="5841" y="17871"/>
                        <a:pt x="5361" y="17543"/>
                        <a:pt x="4888" y="17196"/>
                      </a:cubicBezTo>
                      <a:cubicBezTo>
                        <a:pt x="4414" y="16849"/>
                        <a:pt x="3947" y="16482"/>
                        <a:pt x="3486" y="16094"/>
                      </a:cubicBezTo>
                      <a:cubicBezTo>
                        <a:pt x="3177" y="15835"/>
                        <a:pt x="2874" y="15569"/>
                        <a:pt x="2574" y="15293"/>
                      </a:cubicBezTo>
                      <a:cubicBezTo>
                        <a:pt x="2274" y="15019"/>
                        <a:pt x="1980" y="14736"/>
                        <a:pt x="1689" y="14445"/>
                      </a:cubicBezTo>
                      <a:cubicBezTo>
                        <a:pt x="1397" y="14155"/>
                        <a:pt x="1112" y="13859"/>
                        <a:pt x="830" y="13552"/>
                      </a:cubicBezTo>
                      <a:cubicBezTo>
                        <a:pt x="549" y="13249"/>
                        <a:pt x="272" y="12936"/>
                        <a:pt x="0" y="12616"/>
                      </a:cubicBezTo>
                      <a:lnTo>
                        <a:pt x="360" y="556"/>
                      </a:lnTo>
                      <a:lnTo>
                        <a:pt x="8659" y="0"/>
                      </a:lnTo>
                      <a:cubicBezTo>
                        <a:pt x="8994" y="362"/>
                        <a:pt x="9341" y="706"/>
                        <a:pt x="9699" y="1028"/>
                      </a:cubicBezTo>
                      <a:cubicBezTo>
                        <a:pt x="10058" y="1352"/>
                        <a:pt x="10428" y="1653"/>
                        <a:pt x="10808" y="1934"/>
                      </a:cubicBezTo>
                      <a:cubicBezTo>
                        <a:pt x="11189" y="2214"/>
                        <a:pt x="11580" y="2471"/>
                        <a:pt x="11982" y="2707"/>
                      </a:cubicBezTo>
                      <a:cubicBezTo>
                        <a:pt x="12383" y="2941"/>
                        <a:pt x="12794" y="3152"/>
                        <a:pt x="13215" y="3338"/>
                      </a:cubicBezTo>
                      <a:cubicBezTo>
                        <a:pt x="13402" y="3421"/>
                        <a:pt x="13591" y="3499"/>
                        <a:pt x="13781" y="3572"/>
                      </a:cubicBezTo>
                      <a:cubicBezTo>
                        <a:pt x="13971" y="3644"/>
                        <a:pt x="14164" y="3712"/>
                        <a:pt x="14357" y="3774"/>
                      </a:cubicBezTo>
                      <a:cubicBezTo>
                        <a:pt x="14551" y="3837"/>
                        <a:pt x="14746" y="3895"/>
                        <a:pt x="14944" y="3947"/>
                      </a:cubicBezTo>
                      <a:cubicBezTo>
                        <a:pt x="15141" y="3999"/>
                        <a:pt x="15340" y="4045"/>
                        <a:pt x="15540" y="4087"/>
                      </a:cubicBezTo>
                      <a:cubicBezTo>
                        <a:pt x="15890" y="4159"/>
                        <a:pt x="16239" y="4215"/>
                        <a:pt x="16586" y="4252"/>
                      </a:cubicBezTo>
                      <a:cubicBezTo>
                        <a:pt x="16933" y="4289"/>
                        <a:pt x="17279" y="4309"/>
                        <a:pt x="17622" y="4312"/>
                      </a:cubicBezTo>
                      <a:cubicBezTo>
                        <a:pt x="17966" y="4316"/>
                        <a:pt x="18308" y="4303"/>
                        <a:pt x="18648" y="4274"/>
                      </a:cubicBezTo>
                      <a:cubicBezTo>
                        <a:pt x="18988" y="4243"/>
                        <a:pt x="19324" y="4197"/>
                        <a:pt x="19659" y="4136"/>
                      </a:cubicBezTo>
                      <a:close/>
                      <a:moveTo>
                        <a:pt x="19659" y="4136"/>
                      </a:moveTo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67" name="ísľïḑe">
                  <a:extLst>
                    <a:ext uri="{FF2B5EF4-FFF2-40B4-BE49-F238E27FC236}">
                      <a16:creationId xmlns:a16="http://schemas.microsoft.com/office/drawing/2014/main" id="{78ADF240-212C-4271-A641-691DE38BEB31}"/>
                    </a:ext>
                  </a:extLst>
                </p:cNvPr>
                <p:cNvSpPr/>
                <p:nvPr/>
              </p:nvSpPr>
              <p:spPr bwMode="auto">
                <a:xfrm>
                  <a:off x="232" y="864"/>
                  <a:ext cx="220" cy="44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1600" h="21600">
                      <a:moveTo>
                        <a:pt x="0" y="21600"/>
                      </a:moveTo>
                      <a:lnTo>
                        <a:pt x="5163" y="3997"/>
                      </a:lnTo>
                      <a:lnTo>
                        <a:pt x="21600" y="0"/>
                      </a:lnTo>
                      <a:lnTo>
                        <a:pt x="18904" y="17010"/>
                      </a:lnTo>
                      <a:lnTo>
                        <a:pt x="0" y="21600"/>
                      </a:lnTo>
                      <a:close/>
                      <a:moveTo>
                        <a:pt x="0" y="21600"/>
                      </a:moveTo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68" name="îś1íḍe">
                  <a:extLst>
                    <a:ext uri="{FF2B5EF4-FFF2-40B4-BE49-F238E27FC236}">
                      <a16:creationId xmlns:a16="http://schemas.microsoft.com/office/drawing/2014/main" id="{E23365EB-5AEE-4A1F-BCAE-02D594EB61A2}"/>
                    </a:ext>
                  </a:extLst>
                </p:cNvPr>
                <p:cNvSpPr/>
                <p:nvPr/>
              </p:nvSpPr>
              <p:spPr bwMode="auto">
                <a:xfrm>
                  <a:off x="424" y="864"/>
                  <a:ext cx="255" cy="107"/>
                </a:xfrm>
                <a:custGeom>
                  <a:avLst/>
                  <a:gdLst>
                    <a:gd name="T0" fmla="*/ 0 w 21600"/>
                    <a:gd name="T1" fmla="*/ 0 h 21589"/>
                    <a:gd name="T2" fmla="*/ 0 w 21600"/>
                    <a:gd name="T3" fmla="*/ 0 h 21589"/>
                    <a:gd name="T4" fmla="*/ 0 w 21600"/>
                    <a:gd name="T5" fmla="*/ 0 h 21589"/>
                    <a:gd name="T6" fmla="*/ 0 w 21600"/>
                    <a:gd name="T7" fmla="*/ 0 h 21589"/>
                    <a:gd name="T8" fmla="*/ 0 w 21600"/>
                    <a:gd name="T9" fmla="*/ 0 h 21589"/>
                    <a:gd name="T10" fmla="*/ 0 w 21600"/>
                    <a:gd name="T11" fmla="*/ 0 h 21589"/>
                    <a:gd name="T12" fmla="*/ 0 w 21600"/>
                    <a:gd name="T13" fmla="*/ 0 h 21589"/>
                    <a:gd name="T14" fmla="*/ 0 w 21600"/>
                    <a:gd name="T15" fmla="*/ 0 h 21589"/>
                    <a:gd name="T16" fmla="*/ 0 w 21600"/>
                    <a:gd name="T17" fmla="*/ 0 h 21589"/>
                    <a:gd name="T18" fmla="*/ 0 w 21600"/>
                    <a:gd name="T19" fmla="*/ 0 h 21589"/>
                    <a:gd name="T20" fmla="*/ 0 w 21600"/>
                    <a:gd name="T21" fmla="*/ 0 h 21589"/>
                    <a:gd name="T22" fmla="*/ 0 w 21600"/>
                    <a:gd name="T23" fmla="*/ 0 h 21589"/>
                    <a:gd name="T24" fmla="*/ 0 w 21600"/>
                    <a:gd name="T25" fmla="*/ 0 h 21589"/>
                    <a:gd name="T26" fmla="*/ 0 w 21600"/>
                    <a:gd name="T27" fmla="*/ 0 h 21589"/>
                    <a:gd name="T28" fmla="*/ 0 w 21600"/>
                    <a:gd name="T29" fmla="*/ 0 h 21589"/>
                    <a:gd name="T30" fmla="*/ 0 w 21600"/>
                    <a:gd name="T31" fmla="*/ 0 h 21589"/>
                    <a:gd name="T32" fmla="*/ 0 w 21600"/>
                    <a:gd name="T33" fmla="*/ 0 h 21589"/>
                    <a:gd name="T34" fmla="*/ 0 w 21600"/>
                    <a:gd name="T35" fmla="*/ 0 h 21589"/>
                    <a:gd name="T36" fmla="*/ 0 w 21600"/>
                    <a:gd name="T37" fmla="*/ 0 h 21589"/>
                    <a:gd name="T38" fmla="*/ 0 w 21600"/>
                    <a:gd name="T39" fmla="*/ 0 h 21589"/>
                    <a:gd name="T40" fmla="*/ 0 w 21600"/>
                    <a:gd name="T41" fmla="*/ 0 h 21589"/>
                    <a:gd name="T42" fmla="*/ 0 w 21600"/>
                    <a:gd name="T43" fmla="*/ 0 h 21589"/>
                    <a:gd name="T44" fmla="*/ 0 w 21600"/>
                    <a:gd name="T45" fmla="*/ 0 h 21589"/>
                    <a:gd name="T46" fmla="*/ 0 w 21600"/>
                    <a:gd name="T47" fmla="*/ 0 h 21589"/>
                    <a:gd name="T48" fmla="*/ 0 w 21600"/>
                    <a:gd name="T49" fmla="*/ 0 h 21589"/>
                    <a:gd name="T50" fmla="*/ 0 w 21600"/>
                    <a:gd name="T51" fmla="*/ 0 h 21589"/>
                    <a:gd name="T52" fmla="*/ 0 w 21600"/>
                    <a:gd name="T53" fmla="*/ 0 h 21589"/>
                    <a:gd name="T54" fmla="*/ 0 w 21600"/>
                    <a:gd name="T55" fmla="*/ 0 h 21589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0" t="0" r="r" b="b"/>
                  <a:pathLst>
                    <a:path w="21600" h="21589">
                      <a:moveTo>
                        <a:pt x="0" y="6976"/>
                      </a:moveTo>
                      <a:lnTo>
                        <a:pt x="2325" y="0"/>
                      </a:lnTo>
                      <a:cubicBezTo>
                        <a:pt x="2896" y="1068"/>
                        <a:pt x="3488" y="2082"/>
                        <a:pt x="4100" y="3031"/>
                      </a:cubicBezTo>
                      <a:cubicBezTo>
                        <a:pt x="4711" y="3981"/>
                        <a:pt x="5343" y="4874"/>
                        <a:pt x="5993" y="5699"/>
                      </a:cubicBezTo>
                      <a:cubicBezTo>
                        <a:pt x="6643" y="6523"/>
                        <a:pt x="7312" y="7282"/>
                        <a:pt x="7997" y="7976"/>
                      </a:cubicBezTo>
                      <a:cubicBezTo>
                        <a:pt x="8682" y="8666"/>
                        <a:pt x="9385" y="9288"/>
                        <a:pt x="10103" y="9838"/>
                      </a:cubicBezTo>
                      <a:cubicBezTo>
                        <a:pt x="10422" y="10081"/>
                        <a:pt x="10745" y="10312"/>
                        <a:pt x="11071" y="10523"/>
                      </a:cubicBezTo>
                      <a:cubicBezTo>
                        <a:pt x="11396" y="10741"/>
                        <a:pt x="11723" y="10939"/>
                        <a:pt x="12056" y="11122"/>
                      </a:cubicBezTo>
                      <a:cubicBezTo>
                        <a:pt x="12385" y="11308"/>
                        <a:pt x="12719" y="11477"/>
                        <a:pt x="13056" y="11629"/>
                      </a:cubicBezTo>
                      <a:cubicBezTo>
                        <a:pt x="13393" y="11783"/>
                        <a:pt x="13733" y="11921"/>
                        <a:pt x="14076" y="12044"/>
                      </a:cubicBezTo>
                      <a:cubicBezTo>
                        <a:pt x="14670" y="12257"/>
                        <a:pt x="15267" y="12419"/>
                        <a:pt x="15859" y="12529"/>
                      </a:cubicBezTo>
                      <a:cubicBezTo>
                        <a:pt x="16453" y="12638"/>
                        <a:pt x="17043" y="12696"/>
                        <a:pt x="17631" y="12707"/>
                      </a:cubicBezTo>
                      <a:cubicBezTo>
                        <a:pt x="18218" y="12718"/>
                        <a:pt x="18801" y="12680"/>
                        <a:pt x="19381" y="12590"/>
                      </a:cubicBezTo>
                      <a:cubicBezTo>
                        <a:pt x="19960" y="12505"/>
                        <a:pt x="20536" y="12369"/>
                        <a:pt x="21107" y="12191"/>
                      </a:cubicBezTo>
                      <a:lnTo>
                        <a:pt x="21600" y="20995"/>
                      </a:lnTo>
                      <a:cubicBezTo>
                        <a:pt x="20942" y="21201"/>
                        <a:pt x="20282" y="21358"/>
                        <a:pt x="19615" y="21456"/>
                      </a:cubicBezTo>
                      <a:cubicBezTo>
                        <a:pt x="18949" y="21555"/>
                        <a:pt x="18277" y="21600"/>
                        <a:pt x="17601" y="21587"/>
                      </a:cubicBezTo>
                      <a:cubicBezTo>
                        <a:pt x="16927" y="21578"/>
                        <a:pt x="16247" y="21507"/>
                        <a:pt x="15567" y="21382"/>
                      </a:cubicBezTo>
                      <a:cubicBezTo>
                        <a:pt x="14884" y="21257"/>
                        <a:pt x="14199" y="21070"/>
                        <a:pt x="13513" y="20825"/>
                      </a:cubicBezTo>
                      <a:cubicBezTo>
                        <a:pt x="13119" y="20681"/>
                        <a:pt x="12729" y="20527"/>
                        <a:pt x="12342" y="20349"/>
                      </a:cubicBezTo>
                      <a:cubicBezTo>
                        <a:pt x="11954" y="20172"/>
                        <a:pt x="11570" y="19976"/>
                        <a:pt x="11190" y="19763"/>
                      </a:cubicBezTo>
                      <a:cubicBezTo>
                        <a:pt x="10810" y="19554"/>
                        <a:pt x="10432" y="19325"/>
                        <a:pt x="10058" y="19078"/>
                      </a:cubicBezTo>
                      <a:cubicBezTo>
                        <a:pt x="9684" y="18830"/>
                        <a:pt x="9314" y="18567"/>
                        <a:pt x="8946" y="18286"/>
                      </a:cubicBezTo>
                      <a:cubicBezTo>
                        <a:pt x="8121" y="17655"/>
                        <a:pt x="7313" y="16939"/>
                        <a:pt x="6525" y="16146"/>
                      </a:cubicBezTo>
                      <a:cubicBezTo>
                        <a:pt x="5736" y="15347"/>
                        <a:pt x="4968" y="14476"/>
                        <a:pt x="4221" y="13527"/>
                      </a:cubicBezTo>
                      <a:cubicBezTo>
                        <a:pt x="3474" y="12577"/>
                        <a:pt x="2747" y="11556"/>
                        <a:pt x="2043" y="10459"/>
                      </a:cubicBezTo>
                      <a:cubicBezTo>
                        <a:pt x="1338" y="9369"/>
                        <a:pt x="656" y="8201"/>
                        <a:pt x="0" y="6976"/>
                      </a:cubicBezTo>
                      <a:close/>
                      <a:moveTo>
                        <a:pt x="0" y="6976"/>
                      </a:move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12700" cap="flat">
                      <a:solidFill>
                        <a:srgbClr val="000000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69" name="išľîde">
                  <a:extLst>
                    <a:ext uri="{FF2B5EF4-FFF2-40B4-BE49-F238E27FC236}">
                      <a16:creationId xmlns:a16="http://schemas.microsoft.com/office/drawing/2014/main" id="{29A1FD86-7795-409F-8BB3-9B62945246AF}"/>
                    </a:ext>
                  </a:extLst>
                </p:cNvPr>
                <p:cNvSpPr/>
                <p:nvPr/>
              </p:nvSpPr>
              <p:spPr bwMode="auto">
                <a:xfrm>
                  <a:off x="0" y="488"/>
                  <a:ext cx="397" cy="603"/>
                </a:xfrm>
                <a:custGeom>
                  <a:avLst/>
                  <a:gdLst>
                    <a:gd name="T0" fmla="*/ 0 w 21593"/>
                    <a:gd name="T1" fmla="*/ 0 h 21600"/>
                    <a:gd name="T2" fmla="*/ 0 w 21593"/>
                    <a:gd name="T3" fmla="*/ 0 h 21600"/>
                    <a:gd name="T4" fmla="*/ 0 w 21593"/>
                    <a:gd name="T5" fmla="*/ 0 h 21600"/>
                    <a:gd name="T6" fmla="*/ 0 w 21593"/>
                    <a:gd name="T7" fmla="*/ 0 h 21600"/>
                    <a:gd name="T8" fmla="*/ 0 w 21593"/>
                    <a:gd name="T9" fmla="*/ 0 h 21600"/>
                    <a:gd name="T10" fmla="*/ 0 w 21593"/>
                    <a:gd name="T11" fmla="*/ 0 h 21600"/>
                    <a:gd name="T12" fmla="*/ 0 w 21593"/>
                    <a:gd name="T13" fmla="*/ 0 h 21600"/>
                    <a:gd name="T14" fmla="*/ 0 w 21593"/>
                    <a:gd name="T15" fmla="*/ 0 h 21600"/>
                    <a:gd name="T16" fmla="*/ 0 w 21593"/>
                    <a:gd name="T17" fmla="*/ 0 h 21600"/>
                    <a:gd name="T18" fmla="*/ 0 w 21593"/>
                    <a:gd name="T19" fmla="*/ 0 h 21600"/>
                    <a:gd name="T20" fmla="*/ 0 w 21593"/>
                    <a:gd name="T21" fmla="*/ 0 h 21600"/>
                    <a:gd name="T22" fmla="*/ 0 w 21593"/>
                    <a:gd name="T23" fmla="*/ 0 h 21600"/>
                    <a:gd name="T24" fmla="*/ 0 w 21593"/>
                    <a:gd name="T25" fmla="*/ 0 h 21600"/>
                    <a:gd name="T26" fmla="*/ 0 w 21593"/>
                    <a:gd name="T27" fmla="*/ 0 h 21600"/>
                    <a:gd name="T28" fmla="*/ 0 w 21593"/>
                    <a:gd name="T29" fmla="*/ 0 h 21600"/>
                    <a:gd name="T30" fmla="*/ 0 w 21593"/>
                    <a:gd name="T31" fmla="*/ 0 h 21600"/>
                    <a:gd name="T32" fmla="*/ 0 w 21593"/>
                    <a:gd name="T33" fmla="*/ 0 h 21600"/>
                    <a:gd name="T34" fmla="*/ 0 w 21593"/>
                    <a:gd name="T35" fmla="*/ 0 h 21600"/>
                    <a:gd name="T36" fmla="*/ 0 w 21593"/>
                    <a:gd name="T37" fmla="*/ 0 h 21600"/>
                    <a:gd name="T38" fmla="*/ 0 w 21593"/>
                    <a:gd name="T39" fmla="*/ 0 h 21600"/>
                    <a:gd name="T40" fmla="*/ 0 w 21593"/>
                    <a:gd name="T41" fmla="*/ 0 h 21600"/>
                    <a:gd name="T42" fmla="*/ 0 w 21593"/>
                    <a:gd name="T43" fmla="*/ 0 h 2160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0" t="0" r="r" b="b"/>
                  <a:pathLst>
                    <a:path w="21593" h="21600">
                      <a:moveTo>
                        <a:pt x="8980" y="0"/>
                      </a:moveTo>
                      <a:lnTo>
                        <a:pt x="15902" y="5176"/>
                      </a:lnTo>
                      <a:cubicBezTo>
                        <a:pt x="15910" y="6016"/>
                        <a:pt x="16048" y="6840"/>
                        <a:pt x="16308" y="7640"/>
                      </a:cubicBezTo>
                      <a:cubicBezTo>
                        <a:pt x="16568" y="8439"/>
                        <a:pt x="16948" y="9214"/>
                        <a:pt x="17437" y="9953"/>
                      </a:cubicBezTo>
                      <a:cubicBezTo>
                        <a:pt x="17927" y="10693"/>
                        <a:pt x="18526" y="11398"/>
                        <a:pt x="19222" y="12057"/>
                      </a:cubicBezTo>
                      <a:cubicBezTo>
                        <a:pt x="19918" y="12716"/>
                        <a:pt x="20713" y="13330"/>
                        <a:pt x="21593" y="13889"/>
                      </a:cubicBezTo>
                      <a:lnTo>
                        <a:pt x="11281" y="14221"/>
                      </a:lnTo>
                      <a:lnTo>
                        <a:pt x="10822" y="21600"/>
                      </a:lnTo>
                      <a:cubicBezTo>
                        <a:pt x="10449" y="21368"/>
                        <a:pt x="10083" y="21130"/>
                        <a:pt x="9725" y="20888"/>
                      </a:cubicBezTo>
                      <a:cubicBezTo>
                        <a:pt x="9368" y="20645"/>
                        <a:pt x="9018" y="20397"/>
                        <a:pt x="8675" y="20143"/>
                      </a:cubicBezTo>
                      <a:cubicBezTo>
                        <a:pt x="8334" y="19889"/>
                        <a:pt x="8001" y="19629"/>
                        <a:pt x="7675" y="19364"/>
                      </a:cubicBezTo>
                      <a:cubicBezTo>
                        <a:pt x="7349" y="19099"/>
                        <a:pt x="7032" y="18829"/>
                        <a:pt x="6723" y="18554"/>
                      </a:cubicBezTo>
                      <a:cubicBezTo>
                        <a:pt x="6061" y="17963"/>
                        <a:pt x="5445" y="17354"/>
                        <a:pt x="4877" y="16730"/>
                      </a:cubicBezTo>
                      <a:cubicBezTo>
                        <a:pt x="4309" y="16106"/>
                        <a:pt x="3789" y="15466"/>
                        <a:pt x="3316" y="14810"/>
                      </a:cubicBezTo>
                      <a:cubicBezTo>
                        <a:pt x="2844" y="14156"/>
                        <a:pt x="2420" y="13486"/>
                        <a:pt x="2044" y="12803"/>
                      </a:cubicBezTo>
                      <a:cubicBezTo>
                        <a:pt x="1670" y="12119"/>
                        <a:pt x="1345" y="11422"/>
                        <a:pt x="1068" y="10712"/>
                      </a:cubicBezTo>
                      <a:cubicBezTo>
                        <a:pt x="865" y="10188"/>
                        <a:pt x="690" y="9661"/>
                        <a:pt x="545" y="9131"/>
                      </a:cubicBezTo>
                      <a:cubicBezTo>
                        <a:pt x="399" y="8602"/>
                        <a:pt x="283" y="8070"/>
                        <a:pt x="196" y="7537"/>
                      </a:cubicBezTo>
                      <a:cubicBezTo>
                        <a:pt x="109" y="7005"/>
                        <a:pt x="51" y="6469"/>
                        <a:pt x="22" y="5933"/>
                      </a:cubicBezTo>
                      <a:cubicBezTo>
                        <a:pt x="-7" y="5397"/>
                        <a:pt x="-7" y="4860"/>
                        <a:pt x="23" y="4321"/>
                      </a:cubicBezTo>
                      <a:lnTo>
                        <a:pt x="8980" y="0"/>
                      </a:lnTo>
                      <a:close/>
                      <a:moveTo>
                        <a:pt x="8980" y="0"/>
                      </a:moveTo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70" name="ïṡḷïḍe">
                  <a:extLst>
                    <a:ext uri="{FF2B5EF4-FFF2-40B4-BE49-F238E27FC236}">
                      <a16:creationId xmlns:a16="http://schemas.microsoft.com/office/drawing/2014/main" id="{2F75DC89-3223-4FB7-ABC9-5C8071DCBDCC}"/>
                    </a:ext>
                  </a:extLst>
                </p:cNvPr>
                <p:cNvSpPr/>
                <p:nvPr/>
              </p:nvSpPr>
              <p:spPr bwMode="auto">
                <a:xfrm>
                  <a:off x="288" y="632"/>
                  <a:ext cx="135" cy="243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w 21600"/>
                    <a:gd name="T13" fmla="*/ 0 h 21600"/>
                    <a:gd name="T14" fmla="*/ 0 w 21600"/>
                    <a:gd name="T15" fmla="*/ 0 h 21600"/>
                    <a:gd name="T16" fmla="*/ 0 w 21600"/>
                    <a:gd name="T17" fmla="*/ 0 h 21600"/>
                    <a:gd name="T18" fmla="*/ 0 w 21600"/>
                    <a:gd name="T19" fmla="*/ 0 h 21600"/>
                    <a:gd name="T20" fmla="*/ 0 w 21600"/>
                    <a:gd name="T21" fmla="*/ 0 h 21600"/>
                    <a:gd name="T22" fmla="*/ 0 w 21600"/>
                    <a:gd name="T23" fmla="*/ 0 h 2160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21600" h="21600">
                      <a:moveTo>
                        <a:pt x="0" y="21"/>
                      </a:moveTo>
                      <a:lnTo>
                        <a:pt x="7079" y="0"/>
                      </a:lnTo>
                      <a:cubicBezTo>
                        <a:pt x="7097" y="1806"/>
                        <a:pt x="7453" y="3583"/>
                        <a:pt x="8115" y="5304"/>
                      </a:cubicBezTo>
                      <a:cubicBezTo>
                        <a:pt x="8776" y="7027"/>
                        <a:pt x="9749" y="8695"/>
                        <a:pt x="10996" y="10287"/>
                      </a:cubicBezTo>
                      <a:cubicBezTo>
                        <a:pt x="12244" y="11880"/>
                        <a:pt x="13771" y="13399"/>
                        <a:pt x="15551" y="14818"/>
                      </a:cubicBezTo>
                      <a:cubicBezTo>
                        <a:pt x="17327" y="16238"/>
                        <a:pt x="19352" y="17560"/>
                        <a:pt x="21600" y="18764"/>
                      </a:cubicBezTo>
                      <a:lnTo>
                        <a:pt x="16697" y="21600"/>
                      </a:lnTo>
                      <a:cubicBezTo>
                        <a:pt x="14114" y="20218"/>
                        <a:pt x="11782" y="18695"/>
                        <a:pt x="9740" y="17062"/>
                      </a:cubicBezTo>
                      <a:cubicBezTo>
                        <a:pt x="7697" y="15430"/>
                        <a:pt x="5940" y="13684"/>
                        <a:pt x="4504" y="11852"/>
                      </a:cubicBezTo>
                      <a:cubicBezTo>
                        <a:pt x="3068" y="10021"/>
                        <a:pt x="1952" y="8102"/>
                        <a:pt x="1191" y="6122"/>
                      </a:cubicBezTo>
                      <a:cubicBezTo>
                        <a:pt x="429" y="4141"/>
                        <a:pt x="22" y="2100"/>
                        <a:pt x="0" y="21"/>
                      </a:cubicBezTo>
                      <a:close/>
                      <a:moveTo>
                        <a:pt x="0" y="21"/>
                      </a:move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71" name="ïşḷîḑè">
                  <a:extLst>
                    <a:ext uri="{FF2B5EF4-FFF2-40B4-BE49-F238E27FC236}">
                      <a16:creationId xmlns:a16="http://schemas.microsoft.com/office/drawing/2014/main" id="{133E13A4-8E58-401E-AB99-0C37EA8FC426}"/>
                    </a:ext>
                  </a:extLst>
                </p:cNvPr>
                <p:cNvSpPr/>
                <p:nvPr/>
              </p:nvSpPr>
              <p:spPr bwMode="auto">
                <a:xfrm>
                  <a:off x="600" y="808"/>
                  <a:ext cx="580" cy="446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w 21600"/>
                    <a:gd name="T13" fmla="*/ 0 h 21600"/>
                    <a:gd name="T14" fmla="*/ 0 w 21600"/>
                    <a:gd name="T15" fmla="*/ 0 h 21600"/>
                    <a:gd name="T16" fmla="*/ 0 w 21600"/>
                    <a:gd name="T17" fmla="*/ 0 h 21600"/>
                    <a:gd name="T18" fmla="*/ 0 w 21600"/>
                    <a:gd name="T19" fmla="*/ 0 h 21600"/>
                    <a:gd name="T20" fmla="*/ 0 w 21600"/>
                    <a:gd name="T21" fmla="*/ 0 h 21600"/>
                    <a:gd name="T22" fmla="*/ 0 w 21600"/>
                    <a:gd name="T23" fmla="*/ 0 h 21600"/>
                    <a:gd name="T24" fmla="*/ 0 w 21600"/>
                    <a:gd name="T25" fmla="*/ 0 h 21600"/>
                    <a:gd name="T26" fmla="*/ 0 w 21600"/>
                    <a:gd name="T27" fmla="*/ 0 h 21600"/>
                    <a:gd name="T28" fmla="*/ 0 w 21600"/>
                    <a:gd name="T29" fmla="*/ 0 h 21600"/>
                    <a:gd name="T30" fmla="*/ 0 w 21600"/>
                    <a:gd name="T31" fmla="*/ 0 h 21600"/>
                    <a:gd name="T32" fmla="*/ 0 w 21600"/>
                    <a:gd name="T33" fmla="*/ 0 h 21600"/>
                    <a:gd name="T34" fmla="*/ 0 w 21600"/>
                    <a:gd name="T35" fmla="*/ 0 h 21600"/>
                    <a:gd name="T36" fmla="*/ 0 w 21600"/>
                    <a:gd name="T37" fmla="*/ 0 h 21600"/>
                    <a:gd name="T38" fmla="*/ 0 w 21600"/>
                    <a:gd name="T39" fmla="*/ 0 h 21600"/>
                    <a:gd name="T40" fmla="*/ 0 w 21600"/>
                    <a:gd name="T41" fmla="*/ 0 h 21600"/>
                    <a:gd name="T42" fmla="*/ 0 w 21600"/>
                    <a:gd name="T43" fmla="*/ 0 h 21600"/>
                    <a:gd name="T44" fmla="*/ 0 w 21600"/>
                    <a:gd name="T45" fmla="*/ 0 h 21600"/>
                    <a:gd name="T46" fmla="*/ 0 w 21600"/>
                    <a:gd name="T47" fmla="*/ 0 h 21600"/>
                    <a:gd name="T48" fmla="*/ 0 w 21600"/>
                    <a:gd name="T49" fmla="*/ 0 h 21600"/>
                    <a:gd name="T50" fmla="*/ 0 w 21600"/>
                    <a:gd name="T51" fmla="*/ 0 h 2160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21600" h="21600">
                      <a:moveTo>
                        <a:pt x="12148" y="0"/>
                      </a:moveTo>
                      <a:lnTo>
                        <a:pt x="14053" y="8846"/>
                      </a:lnTo>
                      <a:lnTo>
                        <a:pt x="21600" y="7024"/>
                      </a:lnTo>
                      <a:cubicBezTo>
                        <a:pt x="21581" y="7065"/>
                        <a:pt x="21563" y="7107"/>
                        <a:pt x="21544" y="7147"/>
                      </a:cubicBezTo>
                      <a:cubicBezTo>
                        <a:pt x="21525" y="7189"/>
                        <a:pt x="21506" y="7230"/>
                        <a:pt x="21487" y="7271"/>
                      </a:cubicBezTo>
                      <a:cubicBezTo>
                        <a:pt x="21468" y="7312"/>
                        <a:pt x="21449" y="7353"/>
                        <a:pt x="21430" y="7394"/>
                      </a:cubicBezTo>
                      <a:cubicBezTo>
                        <a:pt x="21411" y="7435"/>
                        <a:pt x="21392" y="7477"/>
                        <a:pt x="21373" y="7517"/>
                      </a:cubicBezTo>
                      <a:cubicBezTo>
                        <a:pt x="20975" y="8362"/>
                        <a:pt x="20549" y="9176"/>
                        <a:pt x="20095" y="9961"/>
                      </a:cubicBezTo>
                      <a:cubicBezTo>
                        <a:pt x="19640" y="10744"/>
                        <a:pt x="19158" y="11499"/>
                        <a:pt x="18648" y="12220"/>
                      </a:cubicBezTo>
                      <a:cubicBezTo>
                        <a:pt x="18139" y="12942"/>
                        <a:pt x="17602" y="13633"/>
                        <a:pt x="17040" y="14290"/>
                      </a:cubicBezTo>
                      <a:cubicBezTo>
                        <a:pt x="16476" y="14948"/>
                        <a:pt x="15888" y="15571"/>
                        <a:pt x="15273" y="16162"/>
                      </a:cubicBezTo>
                      <a:cubicBezTo>
                        <a:pt x="14659" y="16752"/>
                        <a:pt x="14027" y="17300"/>
                        <a:pt x="13379" y="17806"/>
                      </a:cubicBezTo>
                      <a:cubicBezTo>
                        <a:pt x="12730" y="18312"/>
                        <a:pt x="12065" y="18776"/>
                        <a:pt x="11385" y="19196"/>
                      </a:cubicBezTo>
                      <a:cubicBezTo>
                        <a:pt x="10704" y="19616"/>
                        <a:pt x="10008" y="19994"/>
                        <a:pt x="9298" y="20328"/>
                      </a:cubicBezTo>
                      <a:cubicBezTo>
                        <a:pt x="8588" y="20661"/>
                        <a:pt x="7864" y="20951"/>
                        <a:pt x="7128" y="21196"/>
                      </a:cubicBezTo>
                      <a:cubicBezTo>
                        <a:pt x="7012" y="21236"/>
                        <a:pt x="6897" y="21272"/>
                        <a:pt x="6782" y="21308"/>
                      </a:cubicBezTo>
                      <a:cubicBezTo>
                        <a:pt x="6667" y="21344"/>
                        <a:pt x="6553" y="21379"/>
                        <a:pt x="6437" y="21412"/>
                      </a:cubicBezTo>
                      <a:cubicBezTo>
                        <a:pt x="6321" y="21446"/>
                        <a:pt x="6206" y="21478"/>
                        <a:pt x="6090" y="21510"/>
                      </a:cubicBezTo>
                      <a:cubicBezTo>
                        <a:pt x="5975" y="21540"/>
                        <a:pt x="5860" y="21571"/>
                        <a:pt x="5744" y="21600"/>
                      </a:cubicBezTo>
                      <a:lnTo>
                        <a:pt x="0" y="15120"/>
                      </a:lnTo>
                      <a:lnTo>
                        <a:pt x="4191" y="7552"/>
                      </a:lnTo>
                      <a:cubicBezTo>
                        <a:pt x="5020" y="7298"/>
                        <a:pt x="5822" y="6936"/>
                        <a:pt x="6587" y="6477"/>
                      </a:cubicBezTo>
                      <a:cubicBezTo>
                        <a:pt x="7351" y="6017"/>
                        <a:pt x="8077" y="5460"/>
                        <a:pt x="8755" y="4818"/>
                      </a:cubicBezTo>
                      <a:cubicBezTo>
                        <a:pt x="9432" y="4174"/>
                        <a:pt x="10061" y="3444"/>
                        <a:pt x="10630" y="2638"/>
                      </a:cubicBezTo>
                      <a:cubicBezTo>
                        <a:pt x="11199" y="1832"/>
                        <a:pt x="11709" y="948"/>
                        <a:pt x="12148" y="0"/>
                      </a:cubicBezTo>
                      <a:close/>
                      <a:moveTo>
                        <a:pt x="12148" y="0"/>
                      </a:moveTo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72" name="iş1îḋè">
                  <a:extLst>
                    <a:ext uri="{FF2B5EF4-FFF2-40B4-BE49-F238E27FC236}">
                      <a16:creationId xmlns:a16="http://schemas.microsoft.com/office/drawing/2014/main" id="{2F0F8912-EF90-42C6-B817-952AD8B622C0}"/>
                    </a:ext>
                  </a:extLst>
                </p:cNvPr>
                <p:cNvSpPr/>
                <p:nvPr/>
              </p:nvSpPr>
              <p:spPr bwMode="auto">
                <a:xfrm>
                  <a:off x="701" y="787"/>
                  <a:ext cx="224" cy="178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w 21600"/>
                    <a:gd name="T13" fmla="*/ 0 h 21600"/>
                    <a:gd name="T14" fmla="*/ 0 w 21600"/>
                    <a:gd name="T15" fmla="*/ 0 h 21600"/>
                    <a:gd name="T16" fmla="*/ 0 w 21600"/>
                    <a:gd name="T17" fmla="*/ 0 h 21600"/>
                    <a:gd name="T18" fmla="*/ 0 w 21600"/>
                    <a:gd name="T19" fmla="*/ 0 h 21600"/>
                    <a:gd name="T20" fmla="*/ 0 w 21600"/>
                    <a:gd name="T21" fmla="*/ 0 h 21600"/>
                    <a:gd name="T22" fmla="*/ 0 w 21600"/>
                    <a:gd name="T23" fmla="*/ 0 h 2160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21600" h="21600">
                      <a:moveTo>
                        <a:pt x="975" y="21600"/>
                      </a:moveTo>
                      <a:lnTo>
                        <a:pt x="0" y="16387"/>
                      </a:lnTo>
                      <a:cubicBezTo>
                        <a:pt x="1870" y="15834"/>
                        <a:pt x="3679" y="15051"/>
                        <a:pt x="5400" y="14052"/>
                      </a:cubicBezTo>
                      <a:cubicBezTo>
                        <a:pt x="7123" y="13057"/>
                        <a:pt x="8760" y="11847"/>
                        <a:pt x="10288" y="10452"/>
                      </a:cubicBezTo>
                      <a:cubicBezTo>
                        <a:pt x="11815" y="9058"/>
                        <a:pt x="13231" y="7475"/>
                        <a:pt x="14515" y="5725"/>
                      </a:cubicBezTo>
                      <a:cubicBezTo>
                        <a:pt x="15798" y="3975"/>
                        <a:pt x="16948" y="2059"/>
                        <a:pt x="17938" y="0"/>
                      </a:cubicBezTo>
                      <a:lnTo>
                        <a:pt x="21600" y="2759"/>
                      </a:lnTo>
                      <a:cubicBezTo>
                        <a:pt x="20463" y="5124"/>
                        <a:pt x="19142" y="7329"/>
                        <a:pt x="17666" y="9340"/>
                      </a:cubicBezTo>
                      <a:cubicBezTo>
                        <a:pt x="16190" y="11353"/>
                        <a:pt x="14561" y="13173"/>
                        <a:pt x="12806" y="14778"/>
                      </a:cubicBezTo>
                      <a:cubicBezTo>
                        <a:pt x="11048" y="16382"/>
                        <a:pt x="9166" y="17772"/>
                        <a:pt x="7186" y="18917"/>
                      </a:cubicBezTo>
                      <a:cubicBezTo>
                        <a:pt x="5204" y="20063"/>
                        <a:pt x="3125" y="20966"/>
                        <a:pt x="975" y="21600"/>
                      </a:cubicBezTo>
                      <a:close/>
                      <a:moveTo>
                        <a:pt x="975" y="21600"/>
                      </a:moveTo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12700" cap="flat">
                      <a:solidFill>
                        <a:srgbClr val="000000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sp>
            <p:nvSpPr>
              <p:cNvPr id="21" name="ïšliḑé">
                <a:extLst>
                  <a:ext uri="{FF2B5EF4-FFF2-40B4-BE49-F238E27FC236}">
                    <a16:creationId xmlns:a16="http://schemas.microsoft.com/office/drawing/2014/main" id="{2E501608-67C4-4E45-A855-21E0D62BF755}"/>
                  </a:ext>
                </a:extLst>
              </p:cNvPr>
              <p:cNvSpPr/>
              <p:nvPr/>
            </p:nvSpPr>
            <p:spPr bwMode="auto">
              <a:xfrm>
                <a:off x="6985553" y="2569705"/>
                <a:ext cx="379860" cy="382478"/>
              </a:xfrm>
              <a:custGeom>
                <a:avLst/>
                <a:gdLst>
                  <a:gd name="T0" fmla="*/ 278592476 w 21600"/>
                  <a:gd name="T1" fmla="*/ 130345227 h 21600"/>
                  <a:gd name="T2" fmla="*/ 252602898 w 21600"/>
                  <a:gd name="T3" fmla="*/ 130345227 h 21600"/>
                  <a:gd name="T4" fmla="*/ 150904134 w 21600"/>
                  <a:gd name="T5" fmla="*/ 25918100 h 21600"/>
                  <a:gd name="T6" fmla="*/ 150904134 w 21600"/>
                  <a:gd name="T7" fmla="*/ 0 h 21600"/>
                  <a:gd name="T8" fmla="*/ 127688459 w 21600"/>
                  <a:gd name="T9" fmla="*/ 0 h 21600"/>
                  <a:gd name="T10" fmla="*/ 127688459 w 21600"/>
                  <a:gd name="T11" fmla="*/ 25983501 h 21600"/>
                  <a:gd name="T12" fmla="*/ 26633519 w 21600"/>
                  <a:gd name="T13" fmla="*/ 130345227 h 21600"/>
                  <a:gd name="T14" fmla="*/ 0 w 21600"/>
                  <a:gd name="T15" fmla="*/ 130345227 h 21600"/>
                  <a:gd name="T16" fmla="*/ 0 w 21600"/>
                  <a:gd name="T17" fmla="*/ 154035712 h 21600"/>
                  <a:gd name="T18" fmla="*/ 26827154 w 21600"/>
                  <a:gd name="T19" fmla="*/ 154035712 h 21600"/>
                  <a:gd name="T20" fmla="*/ 127688459 w 21600"/>
                  <a:gd name="T21" fmla="*/ 256420601 h 21600"/>
                  <a:gd name="T22" fmla="*/ 127688459 w 21600"/>
                  <a:gd name="T23" fmla="*/ 286355233 h 21600"/>
                  <a:gd name="T24" fmla="*/ 150904134 w 21600"/>
                  <a:gd name="T25" fmla="*/ 286355233 h 21600"/>
                  <a:gd name="T26" fmla="*/ 150904134 w 21600"/>
                  <a:gd name="T27" fmla="*/ 256487269 h 21600"/>
                  <a:gd name="T28" fmla="*/ 252397231 w 21600"/>
                  <a:gd name="T29" fmla="*/ 154035712 h 21600"/>
                  <a:gd name="T30" fmla="*/ 278592476 w 21600"/>
                  <a:gd name="T31" fmla="*/ 154035712 h 21600"/>
                  <a:gd name="T32" fmla="*/ 278592476 w 21600"/>
                  <a:gd name="T33" fmla="*/ 130345227 h 21600"/>
                  <a:gd name="T34" fmla="*/ 229245721 w 21600"/>
                  <a:gd name="T35" fmla="*/ 130345227 h 21600"/>
                  <a:gd name="T36" fmla="*/ 150904134 w 21600"/>
                  <a:gd name="T37" fmla="*/ 130345227 h 21600"/>
                  <a:gd name="T38" fmla="*/ 150904134 w 21600"/>
                  <a:gd name="T39" fmla="*/ 49793844 h 21600"/>
                  <a:gd name="T40" fmla="*/ 229245721 w 21600"/>
                  <a:gd name="T41" fmla="*/ 130345227 h 21600"/>
                  <a:gd name="T42" fmla="*/ 127688459 w 21600"/>
                  <a:gd name="T43" fmla="*/ 49872947 h 21600"/>
                  <a:gd name="T44" fmla="*/ 127688459 w 21600"/>
                  <a:gd name="T45" fmla="*/ 130345227 h 21600"/>
                  <a:gd name="T46" fmla="*/ 49991942 w 21600"/>
                  <a:gd name="T47" fmla="*/ 130345227 h 21600"/>
                  <a:gd name="T48" fmla="*/ 127688459 w 21600"/>
                  <a:gd name="T49" fmla="*/ 49872947 h 21600"/>
                  <a:gd name="T50" fmla="*/ 50236453 w 21600"/>
                  <a:gd name="T51" fmla="*/ 154035712 h 21600"/>
                  <a:gd name="T52" fmla="*/ 127688459 w 21600"/>
                  <a:gd name="T53" fmla="*/ 154035712 h 21600"/>
                  <a:gd name="T54" fmla="*/ 127688459 w 21600"/>
                  <a:gd name="T55" fmla="*/ 232531155 h 21600"/>
                  <a:gd name="T56" fmla="*/ 50236453 w 21600"/>
                  <a:gd name="T57" fmla="*/ 154035712 h 21600"/>
                  <a:gd name="T58" fmla="*/ 150904134 w 21600"/>
                  <a:gd name="T59" fmla="*/ 232623844 h 21600"/>
                  <a:gd name="T60" fmla="*/ 150904134 w 21600"/>
                  <a:gd name="T61" fmla="*/ 154035712 h 21600"/>
                  <a:gd name="T62" fmla="*/ 228999963 w 21600"/>
                  <a:gd name="T63" fmla="*/ 154035712 h 21600"/>
                  <a:gd name="T64" fmla="*/ 150904134 w 21600"/>
                  <a:gd name="T65" fmla="*/ 232623844 h 21600"/>
                  <a:gd name="T66" fmla="*/ 150904134 w 21600"/>
                  <a:gd name="T67" fmla="*/ 232623844 h 2160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1600" h="21600">
                    <a:moveTo>
                      <a:pt x="21600" y="9832"/>
                    </a:moveTo>
                    <a:lnTo>
                      <a:pt x="19585" y="9832"/>
                    </a:lnTo>
                    <a:cubicBezTo>
                      <a:pt x="19195" y="5676"/>
                      <a:pt x="15878" y="2365"/>
                      <a:pt x="11700" y="1955"/>
                    </a:cubicBezTo>
                    <a:lnTo>
                      <a:pt x="11700" y="0"/>
                    </a:lnTo>
                    <a:lnTo>
                      <a:pt x="9900" y="0"/>
                    </a:lnTo>
                    <a:lnTo>
                      <a:pt x="9900" y="1960"/>
                    </a:lnTo>
                    <a:cubicBezTo>
                      <a:pt x="5746" y="2391"/>
                      <a:pt x="2453" y="5693"/>
                      <a:pt x="2065" y="9832"/>
                    </a:cubicBezTo>
                    <a:lnTo>
                      <a:pt x="0" y="9832"/>
                    </a:lnTo>
                    <a:lnTo>
                      <a:pt x="0" y="11619"/>
                    </a:lnTo>
                    <a:lnTo>
                      <a:pt x="2080" y="11619"/>
                    </a:lnTo>
                    <a:cubicBezTo>
                      <a:pt x="2532" y="15689"/>
                      <a:pt x="5796" y="18916"/>
                      <a:pt x="9900" y="19342"/>
                    </a:cubicBezTo>
                    <a:lnTo>
                      <a:pt x="9900" y="21600"/>
                    </a:lnTo>
                    <a:lnTo>
                      <a:pt x="11700" y="21600"/>
                    </a:lnTo>
                    <a:lnTo>
                      <a:pt x="11700" y="19347"/>
                    </a:lnTo>
                    <a:cubicBezTo>
                      <a:pt x="15828" y="18942"/>
                      <a:pt x="19116" y="15705"/>
                      <a:pt x="19569" y="11619"/>
                    </a:cubicBezTo>
                    <a:lnTo>
                      <a:pt x="21600" y="11619"/>
                    </a:lnTo>
                    <a:lnTo>
                      <a:pt x="21600" y="9832"/>
                    </a:lnTo>
                    <a:close/>
                    <a:moveTo>
                      <a:pt x="17774" y="9832"/>
                    </a:moveTo>
                    <a:lnTo>
                      <a:pt x="11700" y="9832"/>
                    </a:lnTo>
                    <a:lnTo>
                      <a:pt x="11700" y="3756"/>
                    </a:lnTo>
                    <a:cubicBezTo>
                      <a:pt x="14877" y="4151"/>
                      <a:pt x="17398" y="6669"/>
                      <a:pt x="17774" y="9832"/>
                    </a:cubicBezTo>
                    <a:close/>
                    <a:moveTo>
                      <a:pt x="9900" y="3762"/>
                    </a:moveTo>
                    <a:lnTo>
                      <a:pt x="9900" y="9832"/>
                    </a:lnTo>
                    <a:lnTo>
                      <a:pt x="3876" y="9832"/>
                    </a:lnTo>
                    <a:cubicBezTo>
                      <a:pt x="4249" y="6686"/>
                      <a:pt x="6746" y="4178"/>
                      <a:pt x="9900" y="3762"/>
                    </a:cubicBezTo>
                    <a:close/>
                    <a:moveTo>
                      <a:pt x="3895" y="11619"/>
                    </a:moveTo>
                    <a:lnTo>
                      <a:pt x="9900" y="11619"/>
                    </a:lnTo>
                    <a:lnTo>
                      <a:pt x="9900" y="17540"/>
                    </a:lnTo>
                    <a:cubicBezTo>
                      <a:pt x="6796" y="17132"/>
                      <a:pt x="4328" y="14696"/>
                      <a:pt x="3895" y="11619"/>
                    </a:cubicBezTo>
                    <a:close/>
                    <a:moveTo>
                      <a:pt x="11700" y="17547"/>
                    </a:moveTo>
                    <a:lnTo>
                      <a:pt x="11700" y="11619"/>
                    </a:lnTo>
                    <a:lnTo>
                      <a:pt x="17755" y="11619"/>
                    </a:lnTo>
                    <a:cubicBezTo>
                      <a:pt x="17319" y="14712"/>
                      <a:pt x="14828" y="17158"/>
                      <a:pt x="11700" y="17547"/>
                    </a:cubicBezTo>
                    <a:close/>
                    <a:moveTo>
                      <a:pt x="11700" y="17547"/>
                    </a:move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grpSp>
            <p:nvGrpSpPr>
              <p:cNvPr id="22" name="íśľïdè">
                <a:extLst>
                  <a:ext uri="{FF2B5EF4-FFF2-40B4-BE49-F238E27FC236}">
                    <a16:creationId xmlns:a16="http://schemas.microsoft.com/office/drawing/2014/main" id="{D3B7EAD2-AD32-4E4D-A7A0-69B2BAFB7F9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776238" y="2590419"/>
                <a:ext cx="387717" cy="387717"/>
                <a:chOff x="0" y="0"/>
                <a:chExt cx="581" cy="581"/>
              </a:xfrm>
              <a:solidFill>
                <a:srgbClr val="FFFFFF"/>
              </a:solidFill>
              <a:effectLst/>
            </p:grpSpPr>
            <p:sp>
              <p:nvSpPr>
                <p:cNvPr id="43" name="íṩļîḋê">
                  <a:extLst>
                    <a:ext uri="{FF2B5EF4-FFF2-40B4-BE49-F238E27FC236}">
                      <a16:creationId xmlns:a16="http://schemas.microsoft.com/office/drawing/2014/main" id="{A8C161E8-E5F1-4896-B6ED-B770651F8333}"/>
                    </a:ext>
                  </a:extLst>
                </p:cNvPr>
                <p:cNvSpPr/>
                <p:nvPr/>
              </p:nvSpPr>
              <p:spPr bwMode="auto">
                <a:xfrm>
                  <a:off x="248" y="0"/>
                  <a:ext cx="333" cy="333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1600" h="21600">
                      <a:moveTo>
                        <a:pt x="0" y="10800"/>
                      </a:moveTo>
                      <a:lnTo>
                        <a:pt x="10800" y="0"/>
                      </a:lnTo>
                      <a:lnTo>
                        <a:pt x="21600" y="10800"/>
                      </a:lnTo>
                      <a:lnTo>
                        <a:pt x="10800" y="21600"/>
                      </a:lnTo>
                      <a:lnTo>
                        <a:pt x="0" y="10800"/>
                      </a:lnTo>
                      <a:close/>
                      <a:moveTo>
                        <a:pt x="0" y="10800"/>
                      </a:move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55000" lnSpcReduction="20000"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44" name="îṡlîdè">
                  <a:extLst>
                    <a:ext uri="{FF2B5EF4-FFF2-40B4-BE49-F238E27FC236}">
                      <a16:creationId xmlns:a16="http://schemas.microsoft.com/office/drawing/2014/main" id="{F99F8A95-BA3D-4B36-AB6A-144CE1EA1B42}"/>
                    </a:ext>
                  </a:extLst>
                </p:cNvPr>
                <p:cNvSpPr/>
                <p:nvPr/>
              </p:nvSpPr>
              <p:spPr bwMode="auto">
                <a:xfrm>
                  <a:off x="0" y="224"/>
                  <a:ext cx="357" cy="357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w 21600"/>
                    <a:gd name="T13" fmla="*/ 0 h 21600"/>
                    <a:gd name="T14" fmla="*/ 0 w 21600"/>
                    <a:gd name="T15" fmla="*/ 0 h 21600"/>
                    <a:gd name="T16" fmla="*/ 0 w 21600"/>
                    <a:gd name="T17" fmla="*/ 0 h 21600"/>
                    <a:gd name="T18" fmla="*/ 0 w 21600"/>
                    <a:gd name="T19" fmla="*/ 0 h 21600"/>
                    <a:gd name="T20" fmla="*/ 0 w 21600"/>
                    <a:gd name="T21" fmla="*/ 0 h 21600"/>
                    <a:gd name="T22" fmla="*/ 0 w 21600"/>
                    <a:gd name="T23" fmla="*/ 0 h 21600"/>
                    <a:gd name="T24" fmla="*/ 0 w 21600"/>
                    <a:gd name="T25" fmla="*/ 0 h 2160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21600" h="21600">
                      <a:moveTo>
                        <a:pt x="3094" y="8513"/>
                      </a:moveTo>
                      <a:cubicBezTo>
                        <a:pt x="4629" y="10540"/>
                        <a:pt x="3310" y="14705"/>
                        <a:pt x="0" y="18328"/>
                      </a:cubicBezTo>
                      <a:lnTo>
                        <a:pt x="3280" y="21600"/>
                      </a:lnTo>
                      <a:cubicBezTo>
                        <a:pt x="6861" y="18344"/>
                        <a:pt x="10975" y="17015"/>
                        <a:pt x="13037" y="18447"/>
                      </a:cubicBezTo>
                      <a:lnTo>
                        <a:pt x="21600" y="6893"/>
                      </a:lnTo>
                      <a:lnTo>
                        <a:pt x="14691" y="0"/>
                      </a:lnTo>
                      <a:lnTo>
                        <a:pt x="3094" y="8513"/>
                      </a:lnTo>
                      <a:close/>
                      <a:moveTo>
                        <a:pt x="9877" y="14477"/>
                      </a:moveTo>
                      <a:cubicBezTo>
                        <a:pt x="9121" y="15230"/>
                        <a:pt x="7896" y="15230"/>
                        <a:pt x="7140" y="14477"/>
                      </a:cubicBezTo>
                      <a:cubicBezTo>
                        <a:pt x="6385" y="13723"/>
                        <a:pt x="6385" y="12501"/>
                        <a:pt x="7140" y="11748"/>
                      </a:cubicBezTo>
                      <a:cubicBezTo>
                        <a:pt x="7896" y="10995"/>
                        <a:pt x="9121" y="10995"/>
                        <a:pt x="9877" y="11749"/>
                      </a:cubicBezTo>
                      <a:cubicBezTo>
                        <a:pt x="10631" y="12502"/>
                        <a:pt x="10631" y="13723"/>
                        <a:pt x="9877" y="14477"/>
                      </a:cubicBezTo>
                      <a:close/>
                      <a:moveTo>
                        <a:pt x="9877" y="14477"/>
                      </a:move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/>
                <a:p>
                  <a:pPr algn="ctr"/>
                  <a:endParaRPr/>
                </a:p>
              </p:txBody>
            </p:sp>
          </p:grpSp>
          <p:sp>
            <p:nvSpPr>
              <p:cNvPr id="23" name="ïṩļídé">
                <a:extLst>
                  <a:ext uri="{FF2B5EF4-FFF2-40B4-BE49-F238E27FC236}">
                    <a16:creationId xmlns:a16="http://schemas.microsoft.com/office/drawing/2014/main" id="{E07F58BF-CB28-4C34-9AD5-862874BB4343}"/>
                  </a:ext>
                </a:extLst>
              </p:cNvPr>
              <p:cNvSpPr/>
              <p:nvPr/>
            </p:nvSpPr>
            <p:spPr bwMode="auto">
              <a:xfrm>
                <a:off x="5338360" y="4734163"/>
                <a:ext cx="241014" cy="382478"/>
              </a:xfrm>
              <a:custGeom>
                <a:avLst/>
                <a:gdLst>
                  <a:gd name="T0" fmla="*/ 45148680 w 21600"/>
                  <a:gd name="T1" fmla="*/ 162374022 h 21600"/>
                  <a:gd name="T2" fmla="*/ 37716 w 21600"/>
                  <a:gd name="T3" fmla="*/ 0 h 21600"/>
                  <a:gd name="T4" fmla="*/ 0 w 21600"/>
                  <a:gd name="T5" fmla="*/ 241320471 h 21600"/>
                  <a:gd name="T6" fmla="*/ 15666168 w 21600"/>
                  <a:gd name="T7" fmla="*/ 199626488 h 21600"/>
                  <a:gd name="T8" fmla="*/ 25348195 w 21600"/>
                  <a:gd name="T9" fmla="*/ 286355233 h 21600"/>
                  <a:gd name="T10" fmla="*/ 36495143 w 21600"/>
                  <a:gd name="T11" fmla="*/ 266866669 h 21600"/>
                  <a:gd name="T12" fmla="*/ 26813164 w 21600"/>
                  <a:gd name="T13" fmla="*/ 180139071 h 21600"/>
                  <a:gd name="T14" fmla="*/ 45148680 w 21600"/>
                  <a:gd name="T15" fmla="*/ 162374022 h 21600"/>
                  <a:gd name="T16" fmla="*/ 18276812 w 21600"/>
                  <a:gd name="T17" fmla="*/ 163991275 h 21600"/>
                  <a:gd name="T18" fmla="*/ 12303137 w 21600"/>
                  <a:gd name="T19" fmla="*/ 179833944 h 21600"/>
                  <a:gd name="T20" fmla="*/ 6036402 w 21600"/>
                  <a:gd name="T21" fmla="*/ 196511721 h 21600"/>
                  <a:gd name="T22" fmla="*/ 6057431 w 21600"/>
                  <a:gd name="T23" fmla="*/ 53916659 h 21600"/>
                  <a:gd name="T24" fmla="*/ 32712002 w 21600"/>
                  <a:gd name="T25" fmla="*/ 149859706 h 21600"/>
                  <a:gd name="T26" fmla="*/ 25379372 w 21600"/>
                  <a:gd name="T27" fmla="*/ 156964983 h 21600"/>
                  <a:gd name="T28" fmla="*/ 18276812 w 21600"/>
                  <a:gd name="T29" fmla="*/ 163991275 h 21600"/>
                  <a:gd name="T30" fmla="*/ 18276812 w 21600"/>
                  <a:gd name="T31" fmla="*/ 163991275 h 2160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21600" h="21600">
                    <a:moveTo>
                      <a:pt x="21600" y="12248"/>
                    </a:moveTo>
                    <a:lnTo>
                      <a:pt x="18" y="0"/>
                    </a:lnTo>
                    <a:lnTo>
                      <a:pt x="0" y="18203"/>
                    </a:lnTo>
                    <a:lnTo>
                      <a:pt x="7495" y="15058"/>
                    </a:lnTo>
                    <a:lnTo>
                      <a:pt x="12127" y="21600"/>
                    </a:lnTo>
                    <a:lnTo>
                      <a:pt x="17460" y="20130"/>
                    </a:lnTo>
                    <a:lnTo>
                      <a:pt x="12828" y="13588"/>
                    </a:lnTo>
                    <a:lnTo>
                      <a:pt x="21600" y="12248"/>
                    </a:lnTo>
                    <a:close/>
                    <a:moveTo>
                      <a:pt x="8744" y="12370"/>
                    </a:moveTo>
                    <a:lnTo>
                      <a:pt x="5886" y="13565"/>
                    </a:lnTo>
                    <a:lnTo>
                      <a:pt x="2888" y="14823"/>
                    </a:lnTo>
                    <a:lnTo>
                      <a:pt x="2898" y="4067"/>
                    </a:lnTo>
                    <a:lnTo>
                      <a:pt x="15650" y="11304"/>
                    </a:lnTo>
                    <a:lnTo>
                      <a:pt x="12142" y="11840"/>
                    </a:lnTo>
                    <a:lnTo>
                      <a:pt x="8744" y="12370"/>
                    </a:lnTo>
                    <a:close/>
                    <a:moveTo>
                      <a:pt x="8744" y="12370"/>
                    </a:move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4" name="íSḷîḋè">
                <a:extLst>
                  <a:ext uri="{FF2B5EF4-FFF2-40B4-BE49-F238E27FC236}">
                    <a16:creationId xmlns:a16="http://schemas.microsoft.com/office/drawing/2014/main" id="{F527E47A-E21F-4B31-8A6D-01B7BED487D0}"/>
                  </a:ext>
                </a:extLst>
              </p:cNvPr>
              <p:cNvSpPr/>
              <p:nvPr/>
            </p:nvSpPr>
            <p:spPr bwMode="auto">
              <a:xfrm>
                <a:off x="5862972" y="2074010"/>
                <a:ext cx="385098" cy="382478"/>
              </a:xfrm>
              <a:custGeom>
                <a:avLst/>
                <a:gdLst>
                  <a:gd name="T0" fmla="*/ 147142664 w 21600"/>
                  <a:gd name="T1" fmla="*/ 0 h 21600"/>
                  <a:gd name="T2" fmla="*/ 0 w 21600"/>
                  <a:gd name="T3" fmla="*/ 143178255 h 21600"/>
                  <a:gd name="T4" fmla="*/ 147142664 w 21600"/>
                  <a:gd name="T5" fmla="*/ 286355233 h 21600"/>
                  <a:gd name="T6" fmla="*/ 294284053 w 21600"/>
                  <a:gd name="T7" fmla="*/ 143178255 h 21600"/>
                  <a:gd name="T8" fmla="*/ 147142664 w 21600"/>
                  <a:gd name="T9" fmla="*/ 0 h 21600"/>
                  <a:gd name="T10" fmla="*/ 189308625 w 21600"/>
                  <a:gd name="T11" fmla="*/ 224974990 h 21600"/>
                  <a:gd name="T12" fmla="*/ 105682886 w 21600"/>
                  <a:gd name="T13" fmla="*/ 224974990 h 21600"/>
                  <a:gd name="T14" fmla="*/ 126173843 w 21600"/>
                  <a:gd name="T15" fmla="*/ 137874331 h 21600"/>
                  <a:gd name="T16" fmla="*/ 105682886 w 21600"/>
                  <a:gd name="T17" fmla="*/ 102942051 h 21600"/>
                  <a:gd name="T18" fmla="*/ 147495755 w 21600"/>
                  <a:gd name="T19" fmla="*/ 62256235 h 21600"/>
                  <a:gd name="T20" fmla="*/ 189308625 w 21600"/>
                  <a:gd name="T21" fmla="*/ 102942051 h 21600"/>
                  <a:gd name="T22" fmla="*/ 168668953 w 21600"/>
                  <a:gd name="T23" fmla="*/ 137980497 h 21600"/>
                  <a:gd name="T24" fmla="*/ 189308625 w 21600"/>
                  <a:gd name="T25" fmla="*/ 224974990 h 21600"/>
                  <a:gd name="T26" fmla="*/ 189308625 w 21600"/>
                  <a:gd name="T27" fmla="*/ 224974990 h 2160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1600" h="21600">
                    <a:moveTo>
                      <a:pt x="10800" y="0"/>
                    </a:moveTo>
                    <a:cubicBezTo>
                      <a:pt x="4835" y="0"/>
                      <a:pt x="0" y="4835"/>
                      <a:pt x="0" y="10800"/>
                    </a:cubicBezTo>
                    <a:cubicBezTo>
                      <a:pt x="0" y="16765"/>
                      <a:pt x="4835" y="21600"/>
                      <a:pt x="10800" y="21600"/>
                    </a:cubicBezTo>
                    <a:cubicBezTo>
                      <a:pt x="16765" y="21600"/>
                      <a:pt x="21600" y="16765"/>
                      <a:pt x="21600" y="10800"/>
                    </a:cubicBezTo>
                    <a:cubicBezTo>
                      <a:pt x="21600" y="4835"/>
                      <a:pt x="16765" y="0"/>
                      <a:pt x="10800" y="0"/>
                    </a:cubicBezTo>
                    <a:close/>
                    <a:moveTo>
                      <a:pt x="13895" y="16970"/>
                    </a:moveTo>
                    <a:lnTo>
                      <a:pt x="7757" y="16970"/>
                    </a:lnTo>
                    <a:lnTo>
                      <a:pt x="9261" y="10400"/>
                    </a:lnTo>
                    <a:cubicBezTo>
                      <a:pt x="8362" y="9865"/>
                      <a:pt x="7757" y="8887"/>
                      <a:pt x="7757" y="7765"/>
                    </a:cubicBezTo>
                    <a:cubicBezTo>
                      <a:pt x="7757" y="6070"/>
                      <a:pt x="9131" y="4696"/>
                      <a:pt x="10826" y="4696"/>
                    </a:cubicBezTo>
                    <a:cubicBezTo>
                      <a:pt x="12521" y="4696"/>
                      <a:pt x="13895" y="6070"/>
                      <a:pt x="13895" y="7765"/>
                    </a:cubicBezTo>
                    <a:cubicBezTo>
                      <a:pt x="13895" y="8892"/>
                      <a:pt x="13286" y="9874"/>
                      <a:pt x="12380" y="10408"/>
                    </a:cubicBezTo>
                    <a:lnTo>
                      <a:pt x="13895" y="16970"/>
                    </a:lnTo>
                    <a:close/>
                    <a:moveTo>
                      <a:pt x="13895" y="16970"/>
                    </a:move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5" name="ïṡļiḑe">
                <a:extLst>
                  <a:ext uri="{FF2B5EF4-FFF2-40B4-BE49-F238E27FC236}">
                    <a16:creationId xmlns:a16="http://schemas.microsoft.com/office/drawing/2014/main" id="{BF484B51-DED7-4ECF-BC5F-8F0E285C7FAB}"/>
                  </a:ext>
                </a:extLst>
              </p:cNvPr>
              <p:cNvSpPr/>
              <p:nvPr/>
            </p:nvSpPr>
            <p:spPr bwMode="auto">
              <a:xfrm>
                <a:off x="4552636" y="3741239"/>
                <a:ext cx="233154" cy="382478"/>
              </a:xfrm>
              <a:custGeom>
                <a:avLst/>
                <a:gdLst>
                  <a:gd name="T0" fmla="*/ 33005611 w 21600"/>
                  <a:gd name="T1" fmla="*/ 194536269 h 21600"/>
                  <a:gd name="T2" fmla="*/ 26732226 w 21600"/>
                  <a:gd name="T3" fmla="*/ 165356494 h 21600"/>
                  <a:gd name="T4" fmla="*/ 26639042 w 21600"/>
                  <a:gd name="T5" fmla="*/ 165356494 h 21600"/>
                  <a:gd name="T6" fmla="*/ 26631468 w 21600"/>
                  <a:gd name="T7" fmla="*/ 92402147 h 21600"/>
                  <a:gd name="T8" fmla="*/ 39540972 w 21600"/>
                  <a:gd name="T9" fmla="*/ 92402147 h 21600"/>
                  <a:gd name="T10" fmla="*/ 19796094 w 21600"/>
                  <a:gd name="T11" fmla="*/ 0 h 21600"/>
                  <a:gd name="T12" fmla="*/ 0 w 21600"/>
                  <a:gd name="T13" fmla="*/ 92402147 h 21600"/>
                  <a:gd name="T14" fmla="*/ 13202243 w 21600"/>
                  <a:gd name="T15" fmla="*/ 92402147 h 21600"/>
                  <a:gd name="T16" fmla="*/ 13205880 w 21600"/>
                  <a:gd name="T17" fmla="*/ 165966845 h 21600"/>
                  <a:gd name="T18" fmla="*/ 7073521 w 21600"/>
                  <a:gd name="T19" fmla="*/ 194549853 h 21600"/>
                  <a:gd name="T20" fmla="*/ 1737091 w 21600"/>
                  <a:gd name="T21" fmla="*/ 249461085 h 21600"/>
                  <a:gd name="T22" fmla="*/ 1737091 w 21600"/>
                  <a:gd name="T23" fmla="*/ 286355233 h 21600"/>
                  <a:gd name="T24" fmla="*/ 10895635 w 21600"/>
                  <a:gd name="T25" fmla="*/ 286355233 h 21600"/>
                  <a:gd name="T26" fmla="*/ 10895635 w 21600"/>
                  <a:gd name="T27" fmla="*/ 249461085 h 21600"/>
                  <a:gd name="T28" fmla="*/ 10895635 w 21600"/>
                  <a:gd name="T29" fmla="*/ 249288144 h 21600"/>
                  <a:gd name="T30" fmla="*/ 12687880 w 21600"/>
                  <a:gd name="T31" fmla="*/ 228912429 h 21600"/>
                  <a:gd name="T32" fmla="*/ 18265825 w 21600"/>
                  <a:gd name="T33" fmla="*/ 200541967 h 21600"/>
                  <a:gd name="T34" fmla="*/ 20039586 w 21600"/>
                  <a:gd name="T35" fmla="*/ 192972099 h 21600"/>
                  <a:gd name="T36" fmla="*/ 21811678 w 21600"/>
                  <a:gd name="T37" fmla="*/ 200541967 h 21600"/>
                  <a:gd name="T38" fmla="*/ 27391298 w 21600"/>
                  <a:gd name="T39" fmla="*/ 228912429 h 21600"/>
                  <a:gd name="T40" fmla="*/ 29183536 w 21600"/>
                  <a:gd name="T41" fmla="*/ 249288144 h 21600"/>
                  <a:gd name="T42" fmla="*/ 29183536 w 21600"/>
                  <a:gd name="T43" fmla="*/ 249461085 h 21600"/>
                  <a:gd name="T44" fmla="*/ 29183536 w 21600"/>
                  <a:gd name="T45" fmla="*/ 286355233 h 21600"/>
                  <a:gd name="T46" fmla="*/ 38342080 w 21600"/>
                  <a:gd name="T47" fmla="*/ 286355233 h 21600"/>
                  <a:gd name="T48" fmla="*/ 38342080 w 21600"/>
                  <a:gd name="T49" fmla="*/ 249461085 h 21600"/>
                  <a:gd name="T50" fmla="*/ 33005611 w 21600"/>
                  <a:gd name="T51" fmla="*/ 194536269 h 21600"/>
                  <a:gd name="T52" fmla="*/ 33005611 w 21600"/>
                  <a:gd name="T53" fmla="*/ 194536269 h 21600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21600" h="21600">
                    <a:moveTo>
                      <a:pt x="18030" y="14674"/>
                    </a:moveTo>
                    <a:cubicBezTo>
                      <a:pt x="17005" y="13911"/>
                      <a:pt x="15820" y="13181"/>
                      <a:pt x="14603" y="12473"/>
                    </a:cubicBezTo>
                    <a:lnTo>
                      <a:pt x="14552" y="12473"/>
                    </a:lnTo>
                    <a:cubicBezTo>
                      <a:pt x="14552" y="12473"/>
                      <a:pt x="14548" y="7543"/>
                      <a:pt x="14548" y="6970"/>
                    </a:cubicBezTo>
                    <a:lnTo>
                      <a:pt x="21600" y="6970"/>
                    </a:lnTo>
                    <a:lnTo>
                      <a:pt x="10814" y="0"/>
                    </a:lnTo>
                    <a:lnTo>
                      <a:pt x="0" y="6970"/>
                    </a:lnTo>
                    <a:lnTo>
                      <a:pt x="7212" y="6970"/>
                    </a:lnTo>
                    <a:cubicBezTo>
                      <a:pt x="7212" y="7887"/>
                      <a:pt x="7214" y="12519"/>
                      <a:pt x="7214" y="12519"/>
                    </a:cubicBezTo>
                    <a:cubicBezTo>
                      <a:pt x="6023" y="13213"/>
                      <a:pt x="4867" y="13927"/>
                      <a:pt x="3864" y="14675"/>
                    </a:cubicBezTo>
                    <a:cubicBezTo>
                      <a:pt x="2308" y="15854"/>
                      <a:pt x="977" y="17182"/>
                      <a:pt x="949" y="18817"/>
                    </a:cubicBezTo>
                    <a:cubicBezTo>
                      <a:pt x="949" y="20048"/>
                      <a:pt x="949" y="20975"/>
                      <a:pt x="949" y="21600"/>
                    </a:cubicBezTo>
                    <a:lnTo>
                      <a:pt x="5952" y="21600"/>
                    </a:lnTo>
                    <a:cubicBezTo>
                      <a:pt x="5952" y="20975"/>
                      <a:pt x="5952" y="20048"/>
                      <a:pt x="5952" y="18817"/>
                    </a:cubicBezTo>
                    <a:cubicBezTo>
                      <a:pt x="5952" y="18813"/>
                      <a:pt x="5952" y="18809"/>
                      <a:pt x="5952" y="18804"/>
                    </a:cubicBezTo>
                    <a:cubicBezTo>
                      <a:pt x="5952" y="18430"/>
                      <a:pt x="6230" y="17911"/>
                      <a:pt x="6931" y="17267"/>
                    </a:cubicBezTo>
                    <a:cubicBezTo>
                      <a:pt x="7629" y="16620"/>
                      <a:pt x="8711" y="15885"/>
                      <a:pt x="9978" y="15127"/>
                    </a:cubicBezTo>
                    <a:cubicBezTo>
                      <a:pt x="10292" y="14938"/>
                      <a:pt x="10615" y="14747"/>
                      <a:pt x="10947" y="14556"/>
                    </a:cubicBezTo>
                    <a:cubicBezTo>
                      <a:pt x="11279" y="14748"/>
                      <a:pt x="11601" y="14938"/>
                      <a:pt x="11915" y="15127"/>
                    </a:cubicBezTo>
                    <a:cubicBezTo>
                      <a:pt x="13182" y="15885"/>
                      <a:pt x="14265" y="16620"/>
                      <a:pt x="14963" y="17267"/>
                    </a:cubicBezTo>
                    <a:cubicBezTo>
                      <a:pt x="15664" y="17910"/>
                      <a:pt x="15942" y="18430"/>
                      <a:pt x="15942" y="18804"/>
                    </a:cubicBezTo>
                    <a:cubicBezTo>
                      <a:pt x="15942" y="18809"/>
                      <a:pt x="15942" y="18813"/>
                      <a:pt x="15942" y="18817"/>
                    </a:cubicBezTo>
                    <a:cubicBezTo>
                      <a:pt x="15942" y="20048"/>
                      <a:pt x="15942" y="20975"/>
                      <a:pt x="15942" y="21600"/>
                    </a:cubicBezTo>
                    <a:lnTo>
                      <a:pt x="20945" y="21600"/>
                    </a:lnTo>
                    <a:cubicBezTo>
                      <a:pt x="20945" y="20975"/>
                      <a:pt x="20945" y="20048"/>
                      <a:pt x="20945" y="18817"/>
                    </a:cubicBezTo>
                    <a:cubicBezTo>
                      <a:pt x="20916" y="17181"/>
                      <a:pt x="19586" y="15854"/>
                      <a:pt x="18030" y="14674"/>
                    </a:cubicBezTo>
                    <a:close/>
                    <a:moveTo>
                      <a:pt x="18030" y="14674"/>
                    </a:move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grpSp>
            <p:nvGrpSpPr>
              <p:cNvPr id="26" name="ïsḻíḍè">
                <a:extLst>
                  <a:ext uri="{FF2B5EF4-FFF2-40B4-BE49-F238E27FC236}">
                    <a16:creationId xmlns:a16="http://schemas.microsoft.com/office/drawing/2014/main" id="{04F86191-B6B0-4679-AE3F-711219C0902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517702" y="4752752"/>
                <a:ext cx="316986" cy="377238"/>
                <a:chOff x="0" y="0"/>
                <a:chExt cx="474" cy="568"/>
              </a:xfrm>
              <a:solidFill>
                <a:srgbClr val="FFFFFF"/>
              </a:solidFill>
              <a:effectLst/>
            </p:grpSpPr>
            <p:sp>
              <p:nvSpPr>
                <p:cNvPr id="41" name="ïšḷiḍe">
                  <a:extLst>
                    <a:ext uri="{FF2B5EF4-FFF2-40B4-BE49-F238E27FC236}">
                      <a16:creationId xmlns:a16="http://schemas.microsoft.com/office/drawing/2014/main" id="{D26E8155-9711-4A8F-AD42-CA38541EA6EA}"/>
                    </a:ext>
                  </a:extLst>
                </p:cNvPr>
                <p:cNvSpPr/>
                <p:nvPr/>
              </p:nvSpPr>
              <p:spPr bwMode="auto">
                <a:xfrm>
                  <a:off x="0" y="272"/>
                  <a:ext cx="474" cy="296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w 21600"/>
                    <a:gd name="T13" fmla="*/ 0 h 21600"/>
                    <a:gd name="T14" fmla="*/ 0 w 21600"/>
                    <a:gd name="T15" fmla="*/ 0 h 21600"/>
                    <a:gd name="T16" fmla="*/ 0 w 21600"/>
                    <a:gd name="T17" fmla="*/ 0 h 21600"/>
                    <a:gd name="T18" fmla="*/ 0 w 21600"/>
                    <a:gd name="T19" fmla="*/ 0 h 21600"/>
                    <a:gd name="T20" fmla="*/ 0 w 21600"/>
                    <a:gd name="T21" fmla="*/ 0 h 21600"/>
                    <a:gd name="T22" fmla="*/ 0 w 21600"/>
                    <a:gd name="T23" fmla="*/ 0 h 21600"/>
                    <a:gd name="T24" fmla="*/ 0 w 21600"/>
                    <a:gd name="T25" fmla="*/ 0 h 21600"/>
                    <a:gd name="T26" fmla="*/ 0 w 21600"/>
                    <a:gd name="T27" fmla="*/ 0 h 21600"/>
                    <a:gd name="T28" fmla="*/ 0 w 21600"/>
                    <a:gd name="T29" fmla="*/ 0 h 21600"/>
                    <a:gd name="T30" fmla="*/ 0 w 21600"/>
                    <a:gd name="T31" fmla="*/ 0 h 21600"/>
                    <a:gd name="T32" fmla="*/ 0 w 21600"/>
                    <a:gd name="T33" fmla="*/ 0 h 21600"/>
                    <a:gd name="T34" fmla="*/ 0 w 21600"/>
                    <a:gd name="T35" fmla="*/ 0 h 21600"/>
                    <a:gd name="T36" fmla="*/ 0 w 21600"/>
                    <a:gd name="T37" fmla="*/ 0 h 21600"/>
                    <a:gd name="T38" fmla="*/ 0 w 21600"/>
                    <a:gd name="T39" fmla="*/ 0 h 21600"/>
                    <a:gd name="T40" fmla="*/ 0 w 21600"/>
                    <a:gd name="T41" fmla="*/ 0 h 21600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0" t="0" r="r" b="b"/>
                  <a:pathLst>
                    <a:path w="21600" h="21600">
                      <a:moveTo>
                        <a:pt x="1543" y="21600"/>
                      </a:moveTo>
                      <a:lnTo>
                        <a:pt x="20057" y="21600"/>
                      </a:lnTo>
                      <a:lnTo>
                        <a:pt x="21600" y="0"/>
                      </a:lnTo>
                      <a:lnTo>
                        <a:pt x="0" y="0"/>
                      </a:lnTo>
                      <a:lnTo>
                        <a:pt x="1543" y="21600"/>
                      </a:lnTo>
                      <a:close/>
                      <a:moveTo>
                        <a:pt x="15358" y="6069"/>
                      </a:moveTo>
                      <a:lnTo>
                        <a:pt x="18159" y="6069"/>
                      </a:lnTo>
                      <a:lnTo>
                        <a:pt x="17256" y="15583"/>
                      </a:lnTo>
                      <a:lnTo>
                        <a:pt x="14457" y="15583"/>
                      </a:lnTo>
                      <a:lnTo>
                        <a:pt x="15358" y="6069"/>
                      </a:lnTo>
                      <a:close/>
                      <a:moveTo>
                        <a:pt x="9417" y="6069"/>
                      </a:moveTo>
                      <a:lnTo>
                        <a:pt x="12118" y="6069"/>
                      </a:lnTo>
                      <a:lnTo>
                        <a:pt x="12118" y="15583"/>
                      </a:lnTo>
                      <a:lnTo>
                        <a:pt x="9417" y="15583"/>
                      </a:lnTo>
                      <a:lnTo>
                        <a:pt x="9417" y="6069"/>
                      </a:lnTo>
                      <a:close/>
                      <a:moveTo>
                        <a:pt x="6240" y="6069"/>
                      </a:moveTo>
                      <a:lnTo>
                        <a:pt x="7143" y="15583"/>
                      </a:lnTo>
                      <a:lnTo>
                        <a:pt x="4343" y="15583"/>
                      </a:lnTo>
                      <a:lnTo>
                        <a:pt x="3441" y="6069"/>
                      </a:lnTo>
                      <a:lnTo>
                        <a:pt x="6240" y="6069"/>
                      </a:lnTo>
                      <a:close/>
                      <a:moveTo>
                        <a:pt x="6240" y="6069"/>
                      </a:move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42" name="îsļïde">
                  <a:extLst>
                    <a:ext uri="{FF2B5EF4-FFF2-40B4-BE49-F238E27FC236}">
                      <a16:creationId xmlns:a16="http://schemas.microsoft.com/office/drawing/2014/main" id="{512AD186-3452-4C8B-89EE-2C2D6A20BB9C}"/>
                    </a:ext>
                  </a:extLst>
                </p:cNvPr>
                <p:cNvSpPr/>
                <p:nvPr/>
              </p:nvSpPr>
              <p:spPr bwMode="auto">
                <a:xfrm>
                  <a:off x="0" y="0"/>
                  <a:ext cx="474" cy="252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w 21600"/>
                    <a:gd name="T13" fmla="*/ 0 h 21600"/>
                    <a:gd name="T14" fmla="*/ 0 w 21600"/>
                    <a:gd name="T15" fmla="*/ 0 h 21600"/>
                    <a:gd name="T16" fmla="*/ 0 w 21600"/>
                    <a:gd name="T17" fmla="*/ 0 h 21600"/>
                    <a:gd name="T18" fmla="*/ 0 w 21600"/>
                    <a:gd name="T19" fmla="*/ 0 h 21600"/>
                    <a:gd name="T20" fmla="*/ 0 w 21600"/>
                    <a:gd name="T21" fmla="*/ 0 h 21600"/>
                    <a:gd name="T22" fmla="*/ 0 w 21600"/>
                    <a:gd name="T23" fmla="*/ 0 h 21600"/>
                    <a:gd name="T24" fmla="*/ 0 w 21600"/>
                    <a:gd name="T25" fmla="*/ 0 h 21600"/>
                    <a:gd name="T26" fmla="*/ 0 w 21600"/>
                    <a:gd name="T27" fmla="*/ 0 h 2160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21600" h="21600">
                      <a:moveTo>
                        <a:pt x="19490" y="18707"/>
                      </a:moveTo>
                      <a:lnTo>
                        <a:pt x="14269" y="0"/>
                      </a:lnTo>
                      <a:lnTo>
                        <a:pt x="11534" y="2684"/>
                      </a:lnTo>
                      <a:lnTo>
                        <a:pt x="16007" y="18707"/>
                      </a:lnTo>
                      <a:lnTo>
                        <a:pt x="5622" y="18707"/>
                      </a:lnTo>
                      <a:lnTo>
                        <a:pt x="10094" y="2684"/>
                      </a:lnTo>
                      <a:lnTo>
                        <a:pt x="7360" y="1"/>
                      </a:lnTo>
                      <a:lnTo>
                        <a:pt x="2138" y="18707"/>
                      </a:lnTo>
                      <a:lnTo>
                        <a:pt x="0" y="18707"/>
                      </a:lnTo>
                      <a:lnTo>
                        <a:pt x="0" y="21600"/>
                      </a:lnTo>
                      <a:lnTo>
                        <a:pt x="21600" y="21600"/>
                      </a:lnTo>
                      <a:lnTo>
                        <a:pt x="21600" y="18707"/>
                      </a:lnTo>
                      <a:lnTo>
                        <a:pt x="19490" y="18707"/>
                      </a:lnTo>
                      <a:close/>
                      <a:moveTo>
                        <a:pt x="19490" y="18707"/>
                      </a:move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32500" lnSpcReduction="20000"/>
                </a:bodyPr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27" name="iṧļîḍè">
                <a:extLst>
                  <a:ext uri="{FF2B5EF4-FFF2-40B4-BE49-F238E27FC236}">
                    <a16:creationId xmlns:a16="http://schemas.microsoft.com/office/drawing/2014/main" id="{0C3169A8-7515-4C83-A436-4EA06276D13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212094" y="3748911"/>
                <a:ext cx="351042" cy="382479"/>
                <a:chOff x="0" y="0"/>
                <a:chExt cx="526" cy="577"/>
              </a:xfrm>
              <a:solidFill>
                <a:srgbClr val="FFFFFF"/>
              </a:solidFill>
              <a:effectLst/>
            </p:grpSpPr>
            <p:sp>
              <p:nvSpPr>
                <p:cNvPr id="36" name="iṩḻïḓê">
                  <a:extLst>
                    <a:ext uri="{FF2B5EF4-FFF2-40B4-BE49-F238E27FC236}">
                      <a16:creationId xmlns:a16="http://schemas.microsoft.com/office/drawing/2014/main" id="{ED4234C1-AA55-42E4-95CD-9F9C7531D61F}"/>
                    </a:ext>
                  </a:extLst>
                </p:cNvPr>
                <p:cNvSpPr/>
                <p:nvPr/>
              </p:nvSpPr>
              <p:spPr bwMode="auto">
                <a:xfrm>
                  <a:off x="0" y="0"/>
                  <a:ext cx="526" cy="407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w 21600"/>
                    <a:gd name="T13" fmla="*/ 0 h 21600"/>
                    <a:gd name="T14" fmla="*/ 0 w 21600"/>
                    <a:gd name="T15" fmla="*/ 0 h 21600"/>
                    <a:gd name="T16" fmla="*/ 0 w 21600"/>
                    <a:gd name="T17" fmla="*/ 0 h 21600"/>
                    <a:gd name="T18" fmla="*/ 0 w 21600"/>
                    <a:gd name="T19" fmla="*/ 0 h 21600"/>
                    <a:gd name="T20" fmla="*/ 0 w 21600"/>
                    <a:gd name="T21" fmla="*/ 0 h 21600"/>
                    <a:gd name="T22" fmla="*/ 0 w 21600"/>
                    <a:gd name="T23" fmla="*/ 0 h 21600"/>
                    <a:gd name="T24" fmla="*/ 0 w 21600"/>
                    <a:gd name="T25" fmla="*/ 0 h 21600"/>
                    <a:gd name="T26" fmla="*/ 0 w 21600"/>
                    <a:gd name="T27" fmla="*/ 0 h 2160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21600" h="21600">
                      <a:moveTo>
                        <a:pt x="20114" y="7917"/>
                      </a:moveTo>
                      <a:lnTo>
                        <a:pt x="21600" y="0"/>
                      </a:lnTo>
                      <a:lnTo>
                        <a:pt x="15477" y="1916"/>
                      </a:lnTo>
                      <a:lnTo>
                        <a:pt x="17029" y="3924"/>
                      </a:lnTo>
                      <a:lnTo>
                        <a:pt x="11123" y="11569"/>
                      </a:lnTo>
                      <a:lnTo>
                        <a:pt x="8614" y="8321"/>
                      </a:lnTo>
                      <a:lnTo>
                        <a:pt x="0" y="19474"/>
                      </a:lnTo>
                      <a:lnTo>
                        <a:pt x="1642" y="21600"/>
                      </a:lnTo>
                      <a:lnTo>
                        <a:pt x="1642" y="21599"/>
                      </a:lnTo>
                      <a:lnTo>
                        <a:pt x="8614" y="12572"/>
                      </a:lnTo>
                      <a:lnTo>
                        <a:pt x="11123" y="15820"/>
                      </a:lnTo>
                      <a:lnTo>
                        <a:pt x="18671" y="6049"/>
                      </a:lnTo>
                      <a:lnTo>
                        <a:pt x="20114" y="7917"/>
                      </a:lnTo>
                      <a:close/>
                      <a:moveTo>
                        <a:pt x="20114" y="7917"/>
                      </a:move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7" name="îṣḷíḓé">
                  <a:extLst>
                    <a:ext uri="{FF2B5EF4-FFF2-40B4-BE49-F238E27FC236}">
                      <a16:creationId xmlns:a16="http://schemas.microsoft.com/office/drawing/2014/main" id="{F63D86E2-C817-41A8-8E30-D2B05306BB90}"/>
                    </a:ext>
                  </a:extLst>
                </p:cNvPr>
                <p:cNvSpPr/>
                <p:nvPr/>
              </p:nvSpPr>
              <p:spPr bwMode="auto">
                <a:xfrm>
                  <a:off x="48" y="440"/>
                  <a:ext cx="75" cy="13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8" name="ïṧliďê">
                  <a:extLst>
                    <a:ext uri="{FF2B5EF4-FFF2-40B4-BE49-F238E27FC236}">
                      <a16:creationId xmlns:a16="http://schemas.microsoft.com/office/drawing/2014/main" id="{3FBB7225-76EA-4937-B325-CF2C70D7D490}"/>
                    </a:ext>
                  </a:extLst>
                </p:cNvPr>
                <p:cNvSpPr/>
                <p:nvPr/>
              </p:nvSpPr>
              <p:spPr bwMode="auto">
                <a:xfrm>
                  <a:off x="176" y="368"/>
                  <a:ext cx="75" cy="20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9" name="iṡḷiḓè">
                  <a:extLst>
                    <a:ext uri="{FF2B5EF4-FFF2-40B4-BE49-F238E27FC236}">
                      <a16:creationId xmlns:a16="http://schemas.microsoft.com/office/drawing/2014/main" id="{D8043F27-01D7-40AD-BE8B-8CA033DCF231}"/>
                    </a:ext>
                  </a:extLst>
                </p:cNvPr>
                <p:cNvSpPr/>
                <p:nvPr/>
              </p:nvSpPr>
              <p:spPr bwMode="auto">
                <a:xfrm>
                  <a:off x="304" y="296"/>
                  <a:ext cx="75" cy="2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40" name="íṧḻîḓê">
                  <a:extLst>
                    <a:ext uri="{FF2B5EF4-FFF2-40B4-BE49-F238E27FC236}">
                      <a16:creationId xmlns:a16="http://schemas.microsoft.com/office/drawing/2014/main" id="{97E50DEB-18ED-4ABC-A99A-DF2E1147A35A}"/>
                    </a:ext>
                  </a:extLst>
                </p:cNvPr>
                <p:cNvSpPr/>
                <p:nvPr/>
              </p:nvSpPr>
              <p:spPr bwMode="auto">
                <a:xfrm>
                  <a:off x="432" y="232"/>
                  <a:ext cx="75" cy="3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/>
                <a:p>
                  <a:pPr algn="ctr"/>
                  <a:endParaRPr/>
                </a:p>
              </p:txBody>
            </p:sp>
          </p:grpSp>
          <p:sp>
            <p:nvSpPr>
              <p:cNvPr id="28" name="iṡḻíḍê">
                <a:extLst>
                  <a:ext uri="{FF2B5EF4-FFF2-40B4-BE49-F238E27FC236}">
                    <a16:creationId xmlns:a16="http://schemas.microsoft.com/office/drawing/2014/main" id="{25D3FB29-CB32-48BE-875F-4C7638F582D5}"/>
                  </a:ext>
                </a:extLst>
              </p:cNvPr>
              <p:cNvSpPr/>
              <p:nvPr/>
            </p:nvSpPr>
            <p:spPr>
              <a:xfrm>
                <a:off x="5355816" y="2974198"/>
                <a:ext cx="1406794" cy="1406794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lvl="0" algn="ctr"/>
                <a:r>
                  <a:rPr lang="en-US" altLang="zh-CN" sz="1400" dirty="0">
                    <a:solidFill>
                      <a:schemeClr val="tx1"/>
                    </a:solidFill>
                  </a:rPr>
                  <a:t>Text here</a:t>
                </a:r>
                <a:endParaRPr lang="zh-CN" altLang="en-US" sz="14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9" name="肘形连接符 33">
                <a:extLst>
                  <a:ext uri="{FF2B5EF4-FFF2-40B4-BE49-F238E27FC236}">
                    <a16:creationId xmlns:a16="http://schemas.microsoft.com/office/drawing/2014/main" id="{5BF684B7-2795-4F4B-8A21-02BF547508D4}"/>
                  </a:ext>
                </a:extLst>
              </p:cNvPr>
              <p:cNvCxnSpPr/>
              <p:nvPr/>
            </p:nvCxnSpPr>
            <p:spPr>
              <a:xfrm>
                <a:off x="6057118" y="1810585"/>
                <a:ext cx="2427019" cy="263425"/>
              </a:xfrm>
              <a:prstGeom prst="bentConnector3">
                <a:avLst>
                  <a:gd name="adj1" fmla="val 100172"/>
                </a:avLst>
              </a:prstGeom>
              <a:ln w="12700" cmpd="sng">
                <a:solidFill>
                  <a:schemeClr val="bg1">
                    <a:lumMod val="65000"/>
                  </a:schemeClr>
                </a:solidFill>
                <a:prstDash val="sysDash"/>
                <a:headEnd type="none"/>
                <a:tailEnd type="oval" w="lg" len="lg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肘形连接符 34">
                <a:extLst>
                  <a:ext uri="{FF2B5EF4-FFF2-40B4-BE49-F238E27FC236}">
                    <a16:creationId xmlns:a16="http://schemas.microsoft.com/office/drawing/2014/main" id="{A9C732B3-2DBE-476F-A2A1-5BAE9B3B16F7}"/>
                  </a:ext>
                </a:extLst>
              </p:cNvPr>
              <p:cNvCxnSpPr/>
              <p:nvPr/>
            </p:nvCxnSpPr>
            <p:spPr>
              <a:xfrm>
                <a:off x="7338108" y="2469317"/>
                <a:ext cx="1146029" cy="627387"/>
              </a:xfrm>
              <a:prstGeom prst="bentConnector3">
                <a:avLst>
                  <a:gd name="adj1" fmla="val 50000"/>
                </a:avLst>
              </a:prstGeom>
              <a:ln w="12700" cmpd="sng">
                <a:solidFill>
                  <a:schemeClr val="bg1">
                    <a:lumMod val="65000"/>
                  </a:schemeClr>
                </a:solidFill>
                <a:prstDash val="sysDash"/>
                <a:headEnd type="none"/>
                <a:tailEnd type="oval" w="lg" len="lg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肘形连接符 35">
                <a:extLst>
                  <a:ext uri="{FF2B5EF4-FFF2-40B4-BE49-F238E27FC236}">
                    <a16:creationId xmlns:a16="http://schemas.microsoft.com/office/drawing/2014/main" id="{DBB5FFDD-6D03-44AC-A27B-98B3B73770DB}"/>
                  </a:ext>
                </a:extLst>
              </p:cNvPr>
              <p:cNvCxnSpPr/>
              <p:nvPr/>
            </p:nvCxnSpPr>
            <p:spPr>
              <a:xfrm>
                <a:off x="7852676" y="3861661"/>
                <a:ext cx="622816" cy="232106"/>
              </a:xfrm>
              <a:prstGeom prst="bentConnector3">
                <a:avLst>
                  <a:gd name="adj1" fmla="val 50000"/>
                </a:avLst>
              </a:prstGeom>
              <a:ln w="12700" cmpd="sng">
                <a:solidFill>
                  <a:schemeClr val="bg1">
                    <a:lumMod val="65000"/>
                  </a:schemeClr>
                </a:solidFill>
                <a:prstDash val="sysDash"/>
                <a:headEnd type="none"/>
                <a:tailEnd type="oval" w="lg" len="lg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肘形连接符 36">
                <a:extLst>
                  <a:ext uri="{FF2B5EF4-FFF2-40B4-BE49-F238E27FC236}">
                    <a16:creationId xmlns:a16="http://schemas.microsoft.com/office/drawing/2014/main" id="{7CAE45A0-A2E4-4D77-94A8-4EED5D7002C6}"/>
                  </a:ext>
                </a:extLst>
              </p:cNvPr>
              <p:cNvCxnSpPr/>
              <p:nvPr/>
            </p:nvCxnSpPr>
            <p:spPr>
              <a:xfrm rot="10800000">
                <a:off x="3762292" y="2117369"/>
                <a:ext cx="887933" cy="364226"/>
              </a:xfrm>
              <a:prstGeom prst="bentConnector3">
                <a:avLst>
                  <a:gd name="adj1" fmla="val 50000"/>
                </a:avLst>
              </a:prstGeom>
              <a:ln w="12700" cmpd="sng">
                <a:solidFill>
                  <a:schemeClr val="accent1"/>
                </a:solidFill>
                <a:prstDash val="sysDash"/>
                <a:headEnd type="none"/>
                <a:tailEnd type="oval" w="lg" len="lg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肘形连接符 37">
                <a:extLst>
                  <a:ext uri="{FF2B5EF4-FFF2-40B4-BE49-F238E27FC236}">
                    <a16:creationId xmlns:a16="http://schemas.microsoft.com/office/drawing/2014/main" id="{6D4AAE25-50BC-4C7B-B6D6-04D8984577BA}"/>
                  </a:ext>
                </a:extLst>
              </p:cNvPr>
              <p:cNvCxnSpPr/>
              <p:nvPr/>
            </p:nvCxnSpPr>
            <p:spPr>
              <a:xfrm rot="16200000" flipV="1">
                <a:off x="3495210" y="3289561"/>
                <a:ext cx="1068130" cy="524714"/>
              </a:xfrm>
              <a:prstGeom prst="bentConnector3">
                <a:avLst>
                  <a:gd name="adj1" fmla="val 7835"/>
                </a:avLst>
              </a:prstGeom>
              <a:ln w="12700" cmpd="sng">
                <a:solidFill>
                  <a:schemeClr val="accent1"/>
                </a:solidFill>
                <a:prstDash val="sysDash"/>
                <a:headEnd type="none"/>
                <a:tailEnd type="oval" w="lg" len="lg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肘形连接符 38">
                <a:extLst>
                  <a:ext uri="{FF2B5EF4-FFF2-40B4-BE49-F238E27FC236}">
                    <a16:creationId xmlns:a16="http://schemas.microsoft.com/office/drawing/2014/main" id="{9DE9F607-F925-477D-9B4C-3385B0C8D92D}"/>
                  </a:ext>
                </a:extLst>
              </p:cNvPr>
              <p:cNvCxnSpPr/>
              <p:nvPr/>
            </p:nvCxnSpPr>
            <p:spPr>
              <a:xfrm rot="10800000">
                <a:off x="3716509" y="4158640"/>
                <a:ext cx="1241748" cy="1011823"/>
              </a:xfrm>
              <a:prstGeom prst="bentConnector3">
                <a:avLst>
                  <a:gd name="adj1" fmla="val 50000"/>
                </a:avLst>
              </a:prstGeom>
              <a:ln w="12700" cmpd="sng">
                <a:solidFill>
                  <a:schemeClr val="accent1"/>
                </a:solidFill>
                <a:prstDash val="sysDash"/>
                <a:headEnd type="none"/>
                <a:tailEnd type="oval" w="lg" len="lg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肘形连接符 39">
                <a:extLst>
                  <a:ext uri="{FF2B5EF4-FFF2-40B4-BE49-F238E27FC236}">
                    <a16:creationId xmlns:a16="http://schemas.microsoft.com/office/drawing/2014/main" id="{2F5E27A0-D8C7-44DE-9285-6E3E6483C619}"/>
                  </a:ext>
                </a:extLst>
              </p:cNvPr>
              <p:cNvCxnSpPr/>
              <p:nvPr/>
            </p:nvCxnSpPr>
            <p:spPr>
              <a:xfrm rot="10800000">
                <a:off x="3716512" y="5086382"/>
                <a:ext cx="3232936" cy="214463"/>
              </a:xfrm>
              <a:prstGeom prst="bentConnector3">
                <a:avLst>
                  <a:gd name="adj1" fmla="val 85343"/>
                </a:avLst>
              </a:prstGeom>
              <a:ln w="12700" cmpd="sng">
                <a:solidFill>
                  <a:schemeClr val="accent1"/>
                </a:solidFill>
                <a:prstDash val="sysDash"/>
                <a:headEnd type="none"/>
                <a:tailEnd type="oval" w="lg" len="lg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îSļïḑê">
              <a:extLst>
                <a:ext uri="{FF2B5EF4-FFF2-40B4-BE49-F238E27FC236}">
                  <a16:creationId xmlns:a16="http://schemas.microsoft.com/office/drawing/2014/main" id="{6C0DAD72-618D-40B3-ACEC-CAECD16DC9FC}"/>
                </a:ext>
              </a:extLst>
            </p:cNvPr>
            <p:cNvSpPr txBox="1"/>
            <p:nvPr/>
          </p:nvSpPr>
          <p:spPr>
            <a:xfrm>
              <a:off x="669924" y="2668768"/>
              <a:ext cx="2844800" cy="58348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zh-CN" alt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体 位</a:t>
              </a:r>
              <a:endPara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" name="ïślîḓé">
              <a:extLst>
                <a:ext uri="{FF2B5EF4-FFF2-40B4-BE49-F238E27FC236}">
                  <a16:creationId xmlns:a16="http://schemas.microsoft.com/office/drawing/2014/main" id="{AE43D7C5-75DC-495E-B460-51C2B96DCCAE}"/>
                </a:ext>
              </a:extLst>
            </p:cNvPr>
            <p:cNvSpPr txBox="1"/>
            <p:nvPr/>
          </p:nvSpPr>
          <p:spPr>
            <a:xfrm>
              <a:off x="488360" y="4798244"/>
              <a:ext cx="3001649" cy="7986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zh-CN" alt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合理补液</a:t>
              </a:r>
              <a:endPara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ïşḻïḍè">
              <a:extLst>
                <a:ext uri="{FF2B5EF4-FFF2-40B4-BE49-F238E27FC236}">
                  <a16:creationId xmlns:a16="http://schemas.microsoft.com/office/drawing/2014/main" id="{390FD66F-270F-4607-9F02-34BB7B00BF68}"/>
                </a:ext>
              </a:extLst>
            </p:cNvPr>
            <p:cNvSpPr txBox="1"/>
            <p:nvPr/>
          </p:nvSpPr>
          <p:spPr>
            <a:xfrm>
              <a:off x="424828" y="3836570"/>
              <a:ext cx="3001649" cy="84855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lang="zh-CN" altLang="en-US" sz="3200" b="1" dirty="0">
                  <a:solidFill>
                    <a:srgbClr val="000000"/>
                  </a:solidFill>
                </a:rPr>
                <a:t>胃肠</a:t>
              </a:r>
              <a:r>
                <a:rPr kumimoji="0" lang="zh-CN" alt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减压</a:t>
              </a:r>
              <a:endPara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íṩḷïḑè">
              <a:extLst>
                <a:ext uri="{FF2B5EF4-FFF2-40B4-BE49-F238E27FC236}">
                  <a16:creationId xmlns:a16="http://schemas.microsoft.com/office/drawing/2014/main" id="{50468871-AF73-4BC3-AA22-4AF7E10E10E8}"/>
                </a:ext>
              </a:extLst>
            </p:cNvPr>
            <p:cNvSpPr txBox="1"/>
            <p:nvPr/>
          </p:nvSpPr>
          <p:spPr>
            <a:xfrm>
              <a:off x="552187" y="1804790"/>
              <a:ext cx="3001649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zh-CN" alt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饮 食</a:t>
              </a:r>
              <a:endPara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îṡḷídè">
              <a:extLst>
                <a:ext uri="{FF2B5EF4-FFF2-40B4-BE49-F238E27FC236}">
                  <a16:creationId xmlns:a16="http://schemas.microsoft.com/office/drawing/2014/main" id="{C716C918-E349-4C58-B2FF-62259C2B775D}"/>
                </a:ext>
              </a:extLst>
            </p:cNvPr>
            <p:cNvSpPr txBox="1"/>
            <p:nvPr/>
          </p:nvSpPr>
          <p:spPr>
            <a:xfrm>
              <a:off x="8601337" y="1821504"/>
              <a:ext cx="2919150" cy="6294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marL="0" marR="0" lvl="0" indent="0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zh-CN" alt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用药护理</a:t>
              </a:r>
              <a:endPara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iṥḻïḓê">
              <a:extLst>
                <a:ext uri="{FF2B5EF4-FFF2-40B4-BE49-F238E27FC236}">
                  <a16:creationId xmlns:a16="http://schemas.microsoft.com/office/drawing/2014/main" id="{B1ED31B6-A648-4A46-A53B-A3EFE12E1335}"/>
                </a:ext>
              </a:extLst>
            </p:cNvPr>
            <p:cNvSpPr txBox="1"/>
            <p:nvPr/>
          </p:nvSpPr>
          <p:spPr>
            <a:xfrm>
              <a:off x="8601337" y="2795549"/>
              <a:ext cx="2919150" cy="61695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marL="0" marR="0" lvl="0" indent="0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zh-CN" alt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对症护理</a:t>
              </a:r>
              <a:endPara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ïŝľíḍe">
              <a:extLst>
                <a:ext uri="{FF2B5EF4-FFF2-40B4-BE49-F238E27FC236}">
                  <a16:creationId xmlns:a16="http://schemas.microsoft.com/office/drawing/2014/main" id="{D1C41F54-314D-42E1-AF86-3D76CEF3A860}"/>
                </a:ext>
              </a:extLst>
            </p:cNvPr>
            <p:cNvSpPr txBox="1"/>
            <p:nvPr/>
          </p:nvSpPr>
          <p:spPr>
            <a:xfrm>
              <a:off x="8606153" y="3846193"/>
              <a:ext cx="3585846" cy="151785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marL="0" marR="0" lvl="0" indent="0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zh-CN" alt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严密观察病情变化</a:t>
              </a:r>
              <a:endPara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1134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2FD0AC1-8D34-4C3F-9F9C-20485C32D1B6}"/>
              </a:ext>
            </a:extLst>
          </p:cNvPr>
          <p:cNvSpPr txBox="1"/>
          <p:nvPr/>
        </p:nvSpPr>
        <p:spPr>
          <a:xfrm>
            <a:off x="669925" y="483969"/>
            <a:ext cx="2591435" cy="646331"/>
          </a:xfrm>
          <a:prstGeom prst="rect">
            <a:avLst/>
          </a:prstGeom>
          <a:solidFill>
            <a:srgbClr val="E1F8F7"/>
          </a:solidFill>
        </p:spPr>
        <p:txBody>
          <a:bodyPr wrap="square" rtlCol="0">
            <a:spAutoFit/>
          </a:bodyPr>
          <a:lstStyle/>
          <a:p>
            <a:r>
              <a:rPr lang="zh-CN" altLang="en-US" sz="3600" b="1" dirty="0"/>
              <a:t>术后护理</a:t>
            </a:r>
          </a:p>
        </p:txBody>
      </p:sp>
      <p:grpSp>
        <p:nvGrpSpPr>
          <p:cNvPr id="4" name="22384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87A450E-1AF5-4128-AF50-E3F87BE315AA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9925" y="1123950"/>
            <a:ext cx="10850563" cy="4107926"/>
            <a:chOff x="669925" y="1123950"/>
            <a:chExt cx="10850563" cy="5022850"/>
          </a:xfrm>
        </p:grpSpPr>
        <p:grpSp>
          <p:nvGrpSpPr>
            <p:cNvPr id="5" name="iSlîḓè">
              <a:extLst>
                <a:ext uri="{FF2B5EF4-FFF2-40B4-BE49-F238E27FC236}">
                  <a16:creationId xmlns:a16="http://schemas.microsoft.com/office/drawing/2014/main" id="{915D2CA6-0EC4-4E55-AC56-868B09BF113E}"/>
                </a:ext>
              </a:extLst>
            </p:cNvPr>
            <p:cNvGrpSpPr/>
            <p:nvPr/>
          </p:nvGrpSpPr>
          <p:grpSpPr>
            <a:xfrm>
              <a:off x="1125233" y="1130301"/>
              <a:ext cx="1334704" cy="3271804"/>
              <a:chOff x="1125233" y="1130301"/>
              <a:chExt cx="1334704" cy="3271804"/>
            </a:xfrm>
          </p:grpSpPr>
          <p:sp>
            <p:nvSpPr>
              <p:cNvPr id="46" name="íṣlïdé">
                <a:extLst>
                  <a:ext uri="{FF2B5EF4-FFF2-40B4-BE49-F238E27FC236}">
                    <a16:creationId xmlns:a16="http://schemas.microsoft.com/office/drawing/2014/main" id="{FABC82AB-A186-4E3D-92B9-165074AD8244}"/>
                  </a:ext>
                </a:extLst>
              </p:cNvPr>
              <p:cNvSpPr/>
              <p:nvPr/>
            </p:nvSpPr>
            <p:spPr bwMode="auto">
              <a:xfrm>
                <a:off x="1125233" y="2527163"/>
                <a:ext cx="1334704" cy="1874942"/>
              </a:xfrm>
              <a:custGeom>
                <a:avLst/>
                <a:gdLst>
                  <a:gd name="T0" fmla="*/ 213 w 213"/>
                  <a:gd name="T1" fmla="*/ 190 h 297"/>
                  <a:gd name="T2" fmla="*/ 106 w 213"/>
                  <a:gd name="T3" fmla="*/ 297 h 297"/>
                  <a:gd name="T4" fmla="*/ 0 w 213"/>
                  <a:gd name="T5" fmla="*/ 190 h 297"/>
                  <a:gd name="T6" fmla="*/ 106 w 213"/>
                  <a:gd name="T7" fmla="*/ 0 h 297"/>
                  <a:gd name="T8" fmla="*/ 213 w 213"/>
                  <a:gd name="T9" fmla="*/ 190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3" h="297">
                    <a:moveTo>
                      <a:pt x="213" y="190"/>
                    </a:moveTo>
                    <a:cubicBezTo>
                      <a:pt x="213" y="249"/>
                      <a:pt x="165" y="297"/>
                      <a:pt x="106" y="297"/>
                    </a:cubicBezTo>
                    <a:cubicBezTo>
                      <a:pt x="47" y="297"/>
                      <a:pt x="0" y="249"/>
                      <a:pt x="0" y="190"/>
                    </a:cubicBezTo>
                    <a:cubicBezTo>
                      <a:pt x="0" y="98"/>
                      <a:pt x="106" y="0"/>
                      <a:pt x="106" y="0"/>
                    </a:cubicBezTo>
                    <a:cubicBezTo>
                      <a:pt x="106" y="0"/>
                      <a:pt x="213" y="94"/>
                      <a:pt x="213" y="1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/>
              </a:p>
            </p:txBody>
          </p:sp>
          <p:sp>
            <p:nvSpPr>
              <p:cNvPr id="47" name="íṩ1ïḑê">
                <a:extLst>
                  <a:ext uri="{FF2B5EF4-FFF2-40B4-BE49-F238E27FC236}">
                    <a16:creationId xmlns:a16="http://schemas.microsoft.com/office/drawing/2014/main" id="{661E8CB3-F13F-4774-BF1E-DB9214A5A5FB}"/>
                  </a:ext>
                </a:extLst>
              </p:cNvPr>
              <p:cNvSpPr/>
              <p:nvPr/>
            </p:nvSpPr>
            <p:spPr>
              <a:xfrm>
                <a:off x="1729637" y="1130301"/>
                <a:ext cx="125898" cy="1594867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id-ID"/>
              </a:p>
            </p:txBody>
          </p:sp>
          <p:cxnSp>
            <p:nvCxnSpPr>
              <p:cNvPr id="48" name="直接连接符 47">
                <a:extLst>
                  <a:ext uri="{FF2B5EF4-FFF2-40B4-BE49-F238E27FC236}">
                    <a16:creationId xmlns:a16="http://schemas.microsoft.com/office/drawing/2014/main" id="{4EC45C45-4DAC-4ECC-AD5B-BDD758712D25}"/>
                  </a:ext>
                </a:extLst>
              </p:cNvPr>
              <p:cNvCxnSpPr/>
              <p:nvPr/>
            </p:nvCxnSpPr>
            <p:spPr>
              <a:xfrm>
                <a:off x="1792457" y="1130301"/>
                <a:ext cx="256" cy="2141013"/>
              </a:xfrm>
              <a:prstGeom prst="line">
                <a:avLst/>
              </a:prstGeom>
              <a:ln w="222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ïṣḻiďe">
                <a:extLst>
                  <a:ext uri="{FF2B5EF4-FFF2-40B4-BE49-F238E27FC236}">
                    <a16:creationId xmlns:a16="http://schemas.microsoft.com/office/drawing/2014/main" id="{0C58CC4D-01CF-4113-B080-3BCD105887F5}"/>
                  </a:ext>
                </a:extLst>
              </p:cNvPr>
              <p:cNvSpPr/>
              <p:nvPr/>
            </p:nvSpPr>
            <p:spPr bwMode="auto">
              <a:xfrm>
                <a:off x="1265589" y="3268529"/>
                <a:ext cx="1053992" cy="971899"/>
              </a:xfrm>
              <a:custGeom>
                <a:avLst/>
                <a:gdLst>
                  <a:gd name="T0" fmla="*/ 0 w 168"/>
                  <a:gd name="T1" fmla="*/ 69 h 154"/>
                  <a:gd name="T2" fmla="*/ 84 w 168"/>
                  <a:gd name="T3" fmla="*/ 154 h 154"/>
                  <a:gd name="T4" fmla="*/ 168 w 168"/>
                  <a:gd name="T5" fmla="*/ 69 h 154"/>
                  <a:gd name="T6" fmla="*/ 149 w 168"/>
                  <a:gd name="T7" fmla="*/ 0 h 154"/>
                  <a:gd name="T8" fmla="*/ 20 w 168"/>
                  <a:gd name="T9" fmla="*/ 0 h 154"/>
                  <a:gd name="T10" fmla="*/ 0 w 168"/>
                  <a:gd name="T11" fmla="*/ 69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8" h="154">
                    <a:moveTo>
                      <a:pt x="0" y="69"/>
                    </a:moveTo>
                    <a:cubicBezTo>
                      <a:pt x="0" y="116"/>
                      <a:pt x="38" y="154"/>
                      <a:pt x="84" y="154"/>
                    </a:cubicBezTo>
                    <a:cubicBezTo>
                      <a:pt x="131" y="154"/>
                      <a:pt x="168" y="116"/>
                      <a:pt x="168" y="69"/>
                    </a:cubicBezTo>
                    <a:cubicBezTo>
                      <a:pt x="168" y="45"/>
                      <a:pt x="160" y="22"/>
                      <a:pt x="149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9" y="22"/>
                      <a:pt x="0" y="46"/>
                      <a:pt x="0" y="6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b="1" i="1" dirty="0">
                    <a:solidFill>
                      <a:schemeClr val="bg1">
                        <a:lumMod val="50000"/>
                      </a:schemeClr>
                    </a:solidFill>
                  </a:rPr>
                  <a:t>01</a:t>
                </a:r>
                <a:endParaRPr lang="id-ID" altLang="zh-CN" b="1" i="1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</p:grpSp>
        <p:sp>
          <p:nvSpPr>
            <p:cNvPr id="44" name="îṣļïḑe">
              <a:extLst>
                <a:ext uri="{FF2B5EF4-FFF2-40B4-BE49-F238E27FC236}">
                  <a16:creationId xmlns:a16="http://schemas.microsoft.com/office/drawing/2014/main" id="{545C4192-6A62-46F8-A7E5-62FCE6C3E216}"/>
                </a:ext>
              </a:extLst>
            </p:cNvPr>
            <p:cNvSpPr txBox="1"/>
            <p:nvPr/>
          </p:nvSpPr>
          <p:spPr bwMode="auto">
            <a:xfrm>
              <a:off x="681335" y="4668176"/>
              <a:ext cx="2222500" cy="11789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r>
                <a:rPr lang="zh-CN" altLang="en-US" sz="3200" b="1" dirty="0"/>
                <a:t>体 位</a:t>
              </a:r>
              <a:endParaRPr lang="en-US" altLang="zh-CN" sz="3200" b="1" dirty="0"/>
            </a:p>
          </p:txBody>
        </p:sp>
        <p:grpSp>
          <p:nvGrpSpPr>
            <p:cNvPr id="7" name="îSļïḍé">
              <a:extLst>
                <a:ext uri="{FF2B5EF4-FFF2-40B4-BE49-F238E27FC236}">
                  <a16:creationId xmlns:a16="http://schemas.microsoft.com/office/drawing/2014/main" id="{468CCD41-FA29-44E3-BB3A-C8836F505616}"/>
                </a:ext>
              </a:extLst>
            </p:cNvPr>
            <p:cNvGrpSpPr/>
            <p:nvPr/>
          </p:nvGrpSpPr>
          <p:grpSpPr>
            <a:xfrm>
              <a:off x="3279378" y="1130301"/>
              <a:ext cx="1326762" cy="3271804"/>
              <a:chOff x="3279378" y="1130301"/>
              <a:chExt cx="1326762" cy="3271804"/>
            </a:xfrm>
          </p:grpSpPr>
          <p:sp>
            <p:nvSpPr>
              <p:cNvPr id="40" name="iṡliḓe">
                <a:extLst>
                  <a:ext uri="{FF2B5EF4-FFF2-40B4-BE49-F238E27FC236}">
                    <a16:creationId xmlns:a16="http://schemas.microsoft.com/office/drawing/2014/main" id="{58E7AF23-990F-4B62-96EF-04E9A92F6BA1}"/>
                  </a:ext>
                </a:extLst>
              </p:cNvPr>
              <p:cNvSpPr/>
              <p:nvPr/>
            </p:nvSpPr>
            <p:spPr bwMode="auto">
              <a:xfrm>
                <a:off x="3279378" y="2527163"/>
                <a:ext cx="1326762" cy="1874942"/>
              </a:xfrm>
              <a:custGeom>
                <a:avLst/>
                <a:gdLst>
                  <a:gd name="T0" fmla="*/ 212 w 212"/>
                  <a:gd name="T1" fmla="*/ 190 h 297"/>
                  <a:gd name="T2" fmla="*/ 106 w 212"/>
                  <a:gd name="T3" fmla="*/ 297 h 297"/>
                  <a:gd name="T4" fmla="*/ 0 w 212"/>
                  <a:gd name="T5" fmla="*/ 190 h 297"/>
                  <a:gd name="T6" fmla="*/ 106 w 212"/>
                  <a:gd name="T7" fmla="*/ 0 h 297"/>
                  <a:gd name="T8" fmla="*/ 212 w 212"/>
                  <a:gd name="T9" fmla="*/ 190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297">
                    <a:moveTo>
                      <a:pt x="212" y="190"/>
                    </a:moveTo>
                    <a:cubicBezTo>
                      <a:pt x="212" y="249"/>
                      <a:pt x="165" y="297"/>
                      <a:pt x="106" y="297"/>
                    </a:cubicBezTo>
                    <a:cubicBezTo>
                      <a:pt x="47" y="297"/>
                      <a:pt x="0" y="249"/>
                      <a:pt x="0" y="190"/>
                    </a:cubicBezTo>
                    <a:cubicBezTo>
                      <a:pt x="0" y="98"/>
                      <a:pt x="106" y="0"/>
                      <a:pt x="106" y="0"/>
                    </a:cubicBezTo>
                    <a:cubicBezTo>
                      <a:pt x="106" y="0"/>
                      <a:pt x="212" y="94"/>
                      <a:pt x="212" y="19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/>
              </a:p>
            </p:txBody>
          </p:sp>
          <p:sp>
            <p:nvSpPr>
              <p:cNvPr id="41" name="ïṩlïḋé">
                <a:extLst>
                  <a:ext uri="{FF2B5EF4-FFF2-40B4-BE49-F238E27FC236}">
                    <a16:creationId xmlns:a16="http://schemas.microsoft.com/office/drawing/2014/main" id="{A2F71F7C-066F-4509-A03D-E661586FD874}"/>
                  </a:ext>
                </a:extLst>
              </p:cNvPr>
              <p:cNvSpPr/>
              <p:nvPr/>
            </p:nvSpPr>
            <p:spPr>
              <a:xfrm>
                <a:off x="3879810" y="1130301"/>
                <a:ext cx="125898" cy="159486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id-ID"/>
              </a:p>
            </p:txBody>
          </p:sp>
          <p:cxnSp>
            <p:nvCxnSpPr>
              <p:cNvPr id="42" name="直接连接符 41">
                <a:extLst>
                  <a:ext uri="{FF2B5EF4-FFF2-40B4-BE49-F238E27FC236}">
                    <a16:creationId xmlns:a16="http://schemas.microsoft.com/office/drawing/2014/main" id="{E43DB09B-800D-494B-8812-5D9334A3CCC5}"/>
                  </a:ext>
                </a:extLst>
              </p:cNvPr>
              <p:cNvCxnSpPr/>
              <p:nvPr/>
            </p:nvCxnSpPr>
            <p:spPr>
              <a:xfrm flipH="1">
                <a:off x="3939095" y="1130301"/>
                <a:ext cx="7328" cy="2368761"/>
              </a:xfrm>
              <a:prstGeom prst="line">
                <a:avLst/>
              </a:prstGeom>
              <a:ln w="222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" name="íSļiḑê">
                <a:extLst>
                  <a:ext uri="{FF2B5EF4-FFF2-40B4-BE49-F238E27FC236}">
                    <a16:creationId xmlns:a16="http://schemas.microsoft.com/office/drawing/2014/main" id="{A281294D-42C6-4AAA-A7B7-7D3C3B82C5AC}"/>
                  </a:ext>
                </a:extLst>
              </p:cNvPr>
              <p:cNvSpPr/>
              <p:nvPr/>
            </p:nvSpPr>
            <p:spPr bwMode="auto">
              <a:xfrm>
                <a:off x="3417086" y="3496276"/>
                <a:ext cx="1051346" cy="744151"/>
              </a:xfrm>
              <a:custGeom>
                <a:avLst/>
                <a:gdLst>
                  <a:gd name="T0" fmla="*/ 0 w 168"/>
                  <a:gd name="T1" fmla="*/ 33 h 118"/>
                  <a:gd name="T2" fmla="*/ 84 w 168"/>
                  <a:gd name="T3" fmla="*/ 118 h 118"/>
                  <a:gd name="T4" fmla="*/ 168 w 168"/>
                  <a:gd name="T5" fmla="*/ 33 h 118"/>
                  <a:gd name="T6" fmla="*/ 163 w 168"/>
                  <a:gd name="T7" fmla="*/ 0 h 118"/>
                  <a:gd name="T8" fmla="*/ 5 w 168"/>
                  <a:gd name="T9" fmla="*/ 0 h 118"/>
                  <a:gd name="T10" fmla="*/ 0 w 168"/>
                  <a:gd name="T11" fmla="*/ 33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8" h="118">
                    <a:moveTo>
                      <a:pt x="0" y="33"/>
                    </a:moveTo>
                    <a:cubicBezTo>
                      <a:pt x="0" y="80"/>
                      <a:pt x="38" y="118"/>
                      <a:pt x="84" y="118"/>
                    </a:cubicBezTo>
                    <a:cubicBezTo>
                      <a:pt x="130" y="118"/>
                      <a:pt x="168" y="80"/>
                      <a:pt x="168" y="33"/>
                    </a:cubicBezTo>
                    <a:cubicBezTo>
                      <a:pt x="168" y="22"/>
                      <a:pt x="166" y="11"/>
                      <a:pt x="163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" y="11"/>
                      <a:pt x="0" y="22"/>
                      <a:pt x="0" y="3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b="1" i="1" dirty="0">
                    <a:solidFill>
                      <a:schemeClr val="bg1">
                        <a:lumMod val="50000"/>
                      </a:schemeClr>
                    </a:solidFill>
                  </a:rPr>
                  <a:t>02</a:t>
                </a:r>
                <a:endParaRPr lang="id-ID" altLang="zh-CN" b="1" i="1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</p:grpSp>
        <p:sp>
          <p:nvSpPr>
            <p:cNvPr id="38" name="íšḻíďé">
              <a:extLst>
                <a:ext uri="{FF2B5EF4-FFF2-40B4-BE49-F238E27FC236}">
                  <a16:creationId xmlns:a16="http://schemas.microsoft.com/office/drawing/2014/main" id="{5032D406-F03A-4E73-93C2-63A3F06C68A8}"/>
                </a:ext>
              </a:extLst>
            </p:cNvPr>
            <p:cNvSpPr txBox="1"/>
            <p:nvPr/>
          </p:nvSpPr>
          <p:spPr bwMode="auto">
            <a:xfrm>
              <a:off x="2833043" y="4668176"/>
              <a:ext cx="2222500" cy="11789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r>
                <a:rPr lang="zh-CN" altLang="en-US" sz="3200" b="1" dirty="0"/>
                <a:t>饮 食</a:t>
              </a:r>
              <a:endParaRPr lang="en-US" altLang="zh-CN" sz="3200" b="1" dirty="0"/>
            </a:p>
          </p:txBody>
        </p:sp>
        <p:grpSp>
          <p:nvGrpSpPr>
            <p:cNvPr id="9" name="íṣ1ïďè">
              <a:extLst>
                <a:ext uri="{FF2B5EF4-FFF2-40B4-BE49-F238E27FC236}">
                  <a16:creationId xmlns:a16="http://schemas.microsoft.com/office/drawing/2014/main" id="{BA08D34F-F4C9-4ADD-A036-0457B0C99815}"/>
                </a:ext>
              </a:extLst>
            </p:cNvPr>
            <p:cNvGrpSpPr/>
            <p:nvPr/>
          </p:nvGrpSpPr>
          <p:grpSpPr>
            <a:xfrm>
              <a:off x="5425581" y="1130301"/>
              <a:ext cx="1334704" cy="3271804"/>
              <a:chOff x="5425581" y="1130301"/>
              <a:chExt cx="1334704" cy="3271804"/>
            </a:xfrm>
          </p:grpSpPr>
          <p:sp>
            <p:nvSpPr>
              <p:cNvPr id="34" name="îṡḷíḑe">
                <a:extLst>
                  <a:ext uri="{FF2B5EF4-FFF2-40B4-BE49-F238E27FC236}">
                    <a16:creationId xmlns:a16="http://schemas.microsoft.com/office/drawing/2014/main" id="{C86BFE41-D1A7-4E7C-97C0-E1E62674081F}"/>
                  </a:ext>
                </a:extLst>
              </p:cNvPr>
              <p:cNvSpPr/>
              <p:nvPr/>
            </p:nvSpPr>
            <p:spPr bwMode="auto">
              <a:xfrm>
                <a:off x="5425581" y="2527163"/>
                <a:ext cx="1334704" cy="1874942"/>
              </a:xfrm>
              <a:custGeom>
                <a:avLst/>
                <a:gdLst>
                  <a:gd name="T0" fmla="*/ 213 w 213"/>
                  <a:gd name="T1" fmla="*/ 190 h 297"/>
                  <a:gd name="T2" fmla="*/ 106 w 213"/>
                  <a:gd name="T3" fmla="*/ 297 h 297"/>
                  <a:gd name="T4" fmla="*/ 0 w 213"/>
                  <a:gd name="T5" fmla="*/ 190 h 297"/>
                  <a:gd name="T6" fmla="*/ 106 w 213"/>
                  <a:gd name="T7" fmla="*/ 0 h 297"/>
                  <a:gd name="T8" fmla="*/ 213 w 213"/>
                  <a:gd name="T9" fmla="*/ 190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3" h="297">
                    <a:moveTo>
                      <a:pt x="213" y="190"/>
                    </a:moveTo>
                    <a:cubicBezTo>
                      <a:pt x="213" y="249"/>
                      <a:pt x="165" y="297"/>
                      <a:pt x="106" y="297"/>
                    </a:cubicBezTo>
                    <a:cubicBezTo>
                      <a:pt x="47" y="297"/>
                      <a:pt x="0" y="249"/>
                      <a:pt x="0" y="190"/>
                    </a:cubicBezTo>
                    <a:cubicBezTo>
                      <a:pt x="0" y="98"/>
                      <a:pt x="106" y="0"/>
                      <a:pt x="106" y="0"/>
                    </a:cubicBezTo>
                    <a:cubicBezTo>
                      <a:pt x="106" y="0"/>
                      <a:pt x="213" y="94"/>
                      <a:pt x="213" y="19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/>
              </a:p>
            </p:txBody>
          </p:sp>
          <p:sp>
            <p:nvSpPr>
              <p:cNvPr id="35" name="îṣḻïḍè">
                <a:extLst>
                  <a:ext uri="{FF2B5EF4-FFF2-40B4-BE49-F238E27FC236}">
                    <a16:creationId xmlns:a16="http://schemas.microsoft.com/office/drawing/2014/main" id="{A9C265FF-6C94-4DF7-817A-05FEEE4C7CF3}"/>
                  </a:ext>
                </a:extLst>
              </p:cNvPr>
              <p:cNvSpPr/>
              <p:nvPr/>
            </p:nvSpPr>
            <p:spPr>
              <a:xfrm>
                <a:off x="6029985" y="1130301"/>
                <a:ext cx="125898" cy="1594867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id-ID"/>
              </a:p>
            </p:txBody>
          </p:sp>
          <p:cxnSp>
            <p:nvCxnSpPr>
              <p:cNvPr id="36" name="直接连接符 35">
                <a:extLst>
                  <a:ext uri="{FF2B5EF4-FFF2-40B4-BE49-F238E27FC236}">
                    <a16:creationId xmlns:a16="http://schemas.microsoft.com/office/drawing/2014/main" id="{A5BC79A5-B472-46A4-A941-19461C859232}"/>
                  </a:ext>
                </a:extLst>
              </p:cNvPr>
              <p:cNvCxnSpPr/>
              <p:nvPr/>
            </p:nvCxnSpPr>
            <p:spPr>
              <a:xfrm>
                <a:off x="6091815" y="1130301"/>
                <a:ext cx="0" cy="2474553"/>
              </a:xfrm>
              <a:prstGeom prst="line">
                <a:avLst/>
              </a:prstGeom>
              <a:ln w="222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ïŝliḍé">
                <a:extLst>
                  <a:ext uri="{FF2B5EF4-FFF2-40B4-BE49-F238E27FC236}">
                    <a16:creationId xmlns:a16="http://schemas.microsoft.com/office/drawing/2014/main" id="{7A763DB5-5314-4FA8-83DE-06DA243F8AFC}"/>
                  </a:ext>
                </a:extLst>
              </p:cNvPr>
              <p:cNvSpPr/>
              <p:nvPr/>
            </p:nvSpPr>
            <p:spPr bwMode="auto">
              <a:xfrm>
                <a:off x="5565937" y="3604854"/>
                <a:ext cx="1053992" cy="635574"/>
              </a:xfrm>
              <a:custGeom>
                <a:avLst/>
                <a:gdLst>
                  <a:gd name="T0" fmla="*/ 0 w 168"/>
                  <a:gd name="T1" fmla="*/ 16 h 101"/>
                  <a:gd name="T2" fmla="*/ 84 w 168"/>
                  <a:gd name="T3" fmla="*/ 101 h 101"/>
                  <a:gd name="T4" fmla="*/ 168 w 168"/>
                  <a:gd name="T5" fmla="*/ 16 h 101"/>
                  <a:gd name="T6" fmla="*/ 167 w 168"/>
                  <a:gd name="T7" fmla="*/ 0 h 101"/>
                  <a:gd name="T8" fmla="*/ 1 w 168"/>
                  <a:gd name="T9" fmla="*/ 0 h 101"/>
                  <a:gd name="T10" fmla="*/ 0 w 168"/>
                  <a:gd name="T11" fmla="*/ 16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8" h="101">
                    <a:moveTo>
                      <a:pt x="0" y="16"/>
                    </a:moveTo>
                    <a:cubicBezTo>
                      <a:pt x="0" y="63"/>
                      <a:pt x="38" y="101"/>
                      <a:pt x="84" y="101"/>
                    </a:cubicBezTo>
                    <a:cubicBezTo>
                      <a:pt x="131" y="101"/>
                      <a:pt x="168" y="63"/>
                      <a:pt x="168" y="16"/>
                    </a:cubicBezTo>
                    <a:cubicBezTo>
                      <a:pt x="168" y="11"/>
                      <a:pt x="168" y="6"/>
                      <a:pt x="167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6"/>
                      <a:pt x="0" y="11"/>
                      <a:pt x="0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b="1" i="1" dirty="0">
                    <a:solidFill>
                      <a:schemeClr val="bg1">
                        <a:lumMod val="50000"/>
                      </a:schemeClr>
                    </a:solidFill>
                  </a:rPr>
                  <a:t>03</a:t>
                </a:r>
                <a:endParaRPr lang="id-ID" altLang="zh-CN" b="1" i="1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</p:grpSp>
        <p:sp>
          <p:nvSpPr>
            <p:cNvPr id="32" name="îSļïḑê">
              <a:extLst>
                <a:ext uri="{FF2B5EF4-FFF2-40B4-BE49-F238E27FC236}">
                  <a16:creationId xmlns:a16="http://schemas.microsoft.com/office/drawing/2014/main" id="{9157A5B4-07E0-4222-8AC4-46C4F32E5180}"/>
                </a:ext>
              </a:extLst>
            </p:cNvPr>
            <p:cNvSpPr txBox="1"/>
            <p:nvPr/>
          </p:nvSpPr>
          <p:spPr bwMode="auto">
            <a:xfrm>
              <a:off x="4984751" y="4668176"/>
              <a:ext cx="2222500" cy="11789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r>
                <a:rPr lang="zh-CN" altLang="en-US" sz="3200" b="1" dirty="0"/>
                <a:t>活 动</a:t>
              </a:r>
              <a:endParaRPr lang="en-US" altLang="zh-CN" sz="3200" b="1" dirty="0"/>
            </a:p>
          </p:txBody>
        </p:sp>
        <p:grpSp>
          <p:nvGrpSpPr>
            <p:cNvPr id="11" name="íṣlídê">
              <a:extLst>
                <a:ext uri="{FF2B5EF4-FFF2-40B4-BE49-F238E27FC236}">
                  <a16:creationId xmlns:a16="http://schemas.microsoft.com/office/drawing/2014/main" id="{6812CF91-4F44-43B7-81C7-23257D07F333}"/>
                </a:ext>
              </a:extLst>
            </p:cNvPr>
            <p:cNvGrpSpPr/>
            <p:nvPr/>
          </p:nvGrpSpPr>
          <p:grpSpPr>
            <a:xfrm>
              <a:off x="7578402" y="1130300"/>
              <a:ext cx="1329410" cy="3271806"/>
              <a:chOff x="7578402" y="1130300"/>
              <a:chExt cx="1329410" cy="3271806"/>
            </a:xfrm>
          </p:grpSpPr>
          <p:sp>
            <p:nvSpPr>
              <p:cNvPr id="28" name="ïṣļíḋê">
                <a:extLst>
                  <a:ext uri="{FF2B5EF4-FFF2-40B4-BE49-F238E27FC236}">
                    <a16:creationId xmlns:a16="http://schemas.microsoft.com/office/drawing/2014/main" id="{301DB572-D3E2-40CC-9458-5386C37E1090}"/>
                  </a:ext>
                </a:extLst>
              </p:cNvPr>
              <p:cNvSpPr/>
              <p:nvPr/>
            </p:nvSpPr>
            <p:spPr bwMode="auto">
              <a:xfrm>
                <a:off x="7578402" y="2527163"/>
                <a:ext cx="1329410" cy="1874943"/>
              </a:xfrm>
              <a:custGeom>
                <a:avLst/>
                <a:gdLst>
                  <a:gd name="T0" fmla="*/ 212 w 212"/>
                  <a:gd name="T1" fmla="*/ 190 h 297"/>
                  <a:gd name="T2" fmla="*/ 106 w 212"/>
                  <a:gd name="T3" fmla="*/ 297 h 297"/>
                  <a:gd name="T4" fmla="*/ 0 w 212"/>
                  <a:gd name="T5" fmla="*/ 190 h 297"/>
                  <a:gd name="T6" fmla="*/ 106 w 212"/>
                  <a:gd name="T7" fmla="*/ 0 h 297"/>
                  <a:gd name="T8" fmla="*/ 212 w 212"/>
                  <a:gd name="T9" fmla="*/ 190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2" h="297">
                    <a:moveTo>
                      <a:pt x="212" y="190"/>
                    </a:moveTo>
                    <a:cubicBezTo>
                      <a:pt x="212" y="249"/>
                      <a:pt x="165" y="297"/>
                      <a:pt x="106" y="297"/>
                    </a:cubicBezTo>
                    <a:cubicBezTo>
                      <a:pt x="47" y="297"/>
                      <a:pt x="0" y="249"/>
                      <a:pt x="0" y="190"/>
                    </a:cubicBezTo>
                    <a:cubicBezTo>
                      <a:pt x="0" y="98"/>
                      <a:pt x="106" y="0"/>
                      <a:pt x="106" y="0"/>
                    </a:cubicBezTo>
                    <a:cubicBezTo>
                      <a:pt x="106" y="0"/>
                      <a:pt x="212" y="94"/>
                      <a:pt x="212" y="19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/>
              </a:p>
            </p:txBody>
          </p:sp>
          <p:sp>
            <p:nvSpPr>
              <p:cNvPr id="29" name="ïšľíḍê">
                <a:extLst>
                  <a:ext uri="{FF2B5EF4-FFF2-40B4-BE49-F238E27FC236}">
                    <a16:creationId xmlns:a16="http://schemas.microsoft.com/office/drawing/2014/main" id="{0D75E9F3-2E84-4B23-8991-7FF026894EB0}"/>
                  </a:ext>
                </a:extLst>
              </p:cNvPr>
              <p:cNvSpPr/>
              <p:nvPr/>
            </p:nvSpPr>
            <p:spPr>
              <a:xfrm>
                <a:off x="8180158" y="1130300"/>
                <a:ext cx="125898" cy="159486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id-ID"/>
              </a:p>
            </p:txBody>
          </p:sp>
          <p:cxnSp>
            <p:nvCxnSpPr>
              <p:cNvPr id="30" name="直接连接符 29">
                <a:extLst>
                  <a:ext uri="{FF2B5EF4-FFF2-40B4-BE49-F238E27FC236}">
                    <a16:creationId xmlns:a16="http://schemas.microsoft.com/office/drawing/2014/main" id="{44C4F112-306F-402C-98A1-10778B019F90}"/>
                  </a:ext>
                </a:extLst>
              </p:cNvPr>
              <p:cNvCxnSpPr/>
              <p:nvPr/>
            </p:nvCxnSpPr>
            <p:spPr>
              <a:xfrm flipH="1">
                <a:off x="8241362" y="1130300"/>
                <a:ext cx="3490" cy="1624610"/>
              </a:xfrm>
              <a:prstGeom prst="line">
                <a:avLst/>
              </a:prstGeom>
              <a:ln w="222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ïṥľíḍè">
                <a:extLst>
                  <a:ext uri="{FF2B5EF4-FFF2-40B4-BE49-F238E27FC236}">
                    <a16:creationId xmlns:a16="http://schemas.microsoft.com/office/drawing/2014/main" id="{57FD4FC9-DFCF-48DF-A456-1E70CB80D554}"/>
                  </a:ext>
                </a:extLst>
              </p:cNvPr>
              <p:cNvSpPr/>
              <p:nvPr/>
            </p:nvSpPr>
            <p:spPr bwMode="auto">
              <a:xfrm>
                <a:off x="7716110" y="2752126"/>
                <a:ext cx="1053994" cy="1488302"/>
              </a:xfrm>
              <a:custGeom>
                <a:avLst/>
                <a:gdLst>
                  <a:gd name="T0" fmla="*/ 168 w 168"/>
                  <a:gd name="T1" fmla="*/ 151 h 236"/>
                  <a:gd name="T2" fmla="*/ 84 w 168"/>
                  <a:gd name="T3" fmla="*/ 236 h 236"/>
                  <a:gd name="T4" fmla="*/ 0 w 168"/>
                  <a:gd name="T5" fmla="*/ 151 h 236"/>
                  <a:gd name="T6" fmla="*/ 84 w 168"/>
                  <a:gd name="T7" fmla="*/ 0 h 236"/>
                  <a:gd name="T8" fmla="*/ 168 w 168"/>
                  <a:gd name="T9" fmla="*/ 151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" h="236">
                    <a:moveTo>
                      <a:pt x="168" y="151"/>
                    </a:moveTo>
                    <a:cubicBezTo>
                      <a:pt x="168" y="198"/>
                      <a:pt x="130" y="236"/>
                      <a:pt x="84" y="236"/>
                    </a:cubicBezTo>
                    <a:cubicBezTo>
                      <a:pt x="38" y="236"/>
                      <a:pt x="0" y="198"/>
                      <a:pt x="0" y="151"/>
                    </a:cubicBezTo>
                    <a:cubicBezTo>
                      <a:pt x="0" y="78"/>
                      <a:pt x="84" y="0"/>
                      <a:pt x="84" y="0"/>
                    </a:cubicBezTo>
                    <a:cubicBezTo>
                      <a:pt x="84" y="0"/>
                      <a:pt x="168" y="75"/>
                      <a:pt x="168" y="1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b="1" i="1" dirty="0">
                    <a:solidFill>
                      <a:schemeClr val="bg1">
                        <a:lumMod val="50000"/>
                      </a:schemeClr>
                    </a:solidFill>
                  </a:rPr>
                  <a:t>04</a:t>
                </a:r>
                <a:endParaRPr lang="id-ID" altLang="zh-CN" b="1" i="1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</p:grpSp>
        <p:sp>
          <p:nvSpPr>
            <p:cNvPr id="26" name="íṧlîḓê">
              <a:extLst>
                <a:ext uri="{FF2B5EF4-FFF2-40B4-BE49-F238E27FC236}">
                  <a16:creationId xmlns:a16="http://schemas.microsoft.com/office/drawing/2014/main" id="{23410A56-94C7-4914-81A0-D586C33E26A1}"/>
                </a:ext>
              </a:extLst>
            </p:cNvPr>
            <p:cNvSpPr txBox="1"/>
            <p:nvPr/>
          </p:nvSpPr>
          <p:spPr bwMode="auto">
            <a:xfrm>
              <a:off x="7136459" y="4668176"/>
              <a:ext cx="2222500" cy="1432519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r>
                <a:rPr lang="zh-CN" altLang="en-US" sz="2400" b="1" dirty="0"/>
                <a:t>胃肠减压及腹腔引流的护理</a:t>
              </a:r>
              <a:endParaRPr lang="en-US" altLang="zh-CN" sz="2400" b="1" dirty="0"/>
            </a:p>
          </p:txBody>
        </p:sp>
        <p:grpSp>
          <p:nvGrpSpPr>
            <p:cNvPr id="13" name="ïş1íḍé">
              <a:extLst>
                <a:ext uri="{FF2B5EF4-FFF2-40B4-BE49-F238E27FC236}">
                  <a16:creationId xmlns:a16="http://schemas.microsoft.com/office/drawing/2014/main" id="{33BE033E-8CFB-49F3-9FB5-DC7A950C672F}"/>
                </a:ext>
              </a:extLst>
            </p:cNvPr>
            <p:cNvGrpSpPr/>
            <p:nvPr/>
          </p:nvGrpSpPr>
          <p:grpSpPr>
            <a:xfrm>
              <a:off x="9730738" y="1130301"/>
              <a:ext cx="1337354" cy="3271804"/>
              <a:chOff x="9730738" y="1130301"/>
              <a:chExt cx="1337354" cy="3271804"/>
            </a:xfrm>
          </p:grpSpPr>
          <p:sp>
            <p:nvSpPr>
              <p:cNvPr id="22" name="ïsľïďê">
                <a:extLst>
                  <a:ext uri="{FF2B5EF4-FFF2-40B4-BE49-F238E27FC236}">
                    <a16:creationId xmlns:a16="http://schemas.microsoft.com/office/drawing/2014/main" id="{F19ED086-FAB1-43EC-88A5-3A6BBA5064C5}"/>
                  </a:ext>
                </a:extLst>
              </p:cNvPr>
              <p:cNvSpPr/>
              <p:nvPr/>
            </p:nvSpPr>
            <p:spPr bwMode="auto">
              <a:xfrm>
                <a:off x="9730738" y="2527163"/>
                <a:ext cx="1337354" cy="1874942"/>
              </a:xfrm>
              <a:custGeom>
                <a:avLst/>
                <a:gdLst>
                  <a:gd name="T0" fmla="*/ 213 w 213"/>
                  <a:gd name="T1" fmla="*/ 190 h 297"/>
                  <a:gd name="T2" fmla="*/ 106 w 213"/>
                  <a:gd name="T3" fmla="*/ 297 h 297"/>
                  <a:gd name="T4" fmla="*/ 0 w 213"/>
                  <a:gd name="T5" fmla="*/ 190 h 297"/>
                  <a:gd name="T6" fmla="*/ 106 w 213"/>
                  <a:gd name="T7" fmla="*/ 0 h 297"/>
                  <a:gd name="T8" fmla="*/ 213 w 213"/>
                  <a:gd name="T9" fmla="*/ 190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3" h="297">
                    <a:moveTo>
                      <a:pt x="213" y="190"/>
                    </a:moveTo>
                    <a:cubicBezTo>
                      <a:pt x="213" y="249"/>
                      <a:pt x="165" y="297"/>
                      <a:pt x="106" y="297"/>
                    </a:cubicBezTo>
                    <a:cubicBezTo>
                      <a:pt x="48" y="297"/>
                      <a:pt x="0" y="249"/>
                      <a:pt x="0" y="190"/>
                    </a:cubicBezTo>
                    <a:cubicBezTo>
                      <a:pt x="0" y="98"/>
                      <a:pt x="106" y="0"/>
                      <a:pt x="106" y="0"/>
                    </a:cubicBezTo>
                    <a:cubicBezTo>
                      <a:pt x="106" y="0"/>
                      <a:pt x="213" y="94"/>
                      <a:pt x="213" y="19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/>
              </a:p>
            </p:txBody>
          </p:sp>
          <p:sp>
            <p:nvSpPr>
              <p:cNvPr id="23" name="ïṣļíḋè">
                <a:extLst>
                  <a:ext uri="{FF2B5EF4-FFF2-40B4-BE49-F238E27FC236}">
                    <a16:creationId xmlns:a16="http://schemas.microsoft.com/office/drawing/2014/main" id="{DA75B558-0D9B-46BC-8A86-D940F601EB4E}"/>
                  </a:ext>
                </a:extLst>
              </p:cNvPr>
              <p:cNvSpPr/>
              <p:nvPr/>
            </p:nvSpPr>
            <p:spPr bwMode="auto">
              <a:xfrm>
                <a:off x="9881686" y="3819359"/>
                <a:ext cx="1035457" cy="421068"/>
              </a:xfrm>
              <a:custGeom>
                <a:avLst/>
                <a:gdLst>
                  <a:gd name="T0" fmla="*/ 0 w 165"/>
                  <a:gd name="T1" fmla="*/ 0 h 67"/>
                  <a:gd name="T2" fmla="*/ 82 w 165"/>
                  <a:gd name="T3" fmla="*/ 67 h 67"/>
                  <a:gd name="T4" fmla="*/ 165 w 165"/>
                  <a:gd name="T5" fmla="*/ 0 h 67"/>
                  <a:gd name="T6" fmla="*/ 0 w 165"/>
                  <a:gd name="T7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5" h="67">
                    <a:moveTo>
                      <a:pt x="0" y="0"/>
                    </a:moveTo>
                    <a:cubicBezTo>
                      <a:pt x="8" y="38"/>
                      <a:pt x="42" y="67"/>
                      <a:pt x="82" y="67"/>
                    </a:cubicBezTo>
                    <a:cubicBezTo>
                      <a:pt x="123" y="67"/>
                      <a:pt x="157" y="38"/>
                      <a:pt x="165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 lnSpcReduction="10000"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b="1" i="1" dirty="0">
                    <a:solidFill>
                      <a:schemeClr val="bg1">
                        <a:lumMod val="50000"/>
                      </a:schemeClr>
                    </a:solidFill>
                  </a:rPr>
                  <a:t>05</a:t>
                </a:r>
                <a:endParaRPr lang="id-ID" altLang="zh-CN" b="1" i="1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4" name="iSļîďe">
                <a:extLst>
                  <a:ext uri="{FF2B5EF4-FFF2-40B4-BE49-F238E27FC236}">
                    <a16:creationId xmlns:a16="http://schemas.microsoft.com/office/drawing/2014/main" id="{68EC4514-33FE-4951-AA2A-FF24CB1FE74D}"/>
                  </a:ext>
                </a:extLst>
              </p:cNvPr>
              <p:cNvSpPr/>
              <p:nvPr/>
            </p:nvSpPr>
            <p:spPr>
              <a:xfrm>
                <a:off x="10336466" y="1130301"/>
                <a:ext cx="125898" cy="1594867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id-ID"/>
              </a:p>
            </p:txBody>
          </p:sp>
          <p:cxnSp>
            <p:nvCxnSpPr>
              <p:cNvPr id="25" name="直接连接符 24">
                <a:extLst>
                  <a:ext uri="{FF2B5EF4-FFF2-40B4-BE49-F238E27FC236}">
                    <a16:creationId xmlns:a16="http://schemas.microsoft.com/office/drawing/2014/main" id="{9D103AF8-4BD5-44AF-B962-DD33109B45EE}"/>
                  </a:ext>
                </a:extLst>
              </p:cNvPr>
              <p:cNvCxnSpPr/>
              <p:nvPr/>
            </p:nvCxnSpPr>
            <p:spPr>
              <a:xfrm>
                <a:off x="10398910" y="1130301"/>
                <a:ext cx="1009" cy="2691844"/>
              </a:xfrm>
              <a:prstGeom prst="line">
                <a:avLst/>
              </a:prstGeom>
              <a:ln w="222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" name="íśľidé">
              <a:extLst>
                <a:ext uri="{FF2B5EF4-FFF2-40B4-BE49-F238E27FC236}">
                  <a16:creationId xmlns:a16="http://schemas.microsoft.com/office/drawing/2014/main" id="{37A9FDE7-06E1-4945-AE21-BA6F2D12B9F8}"/>
                </a:ext>
              </a:extLst>
            </p:cNvPr>
            <p:cNvSpPr txBox="1"/>
            <p:nvPr/>
          </p:nvSpPr>
          <p:spPr bwMode="auto">
            <a:xfrm>
              <a:off x="9288165" y="4668176"/>
              <a:ext cx="2222500" cy="117893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  <a:spcBef>
                  <a:spcPct val="0"/>
                </a:spcBef>
              </a:pPr>
              <a:r>
                <a:rPr lang="zh-CN" altLang="en-US" sz="3200" b="1" dirty="0"/>
                <a:t>病情观察</a:t>
              </a:r>
              <a:endParaRPr lang="en-US" altLang="zh-CN" sz="3200" b="1" dirty="0"/>
            </a:p>
          </p:txBody>
        </p:sp>
        <p:cxnSp>
          <p:nvCxnSpPr>
            <p:cNvPr id="15" name="直接连接符 14">
              <a:extLst>
                <a:ext uri="{FF2B5EF4-FFF2-40B4-BE49-F238E27FC236}">
                  <a16:creationId xmlns:a16="http://schemas.microsoft.com/office/drawing/2014/main" id="{A81F273E-07ED-4349-90F4-6928649EDF44}"/>
                </a:ext>
              </a:extLst>
            </p:cNvPr>
            <p:cNvCxnSpPr/>
            <p:nvPr/>
          </p:nvCxnSpPr>
          <p:spPr>
            <a:xfrm>
              <a:off x="2868439" y="5209540"/>
              <a:ext cx="0" cy="93726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ADFD1FB1-2F71-4A87-938D-CA4095ADA089}"/>
                </a:ext>
              </a:extLst>
            </p:cNvPr>
            <p:cNvCxnSpPr/>
            <p:nvPr/>
          </p:nvCxnSpPr>
          <p:spPr>
            <a:xfrm>
              <a:off x="5020147" y="5209540"/>
              <a:ext cx="0" cy="93726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37FF97F9-8F6B-44AF-A8F2-AE268DEFDC69}"/>
                </a:ext>
              </a:extLst>
            </p:cNvPr>
            <p:cNvCxnSpPr/>
            <p:nvPr/>
          </p:nvCxnSpPr>
          <p:spPr>
            <a:xfrm>
              <a:off x="7171854" y="5209540"/>
              <a:ext cx="0" cy="93726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id="{18E6D42E-53AA-478C-BE42-BB0B29795423}"/>
                </a:ext>
              </a:extLst>
            </p:cNvPr>
            <p:cNvCxnSpPr/>
            <p:nvPr/>
          </p:nvCxnSpPr>
          <p:spPr>
            <a:xfrm>
              <a:off x="9323563" y="5209540"/>
              <a:ext cx="0" cy="93726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>
              <a:extLst>
                <a:ext uri="{FF2B5EF4-FFF2-40B4-BE49-F238E27FC236}">
                  <a16:creationId xmlns:a16="http://schemas.microsoft.com/office/drawing/2014/main" id="{31464DF5-C961-48BB-9003-93E1740FC919}"/>
                </a:ext>
              </a:extLst>
            </p:cNvPr>
            <p:cNvCxnSpPr/>
            <p:nvPr/>
          </p:nvCxnSpPr>
          <p:spPr>
            <a:xfrm>
              <a:off x="669925" y="1123950"/>
              <a:ext cx="10850563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41402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2FD0AC1-8D34-4C3F-9F9C-20485C32D1B6}"/>
              </a:ext>
            </a:extLst>
          </p:cNvPr>
          <p:cNvSpPr txBox="1"/>
          <p:nvPr/>
        </p:nvSpPr>
        <p:spPr>
          <a:xfrm>
            <a:off x="669925" y="483969"/>
            <a:ext cx="2591435" cy="646331"/>
          </a:xfrm>
          <a:prstGeom prst="rect">
            <a:avLst/>
          </a:prstGeom>
          <a:solidFill>
            <a:srgbClr val="E1F8F7"/>
          </a:solidFill>
        </p:spPr>
        <p:txBody>
          <a:bodyPr wrap="square" rtlCol="0">
            <a:spAutoFit/>
          </a:bodyPr>
          <a:lstStyle/>
          <a:p>
            <a:r>
              <a:rPr lang="zh-CN" altLang="en-US" sz="3600" b="1" dirty="0"/>
              <a:t>健康教育</a:t>
            </a:r>
          </a:p>
        </p:txBody>
      </p:sp>
      <p:grpSp>
        <p:nvGrpSpPr>
          <p:cNvPr id="39" name="26479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8303BB90-6D43-41E4-B9DC-0640FDA295D6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124978" y="1729500"/>
            <a:ext cx="7140916" cy="3975084"/>
            <a:chOff x="4377984" y="1644659"/>
            <a:chExt cx="7140916" cy="3975084"/>
          </a:xfrm>
        </p:grpSpPr>
        <p:grpSp>
          <p:nvGrpSpPr>
            <p:cNvPr id="50" name="íš1ïḑe">
              <a:extLst>
                <a:ext uri="{FF2B5EF4-FFF2-40B4-BE49-F238E27FC236}">
                  <a16:creationId xmlns:a16="http://schemas.microsoft.com/office/drawing/2014/main" id="{2AA8ADF4-D0BF-45FA-B500-24DE43187C3D}"/>
                </a:ext>
              </a:extLst>
            </p:cNvPr>
            <p:cNvGrpSpPr/>
            <p:nvPr/>
          </p:nvGrpSpPr>
          <p:grpSpPr>
            <a:xfrm>
              <a:off x="4377984" y="1644659"/>
              <a:ext cx="3532147" cy="3975084"/>
              <a:chOff x="4577550" y="1893099"/>
              <a:chExt cx="3090637" cy="3478207"/>
            </a:xfrm>
          </p:grpSpPr>
          <p:sp>
            <p:nvSpPr>
              <p:cNvPr id="62" name="îşliďe">
                <a:extLst>
                  <a:ext uri="{FF2B5EF4-FFF2-40B4-BE49-F238E27FC236}">
                    <a16:creationId xmlns:a16="http://schemas.microsoft.com/office/drawing/2014/main" id="{42902A22-5AC3-4F92-9239-8473E5CAA8A7}"/>
                  </a:ext>
                </a:extLst>
              </p:cNvPr>
              <p:cNvSpPr/>
              <p:nvPr/>
            </p:nvSpPr>
            <p:spPr bwMode="auto">
              <a:xfrm>
                <a:off x="4577550" y="2271999"/>
                <a:ext cx="2419514" cy="2934621"/>
              </a:xfrm>
              <a:custGeom>
                <a:avLst/>
                <a:gdLst>
                  <a:gd name="T0" fmla="*/ 893 w 940"/>
                  <a:gd name="T1" fmla="*/ 1142 h 1142"/>
                  <a:gd name="T2" fmla="*/ 42 w 940"/>
                  <a:gd name="T3" fmla="*/ 1138 h 1142"/>
                  <a:gd name="T4" fmla="*/ 0 w 940"/>
                  <a:gd name="T5" fmla="*/ 1096 h 1142"/>
                  <a:gd name="T6" fmla="*/ 5 w 940"/>
                  <a:gd name="T7" fmla="*/ 42 h 1142"/>
                  <a:gd name="T8" fmla="*/ 47 w 940"/>
                  <a:gd name="T9" fmla="*/ 0 h 1142"/>
                  <a:gd name="T10" fmla="*/ 898 w 940"/>
                  <a:gd name="T11" fmla="*/ 4 h 1142"/>
                  <a:gd name="T12" fmla="*/ 940 w 940"/>
                  <a:gd name="T13" fmla="*/ 46 h 1142"/>
                  <a:gd name="T14" fmla="*/ 935 w 940"/>
                  <a:gd name="T15" fmla="*/ 1100 h 1142"/>
                  <a:gd name="T16" fmla="*/ 893 w 940"/>
                  <a:gd name="T17" fmla="*/ 1142 h 1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40" h="1142">
                    <a:moveTo>
                      <a:pt x="893" y="1142"/>
                    </a:moveTo>
                    <a:cubicBezTo>
                      <a:pt x="42" y="1138"/>
                      <a:pt x="42" y="1138"/>
                      <a:pt x="42" y="1138"/>
                    </a:cubicBezTo>
                    <a:cubicBezTo>
                      <a:pt x="19" y="1138"/>
                      <a:pt x="0" y="1119"/>
                      <a:pt x="0" y="1096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5" y="18"/>
                      <a:pt x="24" y="0"/>
                      <a:pt x="47" y="0"/>
                    </a:cubicBezTo>
                    <a:cubicBezTo>
                      <a:pt x="898" y="4"/>
                      <a:pt x="898" y="4"/>
                      <a:pt x="898" y="4"/>
                    </a:cubicBezTo>
                    <a:cubicBezTo>
                      <a:pt x="921" y="4"/>
                      <a:pt x="940" y="23"/>
                      <a:pt x="940" y="46"/>
                    </a:cubicBezTo>
                    <a:cubicBezTo>
                      <a:pt x="935" y="1100"/>
                      <a:pt x="935" y="1100"/>
                      <a:pt x="935" y="1100"/>
                    </a:cubicBezTo>
                    <a:cubicBezTo>
                      <a:pt x="935" y="1123"/>
                      <a:pt x="916" y="1142"/>
                      <a:pt x="893" y="1142"/>
                    </a:cubicBezTo>
                    <a:close/>
                  </a:path>
                </a:pathLst>
              </a:custGeom>
              <a:solidFill>
                <a:srgbClr val="ADBE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63" name="íṥḻiḑê">
                <a:extLst>
                  <a:ext uri="{FF2B5EF4-FFF2-40B4-BE49-F238E27FC236}">
                    <a16:creationId xmlns:a16="http://schemas.microsoft.com/office/drawing/2014/main" id="{205BB699-0174-4CF7-B239-81ACA51D40D7}"/>
                  </a:ext>
                </a:extLst>
              </p:cNvPr>
              <p:cNvSpPr/>
              <p:nvPr/>
            </p:nvSpPr>
            <p:spPr bwMode="auto">
              <a:xfrm>
                <a:off x="4658034" y="2399537"/>
                <a:ext cx="2212729" cy="2743933"/>
              </a:xfrm>
              <a:custGeom>
                <a:avLst/>
                <a:gdLst>
                  <a:gd name="T0" fmla="*/ 1777 w 1787"/>
                  <a:gd name="T1" fmla="*/ 2216 h 2216"/>
                  <a:gd name="T2" fmla="*/ 0 w 1787"/>
                  <a:gd name="T3" fmla="*/ 2207 h 2216"/>
                  <a:gd name="T4" fmla="*/ 10 w 1787"/>
                  <a:gd name="T5" fmla="*/ 0 h 2216"/>
                  <a:gd name="T6" fmla="*/ 1787 w 1787"/>
                  <a:gd name="T7" fmla="*/ 9 h 2216"/>
                  <a:gd name="T8" fmla="*/ 1777 w 1787"/>
                  <a:gd name="T9" fmla="*/ 2216 h 2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87" h="2216">
                    <a:moveTo>
                      <a:pt x="1777" y="2216"/>
                    </a:moveTo>
                    <a:lnTo>
                      <a:pt x="0" y="2207"/>
                    </a:lnTo>
                    <a:lnTo>
                      <a:pt x="10" y="0"/>
                    </a:lnTo>
                    <a:lnTo>
                      <a:pt x="1787" y="9"/>
                    </a:lnTo>
                    <a:lnTo>
                      <a:pt x="1777" y="2216"/>
                    </a:lnTo>
                    <a:close/>
                  </a:path>
                </a:pathLst>
              </a:custGeom>
              <a:solidFill>
                <a:srgbClr val="8096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64" name="îṩļiḋè">
                <a:extLst>
                  <a:ext uri="{FF2B5EF4-FFF2-40B4-BE49-F238E27FC236}">
                    <a16:creationId xmlns:a16="http://schemas.microsoft.com/office/drawing/2014/main" id="{E07E0C3E-FC4F-42F2-B8AA-606EC27F0348}"/>
                  </a:ext>
                </a:extLst>
              </p:cNvPr>
              <p:cNvSpPr/>
              <p:nvPr/>
            </p:nvSpPr>
            <p:spPr bwMode="auto">
              <a:xfrm>
                <a:off x="4703850" y="2366105"/>
                <a:ext cx="2166914" cy="2743933"/>
              </a:xfrm>
              <a:custGeom>
                <a:avLst/>
                <a:gdLst>
                  <a:gd name="T0" fmla="*/ 1740 w 1750"/>
                  <a:gd name="T1" fmla="*/ 2216 h 2216"/>
                  <a:gd name="T2" fmla="*/ 0 w 1750"/>
                  <a:gd name="T3" fmla="*/ 2209 h 2216"/>
                  <a:gd name="T4" fmla="*/ 11 w 1750"/>
                  <a:gd name="T5" fmla="*/ 0 h 2216"/>
                  <a:gd name="T6" fmla="*/ 1750 w 1750"/>
                  <a:gd name="T7" fmla="*/ 9 h 2216"/>
                  <a:gd name="T8" fmla="*/ 1740 w 1750"/>
                  <a:gd name="T9" fmla="*/ 2216 h 2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50" h="2216">
                    <a:moveTo>
                      <a:pt x="1740" y="2216"/>
                    </a:moveTo>
                    <a:lnTo>
                      <a:pt x="0" y="2209"/>
                    </a:lnTo>
                    <a:lnTo>
                      <a:pt x="11" y="0"/>
                    </a:lnTo>
                    <a:lnTo>
                      <a:pt x="1750" y="9"/>
                    </a:lnTo>
                    <a:lnTo>
                      <a:pt x="1740" y="221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65" name="î$ḻîḍê">
                <a:extLst>
                  <a:ext uri="{FF2B5EF4-FFF2-40B4-BE49-F238E27FC236}">
                    <a16:creationId xmlns:a16="http://schemas.microsoft.com/office/drawing/2014/main" id="{FE0F056E-6748-47D5-9294-2CEA5BC9577A}"/>
                  </a:ext>
                </a:extLst>
              </p:cNvPr>
              <p:cNvSpPr/>
              <p:nvPr/>
            </p:nvSpPr>
            <p:spPr bwMode="auto">
              <a:xfrm>
                <a:off x="6335845" y="2893594"/>
                <a:ext cx="303368" cy="303368"/>
              </a:xfrm>
              <a:custGeom>
                <a:avLst/>
                <a:gdLst>
                  <a:gd name="T0" fmla="*/ 245 w 245"/>
                  <a:gd name="T1" fmla="*/ 245 h 245"/>
                  <a:gd name="T2" fmla="*/ 0 w 245"/>
                  <a:gd name="T3" fmla="*/ 245 h 245"/>
                  <a:gd name="T4" fmla="*/ 0 w 245"/>
                  <a:gd name="T5" fmla="*/ 0 h 245"/>
                  <a:gd name="T6" fmla="*/ 245 w 245"/>
                  <a:gd name="T7" fmla="*/ 0 h 245"/>
                  <a:gd name="T8" fmla="*/ 245 w 245"/>
                  <a:gd name="T9" fmla="*/ 245 h 245"/>
                  <a:gd name="T10" fmla="*/ 14 w 245"/>
                  <a:gd name="T11" fmla="*/ 230 h 245"/>
                  <a:gd name="T12" fmla="*/ 230 w 245"/>
                  <a:gd name="T13" fmla="*/ 230 h 245"/>
                  <a:gd name="T14" fmla="*/ 230 w 245"/>
                  <a:gd name="T15" fmla="*/ 12 h 245"/>
                  <a:gd name="T16" fmla="*/ 14 w 245"/>
                  <a:gd name="T17" fmla="*/ 12 h 245"/>
                  <a:gd name="T18" fmla="*/ 14 w 245"/>
                  <a:gd name="T19" fmla="*/ 23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5" h="245">
                    <a:moveTo>
                      <a:pt x="245" y="245"/>
                    </a:moveTo>
                    <a:lnTo>
                      <a:pt x="0" y="245"/>
                    </a:lnTo>
                    <a:lnTo>
                      <a:pt x="0" y="0"/>
                    </a:lnTo>
                    <a:lnTo>
                      <a:pt x="245" y="0"/>
                    </a:lnTo>
                    <a:lnTo>
                      <a:pt x="245" y="245"/>
                    </a:lnTo>
                    <a:close/>
                    <a:moveTo>
                      <a:pt x="14" y="230"/>
                    </a:moveTo>
                    <a:lnTo>
                      <a:pt x="230" y="230"/>
                    </a:lnTo>
                    <a:lnTo>
                      <a:pt x="230" y="12"/>
                    </a:lnTo>
                    <a:lnTo>
                      <a:pt x="14" y="12"/>
                    </a:lnTo>
                    <a:lnTo>
                      <a:pt x="14" y="230"/>
                    </a:lnTo>
                    <a:close/>
                  </a:path>
                </a:pathLst>
              </a:custGeom>
              <a:solidFill>
                <a:srgbClr val="D1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lnSpcReduction="1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66" name="iṩľiďé">
                <a:extLst>
                  <a:ext uri="{FF2B5EF4-FFF2-40B4-BE49-F238E27FC236}">
                    <a16:creationId xmlns:a16="http://schemas.microsoft.com/office/drawing/2014/main" id="{7435C285-2C76-45A6-8786-2C20183DCCA5}"/>
                  </a:ext>
                </a:extLst>
              </p:cNvPr>
              <p:cNvSpPr/>
              <p:nvPr/>
            </p:nvSpPr>
            <p:spPr bwMode="auto">
              <a:xfrm>
                <a:off x="4953973" y="2893594"/>
                <a:ext cx="630263" cy="59435"/>
              </a:xfrm>
              <a:prstGeom prst="rect">
                <a:avLst/>
              </a:prstGeom>
              <a:solidFill>
                <a:srgbClr val="ADBE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67" name="iṥliḋe">
                <a:extLst>
                  <a:ext uri="{FF2B5EF4-FFF2-40B4-BE49-F238E27FC236}">
                    <a16:creationId xmlns:a16="http://schemas.microsoft.com/office/drawing/2014/main" id="{3C12E617-22A8-4B68-B701-B194D93A8ADD}"/>
                  </a:ext>
                </a:extLst>
              </p:cNvPr>
              <p:cNvSpPr/>
              <p:nvPr/>
            </p:nvSpPr>
            <p:spPr bwMode="auto">
              <a:xfrm>
                <a:off x="4953973" y="3014941"/>
                <a:ext cx="1206042" cy="19812"/>
              </a:xfrm>
              <a:prstGeom prst="rect">
                <a:avLst/>
              </a:prstGeom>
              <a:solidFill>
                <a:srgbClr val="D1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68" name="ïSḻiḓè">
                <a:extLst>
                  <a:ext uri="{FF2B5EF4-FFF2-40B4-BE49-F238E27FC236}">
                    <a16:creationId xmlns:a16="http://schemas.microsoft.com/office/drawing/2014/main" id="{55E4ED23-3588-44FA-B604-BD4E6EE13266}"/>
                  </a:ext>
                </a:extLst>
              </p:cNvPr>
              <p:cNvSpPr/>
              <p:nvPr/>
            </p:nvSpPr>
            <p:spPr bwMode="auto">
              <a:xfrm>
                <a:off x="4953973" y="3094188"/>
                <a:ext cx="1206042" cy="21050"/>
              </a:xfrm>
              <a:prstGeom prst="rect">
                <a:avLst/>
              </a:prstGeom>
              <a:solidFill>
                <a:srgbClr val="D1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69" name="ís1iďe">
                <a:extLst>
                  <a:ext uri="{FF2B5EF4-FFF2-40B4-BE49-F238E27FC236}">
                    <a16:creationId xmlns:a16="http://schemas.microsoft.com/office/drawing/2014/main" id="{FD814614-9FD0-4203-8496-7C1C52B498DE}"/>
                  </a:ext>
                </a:extLst>
              </p:cNvPr>
              <p:cNvSpPr/>
              <p:nvPr/>
            </p:nvSpPr>
            <p:spPr bwMode="auto">
              <a:xfrm>
                <a:off x="4953973" y="3175912"/>
                <a:ext cx="1206042" cy="21050"/>
              </a:xfrm>
              <a:prstGeom prst="rect">
                <a:avLst/>
              </a:prstGeom>
              <a:solidFill>
                <a:srgbClr val="D1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70" name="isļiḍê">
                <a:extLst>
                  <a:ext uri="{FF2B5EF4-FFF2-40B4-BE49-F238E27FC236}">
                    <a16:creationId xmlns:a16="http://schemas.microsoft.com/office/drawing/2014/main" id="{341607E6-8AE1-4013-B211-45B90E26A1E5}"/>
                  </a:ext>
                </a:extLst>
              </p:cNvPr>
              <p:cNvSpPr/>
              <p:nvPr/>
            </p:nvSpPr>
            <p:spPr bwMode="auto">
              <a:xfrm>
                <a:off x="6335845" y="3487948"/>
                <a:ext cx="303368" cy="303368"/>
              </a:xfrm>
              <a:custGeom>
                <a:avLst/>
                <a:gdLst>
                  <a:gd name="T0" fmla="*/ 245 w 245"/>
                  <a:gd name="T1" fmla="*/ 245 h 245"/>
                  <a:gd name="T2" fmla="*/ 0 w 245"/>
                  <a:gd name="T3" fmla="*/ 245 h 245"/>
                  <a:gd name="T4" fmla="*/ 0 w 245"/>
                  <a:gd name="T5" fmla="*/ 0 h 245"/>
                  <a:gd name="T6" fmla="*/ 245 w 245"/>
                  <a:gd name="T7" fmla="*/ 0 h 245"/>
                  <a:gd name="T8" fmla="*/ 245 w 245"/>
                  <a:gd name="T9" fmla="*/ 245 h 245"/>
                  <a:gd name="T10" fmla="*/ 14 w 245"/>
                  <a:gd name="T11" fmla="*/ 230 h 245"/>
                  <a:gd name="T12" fmla="*/ 230 w 245"/>
                  <a:gd name="T13" fmla="*/ 230 h 245"/>
                  <a:gd name="T14" fmla="*/ 230 w 245"/>
                  <a:gd name="T15" fmla="*/ 14 h 245"/>
                  <a:gd name="T16" fmla="*/ 14 w 245"/>
                  <a:gd name="T17" fmla="*/ 14 h 245"/>
                  <a:gd name="T18" fmla="*/ 14 w 245"/>
                  <a:gd name="T19" fmla="*/ 23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5" h="245">
                    <a:moveTo>
                      <a:pt x="245" y="245"/>
                    </a:moveTo>
                    <a:lnTo>
                      <a:pt x="0" y="245"/>
                    </a:lnTo>
                    <a:lnTo>
                      <a:pt x="0" y="0"/>
                    </a:lnTo>
                    <a:lnTo>
                      <a:pt x="245" y="0"/>
                    </a:lnTo>
                    <a:lnTo>
                      <a:pt x="245" y="245"/>
                    </a:lnTo>
                    <a:close/>
                    <a:moveTo>
                      <a:pt x="14" y="230"/>
                    </a:moveTo>
                    <a:lnTo>
                      <a:pt x="230" y="230"/>
                    </a:lnTo>
                    <a:lnTo>
                      <a:pt x="230" y="14"/>
                    </a:lnTo>
                    <a:lnTo>
                      <a:pt x="14" y="14"/>
                    </a:lnTo>
                    <a:lnTo>
                      <a:pt x="14" y="230"/>
                    </a:lnTo>
                    <a:close/>
                  </a:path>
                </a:pathLst>
              </a:custGeom>
              <a:solidFill>
                <a:srgbClr val="D1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lnSpcReduction="1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71" name="îšļíďè">
                <a:extLst>
                  <a:ext uri="{FF2B5EF4-FFF2-40B4-BE49-F238E27FC236}">
                    <a16:creationId xmlns:a16="http://schemas.microsoft.com/office/drawing/2014/main" id="{EF119502-105E-4BE8-9B03-878021719619}"/>
                  </a:ext>
                </a:extLst>
              </p:cNvPr>
              <p:cNvSpPr/>
              <p:nvPr/>
            </p:nvSpPr>
            <p:spPr bwMode="auto">
              <a:xfrm>
                <a:off x="4953973" y="3487948"/>
                <a:ext cx="630263" cy="58198"/>
              </a:xfrm>
              <a:prstGeom prst="rect">
                <a:avLst/>
              </a:prstGeom>
              <a:solidFill>
                <a:srgbClr val="ADBE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72" name="î$ļíde">
                <a:extLst>
                  <a:ext uri="{FF2B5EF4-FFF2-40B4-BE49-F238E27FC236}">
                    <a16:creationId xmlns:a16="http://schemas.microsoft.com/office/drawing/2014/main" id="{50CBA366-E2CF-4BFE-8DF3-0227380DFC36}"/>
                  </a:ext>
                </a:extLst>
              </p:cNvPr>
              <p:cNvSpPr/>
              <p:nvPr/>
            </p:nvSpPr>
            <p:spPr bwMode="auto">
              <a:xfrm>
                <a:off x="4953973" y="3610533"/>
                <a:ext cx="1206042" cy="21050"/>
              </a:xfrm>
              <a:prstGeom prst="rect">
                <a:avLst/>
              </a:prstGeom>
              <a:solidFill>
                <a:srgbClr val="D1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73" name="íṩlíḍe">
                <a:extLst>
                  <a:ext uri="{FF2B5EF4-FFF2-40B4-BE49-F238E27FC236}">
                    <a16:creationId xmlns:a16="http://schemas.microsoft.com/office/drawing/2014/main" id="{CE59DF56-A645-4D37-8168-85DF5DF13BC4}"/>
                  </a:ext>
                </a:extLst>
              </p:cNvPr>
              <p:cNvSpPr/>
              <p:nvPr/>
            </p:nvSpPr>
            <p:spPr bwMode="auto">
              <a:xfrm>
                <a:off x="4953973" y="3691018"/>
                <a:ext cx="1206042" cy="19812"/>
              </a:xfrm>
              <a:prstGeom prst="rect">
                <a:avLst/>
              </a:prstGeom>
              <a:solidFill>
                <a:srgbClr val="D1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74" name="íṩľîḋe">
                <a:extLst>
                  <a:ext uri="{FF2B5EF4-FFF2-40B4-BE49-F238E27FC236}">
                    <a16:creationId xmlns:a16="http://schemas.microsoft.com/office/drawing/2014/main" id="{69347255-4030-46EE-A52C-61C1B8B6D29E}"/>
                  </a:ext>
                </a:extLst>
              </p:cNvPr>
              <p:cNvSpPr/>
              <p:nvPr/>
            </p:nvSpPr>
            <p:spPr bwMode="auto">
              <a:xfrm>
                <a:off x="4953973" y="3772742"/>
                <a:ext cx="1206042" cy="18574"/>
              </a:xfrm>
              <a:prstGeom prst="rect">
                <a:avLst/>
              </a:prstGeom>
              <a:solidFill>
                <a:srgbClr val="D1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75" name="ï$ļíďê">
                <a:extLst>
                  <a:ext uri="{FF2B5EF4-FFF2-40B4-BE49-F238E27FC236}">
                    <a16:creationId xmlns:a16="http://schemas.microsoft.com/office/drawing/2014/main" id="{FA40857F-8491-4119-9D82-3A834F8D76F1}"/>
                  </a:ext>
                </a:extLst>
              </p:cNvPr>
              <p:cNvSpPr/>
              <p:nvPr/>
            </p:nvSpPr>
            <p:spPr bwMode="auto">
              <a:xfrm>
                <a:off x="6335845" y="4083539"/>
                <a:ext cx="303368" cy="303368"/>
              </a:xfrm>
              <a:custGeom>
                <a:avLst/>
                <a:gdLst>
                  <a:gd name="T0" fmla="*/ 245 w 245"/>
                  <a:gd name="T1" fmla="*/ 245 h 245"/>
                  <a:gd name="T2" fmla="*/ 0 w 245"/>
                  <a:gd name="T3" fmla="*/ 245 h 245"/>
                  <a:gd name="T4" fmla="*/ 0 w 245"/>
                  <a:gd name="T5" fmla="*/ 0 h 245"/>
                  <a:gd name="T6" fmla="*/ 245 w 245"/>
                  <a:gd name="T7" fmla="*/ 0 h 245"/>
                  <a:gd name="T8" fmla="*/ 245 w 245"/>
                  <a:gd name="T9" fmla="*/ 245 h 245"/>
                  <a:gd name="T10" fmla="*/ 14 w 245"/>
                  <a:gd name="T11" fmla="*/ 231 h 245"/>
                  <a:gd name="T12" fmla="*/ 230 w 245"/>
                  <a:gd name="T13" fmla="*/ 231 h 245"/>
                  <a:gd name="T14" fmla="*/ 230 w 245"/>
                  <a:gd name="T15" fmla="*/ 15 h 245"/>
                  <a:gd name="T16" fmla="*/ 14 w 245"/>
                  <a:gd name="T17" fmla="*/ 15 h 245"/>
                  <a:gd name="T18" fmla="*/ 14 w 245"/>
                  <a:gd name="T19" fmla="*/ 231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5" h="245">
                    <a:moveTo>
                      <a:pt x="245" y="245"/>
                    </a:moveTo>
                    <a:lnTo>
                      <a:pt x="0" y="245"/>
                    </a:lnTo>
                    <a:lnTo>
                      <a:pt x="0" y="0"/>
                    </a:lnTo>
                    <a:lnTo>
                      <a:pt x="245" y="0"/>
                    </a:lnTo>
                    <a:lnTo>
                      <a:pt x="245" y="245"/>
                    </a:lnTo>
                    <a:close/>
                    <a:moveTo>
                      <a:pt x="14" y="231"/>
                    </a:moveTo>
                    <a:lnTo>
                      <a:pt x="230" y="231"/>
                    </a:lnTo>
                    <a:lnTo>
                      <a:pt x="230" y="15"/>
                    </a:lnTo>
                    <a:lnTo>
                      <a:pt x="14" y="15"/>
                    </a:lnTo>
                    <a:lnTo>
                      <a:pt x="14" y="231"/>
                    </a:lnTo>
                    <a:close/>
                  </a:path>
                </a:pathLst>
              </a:custGeom>
              <a:solidFill>
                <a:srgbClr val="D1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lnSpcReduction="1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76" name="ïṧlíḍè">
                <a:extLst>
                  <a:ext uri="{FF2B5EF4-FFF2-40B4-BE49-F238E27FC236}">
                    <a16:creationId xmlns:a16="http://schemas.microsoft.com/office/drawing/2014/main" id="{A114AAF1-4CBD-44D8-957C-7F08DDD42C2D}"/>
                  </a:ext>
                </a:extLst>
              </p:cNvPr>
              <p:cNvSpPr/>
              <p:nvPr/>
            </p:nvSpPr>
            <p:spPr bwMode="auto">
              <a:xfrm>
                <a:off x="4953973" y="4083539"/>
                <a:ext cx="630263" cy="59435"/>
              </a:xfrm>
              <a:prstGeom prst="rect">
                <a:avLst/>
              </a:prstGeom>
              <a:solidFill>
                <a:srgbClr val="ADBE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77" name="íṩlíḑé">
                <a:extLst>
                  <a:ext uri="{FF2B5EF4-FFF2-40B4-BE49-F238E27FC236}">
                    <a16:creationId xmlns:a16="http://schemas.microsoft.com/office/drawing/2014/main" id="{6DD01C06-1217-4B2D-A816-08003738CE4B}"/>
                  </a:ext>
                </a:extLst>
              </p:cNvPr>
              <p:cNvSpPr/>
              <p:nvPr/>
            </p:nvSpPr>
            <p:spPr bwMode="auto">
              <a:xfrm>
                <a:off x="4953973" y="4207363"/>
                <a:ext cx="1206042" cy="17335"/>
              </a:xfrm>
              <a:prstGeom prst="rect">
                <a:avLst/>
              </a:prstGeom>
              <a:solidFill>
                <a:srgbClr val="D1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78" name="ïS1ïḑè">
                <a:extLst>
                  <a:ext uri="{FF2B5EF4-FFF2-40B4-BE49-F238E27FC236}">
                    <a16:creationId xmlns:a16="http://schemas.microsoft.com/office/drawing/2014/main" id="{FA7CBEF8-BBBC-4AAE-A962-DF5FFC71B604}"/>
                  </a:ext>
                </a:extLst>
              </p:cNvPr>
              <p:cNvSpPr/>
              <p:nvPr/>
            </p:nvSpPr>
            <p:spPr bwMode="auto">
              <a:xfrm>
                <a:off x="4953973" y="4286610"/>
                <a:ext cx="1206042" cy="21050"/>
              </a:xfrm>
              <a:prstGeom prst="rect">
                <a:avLst/>
              </a:prstGeom>
              <a:solidFill>
                <a:srgbClr val="D1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79" name="ïŝḷîďê">
                <a:extLst>
                  <a:ext uri="{FF2B5EF4-FFF2-40B4-BE49-F238E27FC236}">
                    <a16:creationId xmlns:a16="http://schemas.microsoft.com/office/drawing/2014/main" id="{5AD1A220-B819-4BB1-B9B0-F8A6B5728DF4}"/>
                  </a:ext>
                </a:extLst>
              </p:cNvPr>
              <p:cNvSpPr/>
              <p:nvPr/>
            </p:nvSpPr>
            <p:spPr bwMode="auto">
              <a:xfrm>
                <a:off x="4953973" y="4367096"/>
                <a:ext cx="1206042" cy="19812"/>
              </a:xfrm>
              <a:prstGeom prst="rect">
                <a:avLst/>
              </a:prstGeom>
              <a:solidFill>
                <a:srgbClr val="D1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80" name="îşļíḑé">
                <a:extLst>
                  <a:ext uri="{FF2B5EF4-FFF2-40B4-BE49-F238E27FC236}">
                    <a16:creationId xmlns:a16="http://schemas.microsoft.com/office/drawing/2014/main" id="{1A980C9E-9BE5-4A1E-87EB-CDC48DB72510}"/>
                  </a:ext>
                </a:extLst>
              </p:cNvPr>
              <p:cNvSpPr/>
              <p:nvPr/>
            </p:nvSpPr>
            <p:spPr bwMode="auto">
              <a:xfrm>
                <a:off x="6324701" y="2821776"/>
                <a:ext cx="438336" cy="315751"/>
              </a:xfrm>
              <a:custGeom>
                <a:avLst/>
                <a:gdLst>
                  <a:gd name="T0" fmla="*/ 0 w 170"/>
                  <a:gd name="T1" fmla="*/ 56 h 123"/>
                  <a:gd name="T2" fmla="*/ 61 w 170"/>
                  <a:gd name="T3" fmla="*/ 123 h 123"/>
                  <a:gd name="T4" fmla="*/ 170 w 170"/>
                  <a:gd name="T5" fmla="*/ 20 h 123"/>
                  <a:gd name="T6" fmla="*/ 155 w 170"/>
                  <a:gd name="T7" fmla="*/ 0 h 123"/>
                  <a:gd name="T8" fmla="*/ 63 w 170"/>
                  <a:gd name="T9" fmla="*/ 104 h 123"/>
                  <a:gd name="T10" fmla="*/ 16 w 170"/>
                  <a:gd name="T11" fmla="*/ 37 h 123"/>
                  <a:gd name="T12" fmla="*/ 0 w 170"/>
                  <a:gd name="T13" fmla="*/ 56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0" h="123">
                    <a:moveTo>
                      <a:pt x="0" y="56"/>
                    </a:moveTo>
                    <a:cubicBezTo>
                      <a:pt x="0" y="56"/>
                      <a:pt x="39" y="79"/>
                      <a:pt x="61" y="123"/>
                    </a:cubicBezTo>
                    <a:cubicBezTo>
                      <a:pt x="61" y="123"/>
                      <a:pt x="113" y="40"/>
                      <a:pt x="170" y="20"/>
                    </a:cubicBezTo>
                    <a:cubicBezTo>
                      <a:pt x="155" y="0"/>
                      <a:pt x="155" y="0"/>
                      <a:pt x="155" y="0"/>
                    </a:cubicBezTo>
                    <a:cubicBezTo>
                      <a:pt x="155" y="0"/>
                      <a:pt x="106" y="30"/>
                      <a:pt x="63" y="104"/>
                    </a:cubicBezTo>
                    <a:cubicBezTo>
                      <a:pt x="63" y="104"/>
                      <a:pt x="47" y="62"/>
                      <a:pt x="16" y="37"/>
                    </a:cubicBezTo>
                    <a:lnTo>
                      <a:pt x="0" y="56"/>
                    </a:lnTo>
                    <a:close/>
                  </a:path>
                </a:pathLst>
              </a:custGeom>
              <a:solidFill>
                <a:srgbClr val="116E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lnSpcReduction="1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81" name="ïslîḍe">
                <a:extLst>
                  <a:ext uri="{FF2B5EF4-FFF2-40B4-BE49-F238E27FC236}">
                    <a16:creationId xmlns:a16="http://schemas.microsoft.com/office/drawing/2014/main" id="{F1A850B7-A930-4C24-9ACE-679F72402292}"/>
                  </a:ext>
                </a:extLst>
              </p:cNvPr>
              <p:cNvSpPr/>
              <p:nvPr/>
            </p:nvSpPr>
            <p:spPr bwMode="auto">
              <a:xfrm>
                <a:off x="6395280" y="3407462"/>
                <a:ext cx="437098" cy="313274"/>
              </a:xfrm>
              <a:custGeom>
                <a:avLst/>
                <a:gdLst>
                  <a:gd name="T0" fmla="*/ 0 w 170"/>
                  <a:gd name="T1" fmla="*/ 55 h 122"/>
                  <a:gd name="T2" fmla="*/ 61 w 170"/>
                  <a:gd name="T3" fmla="*/ 122 h 122"/>
                  <a:gd name="T4" fmla="*/ 170 w 170"/>
                  <a:gd name="T5" fmla="*/ 19 h 122"/>
                  <a:gd name="T6" fmla="*/ 155 w 170"/>
                  <a:gd name="T7" fmla="*/ 0 h 122"/>
                  <a:gd name="T8" fmla="*/ 64 w 170"/>
                  <a:gd name="T9" fmla="*/ 103 h 122"/>
                  <a:gd name="T10" fmla="*/ 17 w 170"/>
                  <a:gd name="T11" fmla="*/ 36 h 122"/>
                  <a:gd name="T12" fmla="*/ 0 w 170"/>
                  <a:gd name="T13" fmla="*/ 55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0" h="122">
                    <a:moveTo>
                      <a:pt x="0" y="55"/>
                    </a:moveTo>
                    <a:cubicBezTo>
                      <a:pt x="0" y="55"/>
                      <a:pt x="39" y="78"/>
                      <a:pt x="61" y="122"/>
                    </a:cubicBezTo>
                    <a:cubicBezTo>
                      <a:pt x="61" y="122"/>
                      <a:pt x="113" y="40"/>
                      <a:pt x="170" y="19"/>
                    </a:cubicBezTo>
                    <a:cubicBezTo>
                      <a:pt x="155" y="0"/>
                      <a:pt x="155" y="0"/>
                      <a:pt x="155" y="0"/>
                    </a:cubicBezTo>
                    <a:cubicBezTo>
                      <a:pt x="155" y="0"/>
                      <a:pt x="106" y="29"/>
                      <a:pt x="64" y="103"/>
                    </a:cubicBezTo>
                    <a:cubicBezTo>
                      <a:pt x="64" y="103"/>
                      <a:pt x="47" y="61"/>
                      <a:pt x="17" y="36"/>
                    </a:cubicBezTo>
                    <a:lnTo>
                      <a:pt x="0" y="55"/>
                    </a:lnTo>
                    <a:close/>
                  </a:path>
                </a:pathLst>
              </a:custGeom>
              <a:solidFill>
                <a:srgbClr val="116E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lnSpcReduction="1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82" name="ï$1ïdê">
                <a:extLst>
                  <a:ext uri="{FF2B5EF4-FFF2-40B4-BE49-F238E27FC236}">
                    <a16:creationId xmlns:a16="http://schemas.microsoft.com/office/drawing/2014/main" id="{0AE9D41C-DC0E-4DFA-A0E8-4FB956118281}"/>
                  </a:ext>
                </a:extLst>
              </p:cNvPr>
              <p:cNvSpPr/>
              <p:nvPr/>
            </p:nvSpPr>
            <p:spPr bwMode="auto">
              <a:xfrm>
                <a:off x="6603304" y="3651395"/>
                <a:ext cx="234027" cy="273651"/>
              </a:xfrm>
              <a:custGeom>
                <a:avLst/>
                <a:gdLst>
                  <a:gd name="T0" fmla="*/ 91 w 91"/>
                  <a:gd name="T1" fmla="*/ 89 h 106"/>
                  <a:gd name="T2" fmla="*/ 17 w 91"/>
                  <a:gd name="T3" fmla="*/ 0 h 106"/>
                  <a:gd name="T4" fmla="*/ 0 w 91"/>
                  <a:gd name="T5" fmla="*/ 24 h 106"/>
                  <a:gd name="T6" fmla="*/ 59 w 91"/>
                  <a:gd name="T7" fmla="*/ 106 h 106"/>
                  <a:gd name="T8" fmla="*/ 91 w 91"/>
                  <a:gd name="T9" fmla="*/ 89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" h="106">
                    <a:moveTo>
                      <a:pt x="91" y="89"/>
                    </a:moveTo>
                    <a:cubicBezTo>
                      <a:pt x="91" y="89"/>
                      <a:pt x="43" y="17"/>
                      <a:pt x="17" y="0"/>
                    </a:cubicBezTo>
                    <a:cubicBezTo>
                      <a:pt x="17" y="0"/>
                      <a:pt x="5" y="14"/>
                      <a:pt x="0" y="24"/>
                    </a:cubicBezTo>
                    <a:cubicBezTo>
                      <a:pt x="0" y="24"/>
                      <a:pt x="48" y="84"/>
                      <a:pt x="59" y="106"/>
                    </a:cubicBezTo>
                    <a:lnTo>
                      <a:pt x="91" y="89"/>
                    </a:lnTo>
                    <a:close/>
                  </a:path>
                </a:pathLst>
              </a:custGeom>
              <a:solidFill>
                <a:srgbClr val="3D9E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925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83" name="ïšḻïďè">
                <a:extLst>
                  <a:ext uri="{FF2B5EF4-FFF2-40B4-BE49-F238E27FC236}">
                    <a16:creationId xmlns:a16="http://schemas.microsoft.com/office/drawing/2014/main" id="{2DD047AA-CE81-4632-AC29-A91D7805EFC4}"/>
                  </a:ext>
                </a:extLst>
              </p:cNvPr>
              <p:cNvSpPr/>
              <p:nvPr/>
            </p:nvSpPr>
            <p:spPr bwMode="auto">
              <a:xfrm>
                <a:off x="6916578" y="5160805"/>
                <a:ext cx="240218" cy="157256"/>
              </a:xfrm>
              <a:custGeom>
                <a:avLst/>
                <a:gdLst>
                  <a:gd name="T0" fmla="*/ 39 w 93"/>
                  <a:gd name="T1" fmla="*/ 9 h 61"/>
                  <a:gd name="T2" fmla="*/ 21 w 93"/>
                  <a:gd name="T3" fmla="*/ 33 h 61"/>
                  <a:gd name="T4" fmla="*/ 6 w 93"/>
                  <a:gd name="T5" fmla="*/ 58 h 61"/>
                  <a:gd name="T6" fmla="*/ 72 w 93"/>
                  <a:gd name="T7" fmla="*/ 40 h 61"/>
                  <a:gd name="T8" fmla="*/ 71 w 93"/>
                  <a:gd name="T9" fmla="*/ 0 h 61"/>
                  <a:gd name="T10" fmla="*/ 39 w 93"/>
                  <a:gd name="T11" fmla="*/ 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" h="61">
                    <a:moveTo>
                      <a:pt x="39" y="9"/>
                    </a:moveTo>
                    <a:cubicBezTo>
                      <a:pt x="39" y="9"/>
                      <a:pt x="34" y="21"/>
                      <a:pt x="21" y="33"/>
                    </a:cubicBezTo>
                    <a:cubicBezTo>
                      <a:pt x="8" y="46"/>
                      <a:pt x="0" y="56"/>
                      <a:pt x="6" y="58"/>
                    </a:cubicBezTo>
                    <a:cubicBezTo>
                      <a:pt x="12" y="61"/>
                      <a:pt x="61" y="45"/>
                      <a:pt x="72" y="40"/>
                    </a:cubicBezTo>
                    <a:cubicBezTo>
                      <a:pt x="84" y="35"/>
                      <a:pt x="93" y="35"/>
                      <a:pt x="71" y="0"/>
                    </a:cubicBezTo>
                    <a:lnTo>
                      <a:pt x="39" y="9"/>
                    </a:lnTo>
                    <a:close/>
                  </a:path>
                </a:pathLst>
              </a:custGeom>
              <a:solidFill>
                <a:srgbClr val="3D9E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40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84" name="iṧḷiḑè">
                <a:extLst>
                  <a:ext uri="{FF2B5EF4-FFF2-40B4-BE49-F238E27FC236}">
                    <a16:creationId xmlns:a16="http://schemas.microsoft.com/office/drawing/2014/main" id="{666D7DB8-8311-40F5-AC7B-75294BD879DB}"/>
                  </a:ext>
                </a:extLst>
              </p:cNvPr>
              <p:cNvSpPr/>
              <p:nvPr/>
            </p:nvSpPr>
            <p:spPr bwMode="auto">
              <a:xfrm>
                <a:off x="6824948" y="4427769"/>
                <a:ext cx="699604" cy="756563"/>
              </a:xfrm>
              <a:custGeom>
                <a:avLst/>
                <a:gdLst>
                  <a:gd name="T0" fmla="*/ 20 w 272"/>
                  <a:gd name="T1" fmla="*/ 36 h 294"/>
                  <a:gd name="T2" fmla="*/ 75 w 272"/>
                  <a:gd name="T3" fmla="*/ 294 h 294"/>
                  <a:gd name="T4" fmla="*/ 107 w 272"/>
                  <a:gd name="T5" fmla="*/ 285 h 294"/>
                  <a:gd name="T6" fmla="*/ 66 w 272"/>
                  <a:gd name="T7" fmla="*/ 73 h 294"/>
                  <a:gd name="T8" fmla="*/ 86 w 272"/>
                  <a:gd name="T9" fmla="*/ 70 h 294"/>
                  <a:gd name="T10" fmla="*/ 272 w 272"/>
                  <a:gd name="T11" fmla="*/ 169 h 294"/>
                  <a:gd name="T12" fmla="*/ 272 w 272"/>
                  <a:gd name="T13" fmla="*/ 133 h 294"/>
                  <a:gd name="T14" fmla="*/ 125 w 272"/>
                  <a:gd name="T15" fmla="*/ 0 h 294"/>
                  <a:gd name="T16" fmla="*/ 20 w 272"/>
                  <a:gd name="T17" fmla="*/ 36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2" h="294">
                    <a:moveTo>
                      <a:pt x="20" y="36"/>
                    </a:moveTo>
                    <a:cubicBezTo>
                      <a:pt x="20" y="36"/>
                      <a:pt x="0" y="180"/>
                      <a:pt x="75" y="294"/>
                    </a:cubicBezTo>
                    <a:cubicBezTo>
                      <a:pt x="107" y="285"/>
                      <a:pt x="107" y="285"/>
                      <a:pt x="107" y="285"/>
                    </a:cubicBezTo>
                    <a:cubicBezTo>
                      <a:pt x="107" y="285"/>
                      <a:pt x="53" y="152"/>
                      <a:pt x="66" y="73"/>
                    </a:cubicBezTo>
                    <a:cubicBezTo>
                      <a:pt x="86" y="70"/>
                      <a:pt x="86" y="70"/>
                      <a:pt x="86" y="70"/>
                    </a:cubicBezTo>
                    <a:cubicBezTo>
                      <a:pt x="86" y="70"/>
                      <a:pt x="122" y="169"/>
                      <a:pt x="272" y="169"/>
                    </a:cubicBezTo>
                    <a:cubicBezTo>
                      <a:pt x="272" y="133"/>
                      <a:pt x="272" y="133"/>
                      <a:pt x="272" y="133"/>
                    </a:cubicBezTo>
                    <a:cubicBezTo>
                      <a:pt x="272" y="133"/>
                      <a:pt x="124" y="136"/>
                      <a:pt x="125" y="0"/>
                    </a:cubicBezTo>
                    <a:lnTo>
                      <a:pt x="20" y="36"/>
                    </a:lnTo>
                    <a:close/>
                  </a:path>
                </a:pathLst>
              </a:custGeom>
              <a:solidFill>
                <a:srgbClr val="062F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85" name="iṡḻíḓè">
                <a:extLst>
                  <a:ext uri="{FF2B5EF4-FFF2-40B4-BE49-F238E27FC236}">
                    <a16:creationId xmlns:a16="http://schemas.microsoft.com/office/drawing/2014/main" id="{2182E64B-0AA3-4D08-92F7-1E9E35BC1F65}"/>
                  </a:ext>
                </a:extLst>
              </p:cNvPr>
              <p:cNvSpPr/>
              <p:nvPr/>
            </p:nvSpPr>
            <p:spPr bwMode="auto">
              <a:xfrm>
                <a:off x="6824948" y="4500825"/>
                <a:ext cx="220406" cy="683507"/>
              </a:xfrm>
              <a:custGeom>
                <a:avLst/>
                <a:gdLst>
                  <a:gd name="T0" fmla="*/ 86 w 86"/>
                  <a:gd name="T1" fmla="*/ 263 h 266"/>
                  <a:gd name="T2" fmla="*/ 86 w 86"/>
                  <a:gd name="T3" fmla="*/ 263 h 266"/>
                  <a:gd name="T4" fmla="*/ 44 w 86"/>
                  <a:gd name="T5" fmla="*/ 4 h 266"/>
                  <a:gd name="T6" fmla="*/ 44 w 86"/>
                  <a:gd name="T7" fmla="*/ 0 h 266"/>
                  <a:gd name="T8" fmla="*/ 20 w 86"/>
                  <a:gd name="T9" fmla="*/ 8 h 266"/>
                  <a:gd name="T10" fmla="*/ 75 w 86"/>
                  <a:gd name="T11" fmla="*/ 266 h 266"/>
                  <a:gd name="T12" fmla="*/ 86 w 86"/>
                  <a:gd name="T13" fmla="*/ 263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6" h="266">
                    <a:moveTo>
                      <a:pt x="86" y="263"/>
                    </a:moveTo>
                    <a:cubicBezTo>
                      <a:pt x="86" y="263"/>
                      <a:pt x="86" y="263"/>
                      <a:pt x="86" y="263"/>
                    </a:cubicBezTo>
                    <a:cubicBezTo>
                      <a:pt x="16" y="167"/>
                      <a:pt x="44" y="4"/>
                      <a:pt x="44" y="4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8"/>
                      <a:pt x="0" y="152"/>
                      <a:pt x="75" y="266"/>
                    </a:cubicBezTo>
                    <a:lnTo>
                      <a:pt x="86" y="263"/>
                    </a:lnTo>
                    <a:close/>
                  </a:path>
                </a:pathLst>
              </a:custGeom>
              <a:solidFill>
                <a:srgbClr val="061D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86" name="ïSḻîḑé">
                <a:extLst>
                  <a:ext uri="{FF2B5EF4-FFF2-40B4-BE49-F238E27FC236}">
                    <a16:creationId xmlns:a16="http://schemas.microsoft.com/office/drawing/2014/main" id="{B64475B4-46EB-4F22-BAF3-A1DA618054B4}"/>
                  </a:ext>
                </a:extLst>
              </p:cNvPr>
              <p:cNvSpPr/>
              <p:nvPr/>
            </p:nvSpPr>
            <p:spPr bwMode="auto">
              <a:xfrm>
                <a:off x="6994587" y="4525590"/>
                <a:ext cx="529965" cy="336800"/>
              </a:xfrm>
              <a:custGeom>
                <a:avLst/>
                <a:gdLst>
                  <a:gd name="T0" fmla="*/ 206 w 206"/>
                  <a:gd name="T1" fmla="*/ 114 h 131"/>
                  <a:gd name="T2" fmla="*/ 38 w 206"/>
                  <a:gd name="T3" fmla="*/ 36 h 131"/>
                  <a:gd name="T4" fmla="*/ 44 w 206"/>
                  <a:gd name="T5" fmla="*/ 0 h 131"/>
                  <a:gd name="T6" fmla="*/ 0 w 206"/>
                  <a:gd name="T7" fmla="*/ 35 h 131"/>
                  <a:gd name="T8" fmla="*/ 20 w 206"/>
                  <a:gd name="T9" fmla="*/ 32 h 131"/>
                  <a:gd name="T10" fmla="*/ 206 w 206"/>
                  <a:gd name="T11" fmla="*/ 131 h 131"/>
                  <a:gd name="T12" fmla="*/ 206 w 206"/>
                  <a:gd name="T13" fmla="*/ 114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6" h="131">
                    <a:moveTo>
                      <a:pt x="206" y="114"/>
                    </a:moveTo>
                    <a:cubicBezTo>
                      <a:pt x="96" y="125"/>
                      <a:pt x="38" y="36"/>
                      <a:pt x="38" y="36"/>
                    </a:cubicBezTo>
                    <a:cubicBezTo>
                      <a:pt x="47" y="23"/>
                      <a:pt x="44" y="0"/>
                      <a:pt x="44" y="0"/>
                    </a:cubicBezTo>
                    <a:cubicBezTo>
                      <a:pt x="39" y="15"/>
                      <a:pt x="0" y="35"/>
                      <a:pt x="0" y="35"/>
                    </a:cubicBezTo>
                    <a:cubicBezTo>
                      <a:pt x="20" y="32"/>
                      <a:pt x="20" y="32"/>
                      <a:pt x="20" y="32"/>
                    </a:cubicBezTo>
                    <a:cubicBezTo>
                      <a:pt x="20" y="32"/>
                      <a:pt x="56" y="131"/>
                      <a:pt x="206" y="131"/>
                    </a:cubicBezTo>
                    <a:lnTo>
                      <a:pt x="206" y="114"/>
                    </a:lnTo>
                    <a:close/>
                  </a:path>
                </a:pathLst>
              </a:custGeom>
              <a:solidFill>
                <a:srgbClr val="061D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87" name="ísļïḋè">
                <a:extLst>
                  <a:ext uri="{FF2B5EF4-FFF2-40B4-BE49-F238E27FC236}">
                    <a16:creationId xmlns:a16="http://schemas.microsoft.com/office/drawing/2014/main" id="{87A118D5-5B70-431F-A2AE-A0007FF51D29}"/>
                  </a:ext>
                </a:extLst>
              </p:cNvPr>
              <p:cNvSpPr/>
              <p:nvPr/>
            </p:nvSpPr>
            <p:spPr bwMode="auto">
              <a:xfrm>
                <a:off x="6489386" y="4035248"/>
                <a:ext cx="656265" cy="485389"/>
              </a:xfrm>
              <a:custGeom>
                <a:avLst/>
                <a:gdLst>
                  <a:gd name="T0" fmla="*/ 139 w 255"/>
                  <a:gd name="T1" fmla="*/ 37 h 189"/>
                  <a:gd name="T2" fmla="*/ 0 w 255"/>
                  <a:gd name="T3" fmla="*/ 120 h 189"/>
                  <a:gd name="T4" fmla="*/ 12 w 255"/>
                  <a:gd name="T5" fmla="*/ 143 h 189"/>
                  <a:gd name="T6" fmla="*/ 139 w 255"/>
                  <a:gd name="T7" fmla="*/ 85 h 189"/>
                  <a:gd name="T8" fmla="*/ 150 w 255"/>
                  <a:gd name="T9" fmla="*/ 189 h 189"/>
                  <a:gd name="T10" fmla="*/ 255 w 255"/>
                  <a:gd name="T11" fmla="*/ 153 h 189"/>
                  <a:gd name="T12" fmla="*/ 176 w 255"/>
                  <a:gd name="T13" fmla="*/ 0 h 189"/>
                  <a:gd name="T14" fmla="*/ 139 w 255"/>
                  <a:gd name="T15" fmla="*/ 37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5" h="189">
                    <a:moveTo>
                      <a:pt x="139" y="37"/>
                    </a:moveTo>
                    <a:cubicBezTo>
                      <a:pt x="139" y="37"/>
                      <a:pt x="100" y="81"/>
                      <a:pt x="0" y="120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12" y="143"/>
                      <a:pt x="97" y="132"/>
                      <a:pt x="139" y="85"/>
                    </a:cubicBezTo>
                    <a:cubicBezTo>
                      <a:pt x="139" y="85"/>
                      <a:pt x="138" y="152"/>
                      <a:pt x="150" y="189"/>
                    </a:cubicBezTo>
                    <a:cubicBezTo>
                      <a:pt x="150" y="189"/>
                      <a:pt x="241" y="179"/>
                      <a:pt x="255" y="153"/>
                    </a:cubicBezTo>
                    <a:cubicBezTo>
                      <a:pt x="255" y="153"/>
                      <a:pt x="216" y="47"/>
                      <a:pt x="176" y="0"/>
                    </a:cubicBezTo>
                    <a:lnTo>
                      <a:pt x="139" y="37"/>
                    </a:lnTo>
                    <a:close/>
                  </a:path>
                </a:pathLst>
              </a:custGeom>
              <a:solidFill>
                <a:srgbClr val="3D9E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88" name="íSḷïḑe">
                <a:extLst>
                  <a:ext uri="{FF2B5EF4-FFF2-40B4-BE49-F238E27FC236}">
                    <a16:creationId xmlns:a16="http://schemas.microsoft.com/office/drawing/2014/main" id="{708DD038-8AF0-47EB-8C8C-4A13B480AB2B}"/>
                  </a:ext>
                </a:extLst>
              </p:cNvPr>
              <p:cNvSpPr/>
              <p:nvPr/>
            </p:nvSpPr>
            <p:spPr bwMode="auto">
              <a:xfrm>
                <a:off x="6703601" y="3860656"/>
                <a:ext cx="255077" cy="251362"/>
              </a:xfrm>
              <a:prstGeom prst="ellipse">
                <a:avLst/>
              </a:prstGeom>
              <a:solidFill>
                <a:srgbClr val="FFC9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475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89" name="iṣ1íḋé">
                <a:extLst>
                  <a:ext uri="{FF2B5EF4-FFF2-40B4-BE49-F238E27FC236}">
                    <a16:creationId xmlns:a16="http://schemas.microsoft.com/office/drawing/2014/main" id="{64267861-D209-4EEC-B835-CC961D62D3A8}"/>
                  </a:ext>
                </a:extLst>
              </p:cNvPr>
              <p:cNvSpPr/>
              <p:nvPr/>
            </p:nvSpPr>
            <p:spPr bwMode="auto">
              <a:xfrm>
                <a:off x="7524552" y="4752187"/>
                <a:ext cx="143635" cy="226598"/>
              </a:xfrm>
              <a:custGeom>
                <a:avLst/>
                <a:gdLst>
                  <a:gd name="T0" fmla="*/ 0 w 56"/>
                  <a:gd name="T1" fmla="*/ 43 h 88"/>
                  <a:gd name="T2" fmla="*/ 27 w 56"/>
                  <a:gd name="T3" fmla="*/ 61 h 88"/>
                  <a:gd name="T4" fmla="*/ 53 w 56"/>
                  <a:gd name="T5" fmla="*/ 78 h 88"/>
                  <a:gd name="T6" fmla="*/ 34 w 56"/>
                  <a:gd name="T7" fmla="*/ 7 h 88"/>
                  <a:gd name="T8" fmla="*/ 0 w 56"/>
                  <a:gd name="T9" fmla="*/ 7 h 88"/>
                  <a:gd name="T10" fmla="*/ 0 w 56"/>
                  <a:gd name="T11" fmla="*/ 43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6" h="88">
                    <a:moveTo>
                      <a:pt x="0" y="43"/>
                    </a:moveTo>
                    <a:cubicBezTo>
                      <a:pt x="0" y="43"/>
                      <a:pt x="13" y="50"/>
                      <a:pt x="27" y="61"/>
                    </a:cubicBezTo>
                    <a:cubicBezTo>
                      <a:pt x="40" y="72"/>
                      <a:pt x="51" y="88"/>
                      <a:pt x="53" y="78"/>
                    </a:cubicBezTo>
                    <a:cubicBezTo>
                      <a:pt x="56" y="68"/>
                      <a:pt x="37" y="19"/>
                      <a:pt x="34" y="7"/>
                    </a:cubicBezTo>
                    <a:cubicBezTo>
                      <a:pt x="31" y="0"/>
                      <a:pt x="0" y="7"/>
                      <a:pt x="0" y="7"/>
                    </a:cubicBez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3D9E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70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90" name="ïšļïḑe">
                <a:extLst>
                  <a:ext uri="{FF2B5EF4-FFF2-40B4-BE49-F238E27FC236}">
                    <a16:creationId xmlns:a16="http://schemas.microsoft.com/office/drawing/2014/main" id="{F4CB30AA-1D33-4882-8F9E-B2A57C686C25}"/>
                  </a:ext>
                </a:extLst>
              </p:cNvPr>
              <p:cNvSpPr/>
              <p:nvPr/>
            </p:nvSpPr>
            <p:spPr bwMode="auto">
              <a:xfrm>
                <a:off x="6672645" y="3821033"/>
                <a:ext cx="308321" cy="252600"/>
              </a:xfrm>
              <a:custGeom>
                <a:avLst/>
                <a:gdLst>
                  <a:gd name="T0" fmla="*/ 14 w 120"/>
                  <a:gd name="T1" fmla="*/ 53 h 98"/>
                  <a:gd name="T2" fmla="*/ 40 w 120"/>
                  <a:gd name="T3" fmla="*/ 64 h 98"/>
                  <a:gd name="T4" fmla="*/ 78 w 120"/>
                  <a:gd name="T5" fmla="*/ 80 h 98"/>
                  <a:gd name="T6" fmla="*/ 89 w 120"/>
                  <a:gd name="T7" fmla="*/ 70 h 98"/>
                  <a:gd name="T8" fmla="*/ 84 w 120"/>
                  <a:gd name="T9" fmla="*/ 92 h 98"/>
                  <a:gd name="T10" fmla="*/ 99 w 120"/>
                  <a:gd name="T11" fmla="*/ 98 h 98"/>
                  <a:gd name="T12" fmla="*/ 111 w 120"/>
                  <a:gd name="T13" fmla="*/ 39 h 98"/>
                  <a:gd name="T14" fmla="*/ 86 w 120"/>
                  <a:gd name="T15" fmla="*/ 15 h 98"/>
                  <a:gd name="T16" fmla="*/ 46 w 120"/>
                  <a:gd name="T17" fmla="*/ 7 h 98"/>
                  <a:gd name="T18" fmla="*/ 2 w 120"/>
                  <a:gd name="T19" fmla="*/ 27 h 98"/>
                  <a:gd name="T20" fmla="*/ 14 w 120"/>
                  <a:gd name="T21" fmla="*/ 53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0" h="98">
                    <a:moveTo>
                      <a:pt x="14" y="53"/>
                    </a:moveTo>
                    <a:cubicBezTo>
                      <a:pt x="14" y="53"/>
                      <a:pt x="17" y="64"/>
                      <a:pt x="40" y="64"/>
                    </a:cubicBezTo>
                    <a:cubicBezTo>
                      <a:pt x="62" y="64"/>
                      <a:pt x="76" y="69"/>
                      <a:pt x="78" y="80"/>
                    </a:cubicBezTo>
                    <a:cubicBezTo>
                      <a:pt x="78" y="80"/>
                      <a:pt x="85" y="70"/>
                      <a:pt x="89" y="70"/>
                    </a:cubicBezTo>
                    <a:cubicBezTo>
                      <a:pt x="94" y="71"/>
                      <a:pt x="94" y="89"/>
                      <a:pt x="84" y="92"/>
                    </a:cubicBezTo>
                    <a:cubicBezTo>
                      <a:pt x="99" y="98"/>
                      <a:pt x="99" y="98"/>
                      <a:pt x="99" y="98"/>
                    </a:cubicBezTo>
                    <a:cubicBezTo>
                      <a:pt x="99" y="98"/>
                      <a:pt x="120" y="71"/>
                      <a:pt x="111" y="39"/>
                    </a:cubicBezTo>
                    <a:cubicBezTo>
                      <a:pt x="104" y="15"/>
                      <a:pt x="86" y="15"/>
                      <a:pt x="86" y="15"/>
                    </a:cubicBezTo>
                    <a:cubicBezTo>
                      <a:pt x="86" y="15"/>
                      <a:pt x="65" y="0"/>
                      <a:pt x="46" y="7"/>
                    </a:cubicBezTo>
                    <a:cubicBezTo>
                      <a:pt x="26" y="14"/>
                      <a:pt x="9" y="40"/>
                      <a:pt x="2" y="27"/>
                    </a:cubicBezTo>
                    <a:cubicBezTo>
                      <a:pt x="2" y="27"/>
                      <a:pt x="0" y="53"/>
                      <a:pt x="14" y="53"/>
                    </a:cubicBezTo>
                    <a:close/>
                  </a:path>
                </a:pathLst>
              </a:custGeom>
              <a:solidFill>
                <a:srgbClr val="062F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8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91" name="íṩľîdê">
                <a:extLst>
                  <a:ext uri="{FF2B5EF4-FFF2-40B4-BE49-F238E27FC236}">
                    <a16:creationId xmlns:a16="http://schemas.microsoft.com/office/drawing/2014/main" id="{7A793996-F8B9-4CAD-87D1-DE12C7F9F0F6}"/>
                  </a:ext>
                </a:extLst>
              </p:cNvPr>
              <p:cNvSpPr/>
              <p:nvPr/>
            </p:nvSpPr>
            <p:spPr bwMode="auto">
              <a:xfrm>
                <a:off x="6330892" y="4312613"/>
                <a:ext cx="189451" cy="151065"/>
              </a:xfrm>
              <a:custGeom>
                <a:avLst/>
                <a:gdLst>
                  <a:gd name="T0" fmla="*/ 62 w 74"/>
                  <a:gd name="T1" fmla="*/ 12 h 59"/>
                  <a:gd name="T2" fmla="*/ 33 w 74"/>
                  <a:gd name="T3" fmla="*/ 3 h 59"/>
                  <a:gd name="T4" fmla="*/ 48 w 74"/>
                  <a:gd name="T5" fmla="*/ 18 h 59"/>
                  <a:gd name="T6" fmla="*/ 12 w 74"/>
                  <a:gd name="T7" fmla="*/ 42 h 59"/>
                  <a:gd name="T8" fmla="*/ 74 w 74"/>
                  <a:gd name="T9" fmla="*/ 35 h 59"/>
                  <a:gd name="T10" fmla="*/ 62 w 74"/>
                  <a:gd name="T11" fmla="*/ 1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4" h="59">
                    <a:moveTo>
                      <a:pt x="62" y="12"/>
                    </a:moveTo>
                    <a:cubicBezTo>
                      <a:pt x="62" y="12"/>
                      <a:pt x="42" y="0"/>
                      <a:pt x="33" y="3"/>
                    </a:cubicBezTo>
                    <a:cubicBezTo>
                      <a:pt x="25" y="6"/>
                      <a:pt x="48" y="18"/>
                      <a:pt x="48" y="18"/>
                    </a:cubicBezTo>
                    <a:cubicBezTo>
                      <a:pt x="48" y="18"/>
                      <a:pt x="24" y="36"/>
                      <a:pt x="12" y="42"/>
                    </a:cubicBezTo>
                    <a:cubicBezTo>
                      <a:pt x="0" y="48"/>
                      <a:pt x="41" y="59"/>
                      <a:pt x="74" y="35"/>
                    </a:cubicBezTo>
                    <a:lnTo>
                      <a:pt x="62" y="12"/>
                    </a:lnTo>
                    <a:close/>
                  </a:path>
                </a:pathLst>
              </a:custGeom>
              <a:solidFill>
                <a:srgbClr val="FFC9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325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92" name="ïślíḑê">
                <a:extLst>
                  <a:ext uri="{FF2B5EF4-FFF2-40B4-BE49-F238E27FC236}">
                    <a16:creationId xmlns:a16="http://schemas.microsoft.com/office/drawing/2014/main" id="{3A9290DA-16C4-4BF5-A916-4686305885BF}"/>
                  </a:ext>
                </a:extLst>
              </p:cNvPr>
              <p:cNvSpPr/>
              <p:nvPr/>
            </p:nvSpPr>
            <p:spPr bwMode="auto">
              <a:xfrm>
                <a:off x="6507960" y="3548621"/>
                <a:ext cx="164686" cy="169639"/>
              </a:xfrm>
              <a:custGeom>
                <a:avLst/>
                <a:gdLst>
                  <a:gd name="T0" fmla="*/ 37 w 64"/>
                  <a:gd name="T1" fmla="*/ 64 h 66"/>
                  <a:gd name="T2" fmla="*/ 4 w 64"/>
                  <a:gd name="T3" fmla="*/ 61 h 66"/>
                  <a:gd name="T4" fmla="*/ 26 w 64"/>
                  <a:gd name="T5" fmla="*/ 53 h 66"/>
                  <a:gd name="T6" fmla="*/ 45 w 64"/>
                  <a:gd name="T7" fmla="*/ 7 h 66"/>
                  <a:gd name="T8" fmla="*/ 54 w 64"/>
                  <a:gd name="T9" fmla="*/ 40 h 66"/>
                  <a:gd name="T10" fmla="*/ 37 w 64"/>
                  <a:gd name="T11" fmla="*/ 64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66">
                    <a:moveTo>
                      <a:pt x="37" y="64"/>
                    </a:moveTo>
                    <a:cubicBezTo>
                      <a:pt x="37" y="64"/>
                      <a:pt x="7" y="66"/>
                      <a:pt x="4" y="61"/>
                    </a:cubicBezTo>
                    <a:cubicBezTo>
                      <a:pt x="0" y="57"/>
                      <a:pt x="15" y="53"/>
                      <a:pt x="26" y="53"/>
                    </a:cubicBezTo>
                    <a:cubicBezTo>
                      <a:pt x="26" y="53"/>
                      <a:pt x="36" y="10"/>
                      <a:pt x="45" y="7"/>
                    </a:cubicBezTo>
                    <a:cubicBezTo>
                      <a:pt x="64" y="0"/>
                      <a:pt x="54" y="40"/>
                      <a:pt x="54" y="40"/>
                    </a:cubicBezTo>
                    <a:cubicBezTo>
                      <a:pt x="54" y="40"/>
                      <a:pt x="40" y="58"/>
                      <a:pt x="37" y="64"/>
                    </a:cubicBezTo>
                    <a:close/>
                  </a:path>
                </a:pathLst>
              </a:custGeom>
              <a:solidFill>
                <a:srgbClr val="FFC9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40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93" name="îṩļíḑé">
                <a:extLst>
                  <a:ext uri="{FF2B5EF4-FFF2-40B4-BE49-F238E27FC236}">
                    <a16:creationId xmlns:a16="http://schemas.microsoft.com/office/drawing/2014/main" id="{1B8DCA82-7252-4540-9C5E-7445C5E633DD}"/>
                  </a:ext>
                </a:extLst>
              </p:cNvPr>
              <p:cNvSpPr/>
              <p:nvPr/>
            </p:nvSpPr>
            <p:spPr bwMode="auto">
              <a:xfrm>
                <a:off x="6672645" y="3891613"/>
                <a:ext cx="283557" cy="182021"/>
              </a:xfrm>
              <a:custGeom>
                <a:avLst/>
                <a:gdLst>
                  <a:gd name="T0" fmla="*/ 14 w 110"/>
                  <a:gd name="T1" fmla="*/ 26 h 71"/>
                  <a:gd name="T2" fmla="*/ 40 w 110"/>
                  <a:gd name="T3" fmla="*/ 37 h 71"/>
                  <a:gd name="T4" fmla="*/ 78 w 110"/>
                  <a:gd name="T5" fmla="*/ 53 h 71"/>
                  <a:gd name="T6" fmla="*/ 89 w 110"/>
                  <a:gd name="T7" fmla="*/ 43 h 71"/>
                  <a:gd name="T8" fmla="*/ 84 w 110"/>
                  <a:gd name="T9" fmla="*/ 65 h 71"/>
                  <a:gd name="T10" fmla="*/ 99 w 110"/>
                  <a:gd name="T11" fmla="*/ 71 h 71"/>
                  <a:gd name="T12" fmla="*/ 110 w 110"/>
                  <a:gd name="T13" fmla="*/ 49 h 71"/>
                  <a:gd name="T14" fmla="*/ 108 w 110"/>
                  <a:gd name="T15" fmla="*/ 31 h 71"/>
                  <a:gd name="T16" fmla="*/ 84 w 110"/>
                  <a:gd name="T17" fmla="*/ 25 h 71"/>
                  <a:gd name="T18" fmla="*/ 73 w 110"/>
                  <a:gd name="T19" fmla="*/ 7 h 71"/>
                  <a:gd name="T20" fmla="*/ 38 w 110"/>
                  <a:gd name="T21" fmla="*/ 22 h 71"/>
                  <a:gd name="T22" fmla="*/ 4 w 110"/>
                  <a:gd name="T23" fmla="*/ 3 h 71"/>
                  <a:gd name="T24" fmla="*/ 2 w 110"/>
                  <a:gd name="T25" fmla="*/ 0 h 71"/>
                  <a:gd name="T26" fmla="*/ 14 w 110"/>
                  <a:gd name="T27" fmla="*/ 26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0" h="71">
                    <a:moveTo>
                      <a:pt x="14" y="26"/>
                    </a:moveTo>
                    <a:cubicBezTo>
                      <a:pt x="14" y="26"/>
                      <a:pt x="17" y="37"/>
                      <a:pt x="40" y="37"/>
                    </a:cubicBezTo>
                    <a:cubicBezTo>
                      <a:pt x="62" y="37"/>
                      <a:pt x="76" y="42"/>
                      <a:pt x="78" y="53"/>
                    </a:cubicBezTo>
                    <a:cubicBezTo>
                      <a:pt x="78" y="53"/>
                      <a:pt x="85" y="43"/>
                      <a:pt x="89" y="43"/>
                    </a:cubicBezTo>
                    <a:cubicBezTo>
                      <a:pt x="94" y="44"/>
                      <a:pt x="94" y="62"/>
                      <a:pt x="84" y="65"/>
                    </a:cubicBezTo>
                    <a:cubicBezTo>
                      <a:pt x="99" y="71"/>
                      <a:pt x="99" y="71"/>
                      <a:pt x="99" y="71"/>
                    </a:cubicBezTo>
                    <a:cubicBezTo>
                      <a:pt x="99" y="71"/>
                      <a:pt x="106" y="62"/>
                      <a:pt x="110" y="49"/>
                    </a:cubicBezTo>
                    <a:cubicBezTo>
                      <a:pt x="110" y="42"/>
                      <a:pt x="109" y="34"/>
                      <a:pt x="108" y="31"/>
                    </a:cubicBezTo>
                    <a:cubicBezTo>
                      <a:pt x="104" y="20"/>
                      <a:pt x="96" y="24"/>
                      <a:pt x="84" y="25"/>
                    </a:cubicBezTo>
                    <a:cubicBezTo>
                      <a:pt x="72" y="25"/>
                      <a:pt x="73" y="7"/>
                      <a:pt x="73" y="7"/>
                    </a:cubicBezTo>
                    <a:cubicBezTo>
                      <a:pt x="73" y="7"/>
                      <a:pt x="58" y="22"/>
                      <a:pt x="38" y="22"/>
                    </a:cubicBezTo>
                    <a:cubicBezTo>
                      <a:pt x="22" y="21"/>
                      <a:pt x="9" y="9"/>
                      <a:pt x="4" y="3"/>
                    </a:cubicBezTo>
                    <a:cubicBezTo>
                      <a:pt x="4" y="2"/>
                      <a:pt x="3" y="2"/>
                      <a:pt x="2" y="0"/>
                    </a:cubicBezTo>
                    <a:cubicBezTo>
                      <a:pt x="2" y="0"/>
                      <a:pt x="0" y="26"/>
                      <a:pt x="14" y="26"/>
                    </a:cubicBezTo>
                    <a:close/>
                  </a:path>
                </a:pathLst>
              </a:custGeom>
              <a:solidFill>
                <a:srgbClr val="061D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475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94" name="î$ḷïḋe">
                <a:extLst>
                  <a:ext uri="{FF2B5EF4-FFF2-40B4-BE49-F238E27FC236}">
                    <a16:creationId xmlns:a16="http://schemas.microsoft.com/office/drawing/2014/main" id="{C581E2D5-7FC5-4777-9AB4-457E958CBFC5}"/>
                  </a:ext>
                </a:extLst>
              </p:cNvPr>
              <p:cNvSpPr/>
              <p:nvPr/>
            </p:nvSpPr>
            <p:spPr bwMode="auto">
              <a:xfrm>
                <a:off x="6505483" y="4176407"/>
                <a:ext cx="432145" cy="344230"/>
              </a:xfrm>
              <a:custGeom>
                <a:avLst/>
                <a:gdLst>
                  <a:gd name="T0" fmla="*/ 146 w 168"/>
                  <a:gd name="T1" fmla="*/ 0 h 134"/>
                  <a:gd name="T2" fmla="*/ 91 w 168"/>
                  <a:gd name="T3" fmla="*/ 40 h 134"/>
                  <a:gd name="T4" fmla="*/ 0 w 168"/>
                  <a:gd name="T5" fmla="*/ 77 h 134"/>
                  <a:gd name="T6" fmla="*/ 6 w 168"/>
                  <a:gd name="T7" fmla="*/ 88 h 134"/>
                  <a:gd name="T8" fmla="*/ 133 w 168"/>
                  <a:gd name="T9" fmla="*/ 30 h 134"/>
                  <a:gd name="T10" fmla="*/ 144 w 168"/>
                  <a:gd name="T11" fmla="*/ 134 h 134"/>
                  <a:gd name="T12" fmla="*/ 168 w 168"/>
                  <a:gd name="T13" fmla="*/ 130 h 134"/>
                  <a:gd name="T14" fmla="*/ 146 w 168"/>
                  <a:gd name="T15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8" h="134">
                    <a:moveTo>
                      <a:pt x="146" y="0"/>
                    </a:moveTo>
                    <a:cubicBezTo>
                      <a:pt x="146" y="0"/>
                      <a:pt x="140" y="7"/>
                      <a:pt x="91" y="40"/>
                    </a:cubicBezTo>
                    <a:cubicBezTo>
                      <a:pt x="61" y="59"/>
                      <a:pt x="25" y="71"/>
                      <a:pt x="0" y="77"/>
                    </a:cubicBezTo>
                    <a:cubicBezTo>
                      <a:pt x="6" y="88"/>
                      <a:pt x="6" y="88"/>
                      <a:pt x="6" y="88"/>
                    </a:cubicBezTo>
                    <a:cubicBezTo>
                      <a:pt x="6" y="88"/>
                      <a:pt x="91" y="77"/>
                      <a:pt x="133" y="30"/>
                    </a:cubicBezTo>
                    <a:cubicBezTo>
                      <a:pt x="133" y="30"/>
                      <a:pt x="132" y="97"/>
                      <a:pt x="144" y="134"/>
                    </a:cubicBezTo>
                    <a:cubicBezTo>
                      <a:pt x="144" y="134"/>
                      <a:pt x="154" y="133"/>
                      <a:pt x="168" y="130"/>
                    </a:cubicBezTo>
                    <a:cubicBezTo>
                      <a:pt x="146" y="73"/>
                      <a:pt x="146" y="0"/>
                      <a:pt x="146" y="0"/>
                    </a:cubicBezTo>
                    <a:close/>
                  </a:path>
                </a:pathLst>
              </a:custGeom>
              <a:solidFill>
                <a:srgbClr val="116E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95" name="íṡḻiḓé">
                <a:extLst>
                  <a:ext uri="{FF2B5EF4-FFF2-40B4-BE49-F238E27FC236}">
                    <a16:creationId xmlns:a16="http://schemas.microsoft.com/office/drawing/2014/main" id="{9C3655F8-D3DD-4098-BF5E-2F1770CCFC30}"/>
                  </a:ext>
                </a:extLst>
              </p:cNvPr>
              <p:cNvSpPr/>
              <p:nvPr/>
            </p:nvSpPr>
            <p:spPr bwMode="auto">
              <a:xfrm>
                <a:off x="6916578" y="5176902"/>
                <a:ext cx="139921" cy="136206"/>
              </a:xfrm>
              <a:custGeom>
                <a:avLst/>
                <a:gdLst>
                  <a:gd name="T0" fmla="*/ 51 w 54"/>
                  <a:gd name="T1" fmla="*/ 19 h 53"/>
                  <a:gd name="T2" fmla="*/ 50 w 54"/>
                  <a:gd name="T3" fmla="*/ 0 h 53"/>
                  <a:gd name="T4" fmla="*/ 39 w 54"/>
                  <a:gd name="T5" fmla="*/ 3 h 53"/>
                  <a:gd name="T6" fmla="*/ 21 w 54"/>
                  <a:gd name="T7" fmla="*/ 27 h 53"/>
                  <a:gd name="T8" fmla="*/ 6 w 54"/>
                  <a:gd name="T9" fmla="*/ 52 h 53"/>
                  <a:gd name="T10" fmla="*/ 20 w 54"/>
                  <a:gd name="T11" fmla="*/ 50 h 53"/>
                  <a:gd name="T12" fmla="*/ 51 w 54"/>
                  <a:gd name="T13" fmla="*/ 19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" h="53">
                    <a:moveTo>
                      <a:pt x="51" y="19"/>
                    </a:moveTo>
                    <a:cubicBezTo>
                      <a:pt x="54" y="15"/>
                      <a:pt x="53" y="8"/>
                      <a:pt x="50" y="0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9" y="3"/>
                      <a:pt x="34" y="15"/>
                      <a:pt x="21" y="27"/>
                    </a:cubicBezTo>
                    <a:cubicBezTo>
                      <a:pt x="8" y="40"/>
                      <a:pt x="0" y="50"/>
                      <a:pt x="6" y="52"/>
                    </a:cubicBezTo>
                    <a:cubicBezTo>
                      <a:pt x="8" y="53"/>
                      <a:pt x="13" y="52"/>
                      <a:pt x="20" y="50"/>
                    </a:cubicBezTo>
                    <a:cubicBezTo>
                      <a:pt x="29" y="33"/>
                      <a:pt x="45" y="27"/>
                      <a:pt x="51" y="19"/>
                    </a:cubicBezTo>
                    <a:close/>
                  </a:path>
                </a:pathLst>
              </a:custGeom>
              <a:solidFill>
                <a:srgbClr val="116E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96" name="ïṡļîḍé">
                <a:extLst>
                  <a:ext uri="{FF2B5EF4-FFF2-40B4-BE49-F238E27FC236}">
                    <a16:creationId xmlns:a16="http://schemas.microsoft.com/office/drawing/2014/main" id="{5921602C-253D-4FFC-A7F6-AC6DEA0EE951}"/>
                  </a:ext>
                </a:extLst>
              </p:cNvPr>
              <p:cNvSpPr/>
              <p:nvPr/>
            </p:nvSpPr>
            <p:spPr bwMode="auto">
              <a:xfrm>
                <a:off x="7524552" y="4819052"/>
                <a:ext cx="138682" cy="159733"/>
              </a:xfrm>
              <a:custGeom>
                <a:avLst/>
                <a:gdLst>
                  <a:gd name="T0" fmla="*/ 53 w 54"/>
                  <a:gd name="T1" fmla="*/ 52 h 62"/>
                  <a:gd name="T2" fmla="*/ 51 w 54"/>
                  <a:gd name="T3" fmla="*/ 35 h 62"/>
                  <a:gd name="T4" fmla="*/ 18 w 54"/>
                  <a:gd name="T5" fmla="*/ 7 h 62"/>
                  <a:gd name="T6" fmla="*/ 0 w 54"/>
                  <a:gd name="T7" fmla="*/ 0 h 62"/>
                  <a:gd name="T8" fmla="*/ 0 w 54"/>
                  <a:gd name="T9" fmla="*/ 17 h 62"/>
                  <a:gd name="T10" fmla="*/ 27 w 54"/>
                  <a:gd name="T11" fmla="*/ 35 h 62"/>
                  <a:gd name="T12" fmla="*/ 53 w 54"/>
                  <a:gd name="T13" fmla="*/ 5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" h="62">
                    <a:moveTo>
                      <a:pt x="53" y="52"/>
                    </a:moveTo>
                    <a:cubicBezTo>
                      <a:pt x="54" y="49"/>
                      <a:pt x="53" y="43"/>
                      <a:pt x="51" y="35"/>
                    </a:cubicBezTo>
                    <a:cubicBezTo>
                      <a:pt x="39" y="25"/>
                      <a:pt x="24" y="12"/>
                      <a:pt x="18" y="7"/>
                    </a:cubicBezTo>
                    <a:cubicBezTo>
                      <a:pt x="16" y="5"/>
                      <a:pt x="8" y="3"/>
                      <a:pt x="0" y="0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7"/>
                      <a:pt x="13" y="24"/>
                      <a:pt x="27" y="35"/>
                    </a:cubicBezTo>
                    <a:cubicBezTo>
                      <a:pt x="40" y="46"/>
                      <a:pt x="51" y="62"/>
                      <a:pt x="53" y="52"/>
                    </a:cubicBezTo>
                    <a:close/>
                  </a:path>
                </a:pathLst>
              </a:custGeom>
              <a:solidFill>
                <a:srgbClr val="116E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40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97" name="ïšḻîďe">
                <a:extLst>
                  <a:ext uri="{FF2B5EF4-FFF2-40B4-BE49-F238E27FC236}">
                    <a16:creationId xmlns:a16="http://schemas.microsoft.com/office/drawing/2014/main" id="{EB377EBF-9569-469A-BE89-050EC63FD7C0}"/>
                  </a:ext>
                </a:extLst>
              </p:cNvPr>
              <p:cNvSpPr/>
              <p:nvPr/>
            </p:nvSpPr>
            <p:spPr bwMode="auto">
              <a:xfrm>
                <a:off x="5507465" y="2114743"/>
                <a:ext cx="797424" cy="460624"/>
              </a:xfrm>
              <a:custGeom>
                <a:avLst/>
                <a:gdLst>
                  <a:gd name="T0" fmla="*/ 137 w 310"/>
                  <a:gd name="T1" fmla="*/ 0 h 179"/>
                  <a:gd name="T2" fmla="*/ 310 w 310"/>
                  <a:gd name="T3" fmla="*/ 179 h 179"/>
                  <a:gd name="T4" fmla="*/ 282 w 310"/>
                  <a:gd name="T5" fmla="*/ 179 h 179"/>
                  <a:gd name="T6" fmla="*/ 166 w 310"/>
                  <a:gd name="T7" fmla="*/ 63 h 179"/>
                  <a:gd name="T8" fmla="*/ 0 w 310"/>
                  <a:gd name="T9" fmla="*/ 63 h 179"/>
                  <a:gd name="T10" fmla="*/ 87 w 310"/>
                  <a:gd name="T11" fmla="*/ 7 h 179"/>
                  <a:gd name="T12" fmla="*/ 137 w 310"/>
                  <a:gd name="T13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0" h="179">
                    <a:moveTo>
                      <a:pt x="137" y="0"/>
                    </a:moveTo>
                    <a:cubicBezTo>
                      <a:pt x="137" y="0"/>
                      <a:pt x="266" y="25"/>
                      <a:pt x="310" y="179"/>
                    </a:cubicBezTo>
                    <a:cubicBezTo>
                      <a:pt x="282" y="179"/>
                      <a:pt x="282" y="179"/>
                      <a:pt x="282" y="179"/>
                    </a:cubicBezTo>
                    <a:cubicBezTo>
                      <a:pt x="282" y="179"/>
                      <a:pt x="233" y="71"/>
                      <a:pt x="166" y="63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63"/>
                      <a:pt x="37" y="14"/>
                      <a:pt x="87" y="7"/>
                    </a:cubicBezTo>
                    <a:cubicBezTo>
                      <a:pt x="137" y="0"/>
                      <a:pt x="137" y="0"/>
                      <a:pt x="137" y="0"/>
                    </a:cubicBezTo>
                    <a:close/>
                  </a:path>
                </a:pathLst>
              </a:custGeom>
              <a:solidFill>
                <a:srgbClr val="3D9E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98" name="îŝ1iḓé">
                <a:extLst>
                  <a:ext uri="{FF2B5EF4-FFF2-40B4-BE49-F238E27FC236}">
                    <a16:creationId xmlns:a16="http://schemas.microsoft.com/office/drawing/2014/main" id="{E87DB9A8-983B-43EC-B25E-0AFE11AD926A}"/>
                  </a:ext>
                </a:extLst>
              </p:cNvPr>
              <p:cNvSpPr/>
              <p:nvPr/>
            </p:nvSpPr>
            <p:spPr bwMode="auto">
              <a:xfrm>
                <a:off x="5507465" y="2135793"/>
                <a:ext cx="745418" cy="439574"/>
              </a:xfrm>
              <a:custGeom>
                <a:avLst/>
                <a:gdLst>
                  <a:gd name="T0" fmla="*/ 252 w 290"/>
                  <a:gd name="T1" fmla="*/ 104 h 171"/>
                  <a:gd name="T2" fmla="*/ 161 w 290"/>
                  <a:gd name="T3" fmla="*/ 38 h 171"/>
                  <a:gd name="T4" fmla="*/ 95 w 290"/>
                  <a:gd name="T5" fmla="*/ 24 h 171"/>
                  <a:gd name="T6" fmla="*/ 79 w 290"/>
                  <a:gd name="T7" fmla="*/ 0 h 171"/>
                  <a:gd name="T8" fmla="*/ 0 w 290"/>
                  <a:gd name="T9" fmla="*/ 55 h 171"/>
                  <a:gd name="T10" fmla="*/ 166 w 290"/>
                  <a:gd name="T11" fmla="*/ 55 h 171"/>
                  <a:gd name="T12" fmla="*/ 282 w 290"/>
                  <a:gd name="T13" fmla="*/ 171 h 171"/>
                  <a:gd name="T14" fmla="*/ 290 w 290"/>
                  <a:gd name="T15" fmla="*/ 171 h 171"/>
                  <a:gd name="T16" fmla="*/ 252 w 290"/>
                  <a:gd name="T17" fmla="*/ 104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0" h="171">
                    <a:moveTo>
                      <a:pt x="252" y="104"/>
                    </a:moveTo>
                    <a:cubicBezTo>
                      <a:pt x="214" y="62"/>
                      <a:pt x="188" y="40"/>
                      <a:pt x="161" y="38"/>
                    </a:cubicBezTo>
                    <a:cubicBezTo>
                      <a:pt x="134" y="36"/>
                      <a:pt x="107" y="39"/>
                      <a:pt x="95" y="24"/>
                    </a:cubicBezTo>
                    <a:cubicBezTo>
                      <a:pt x="89" y="17"/>
                      <a:pt x="84" y="8"/>
                      <a:pt x="79" y="0"/>
                    </a:cubicBezTo>
                    <a:cubicBezTo>
                      <a:pt x="33" y="11"/>
                      <a:pt x="0" y="55"/>
                      <a:pt x="0" y="55"/>
                    </a:cubicBezTo>
                    <a:cubicBezTo>
                      <a:pt x="166" y="55"/>
                      <a:pt x="166" y="55"/>
                      <a:pt x="166" y="55"/>
                    </a:cubicBezTo>
                    <a:cubicBezTo>
                      <a:pt x="233" y="63"/>
                      <a:pt x="282" y="171"/>
                      <a:pt x="282" y="171"/>
                    </a:cubicBezTo>
                    <a:cubicBezTo>
                      <a:pt x="290" y="171"/>
                      <a:pt x="290" y="171"/>
                      <a:pt x="290" y="171"/>
                    </a:cubicBezTo>
                    <a:cubicBezTo>
                      <a:pt x="284" y="154"/>
                      <a:pt x="273" y="128"/>
                      <a:pt x="252" y="104"/>
                    </a:cubicBezTo>
                    <a:close/>
                  </a:path>
                </a:pathLst>
              </a:custGeom>
              <a:solidFill>
                <a:srgbClr val="116E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99" name="iṥliḍè">
                <a:extLst>
                  <a:ext uri="{FF2B5EF4-FFF2-40B4-BE49-F238E27FC236}">
                    <a16:creationId xmlns:a16="http://schemas.microsoft.com/office/drawing/2014/main" id="{5FF1DEF0-A4DB-4E7F-A36A-D314DB6F3DCB}"/>
                  </a:ext>
                </a:extLst>
              </p:cNvPr>
              <p:cNvSpPr/>
              <p:nvPr/>
            </p:nvSpPr>
            <p:spPr bwMode="auto">
              <a:xfrm>
                <a:off x="5622621" y="1952534"/>
                <a:ext cx="324418" cy="262506"/>
              </a:xfrm>
              <a:custGeom>
                <a:avLst/>
                <a:gdLst>
                  <a:gd name="T0" fmla="*/ 119 w 126"/>
                  <a:gd name="T1" fmla="*/ 51 h 102"/>
                  <a:gd name="T2" fmla="*/ 114 w 126"/>
                  <a:gd name="T3" fmla="*/ 51 h 102"/>
                  <a:gd name="T4" fmla="*/ 114 w 126"/>
                  <a:gd name="T5" fmla="*/ 51 h 102"/>
                  <a:gd name="T6" fmla="*/ 63 w 126"/>
                  <a:gd name="T7" fmla="*/ 0 h 102"/>
                  <a:gd name="T8" fmla="*/ 12 w 126"/>
                  <a:gd name="T9" fmla="*/ 51 h 102"/>
                  <a:gd name="T10" fmla="*/ 12 w 126"/>
                  <a:gd name="T11" fmla="*/ 51 h 102"/>
                  <a:gd name="T12" fmla="*/ 7 w 126"/>
                  <a:gd name="T13" fmla="*/ 51 h 102"/>
                  <a:gd name="T14" fmla="*/ 2 w 126"/>
                  <a:gd name="T15" fmla="*/ 64 h 102"/>
                  <a:gd name="T16" fmla="*/ 14 w 126"/>
                  <a:gd name="T17" fmla="*/ 71 h 102"/>
                  <a:gd name="T18" fmla="*/ 16 w 126"/>
                  <a:gd name="T19" fmla="*/ 70 h 102"/>
                  <a:gd name="T20" fmla="*/ 63 w 126"/>
                  <a:gd name="T21" fmla="*/ 102 h 102"/>
                  <a:gd name="T22" fmla="*/ 110 w 126"/>
                  <a:gd name="T23" fmla="*/ 70 h 102"/>
                  <a:gd name="T24" fmla="*/ 112 w 126"/>
                  <a:gd name="T25" fmla="*/ 71 h 102"/>
                  <a:gd name="T26" fmla="*/ 124 w 126"/>
                  <a:gd name="T27" fmla="*/ 64 h 102"/>
                  <a:gd name="T28" fmla="*/ 119 w 126"/>
                  <a:gd name="T29" fmla="*/ 51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6" h="102">
                    <a:moveTo>
                      <a:pt x="119" y="51"/>
                    </a:moveTo>
                    <a:cubicBezTo>
                      <a:pt x="117" y="50"/>
                      <a:pt x="115" y="51"/>
                      <a:pt x="114" y="51"/>
                    </a:cubicBezTo>
                    <a:cubicBezTo>
                      <a:pt x="114" y="51"/>
                      <a:pt x="114" y="51"/>
                      <a:pt x="114" y="51"/>
                    </a:cubicBezTo>
                    <a:cubicBezTo>
                      <a:pt x="114" y="23"/>
                      <a:pt x="91" y="0"/>
                      <a:pt x="63" y="0"/>
                    </a:cubicBezTo>
                    <a:cubicBezTo>
                      <a:pt x="35" y="0"/>
                      <a:pt x="12" y="23"/>
                      <a:pt x="12" y="51"/>
                    </a:cubicBezTo>
                    <a:cubicBezTo>
                      <a:pt x="12" y="51"/>
                      <a:pt x="12" y="51"/>
                      <a:pt x="12" y="51"/>
                    </a:cubicBezTo>
                    <a:cubicBezTo>
                      <a:pt x="10" y="51"/>
                      <a:pt x="9" y="50"/>
                      <a:pt x="7" y="51"/>
                    </a:cubicBezTo>
                    <a:cubicBezTo>
                      <a:pt x="2" y="53"/>
                      <a:pt x="0" y="59"/>
                      <a:pt x="2" y="64"/>
                    </a:cubicBezTo>
                    <a:cubicBezTo>
                      <a:pt x="4" y="69"/>
                      <a:pt x="9" y="72"/>
                      <a:pt x="14" y="71"/>
                    </a:cubicBezTo>
                    <a:cubicBezTo>
                      <a:pt x="15" y="70"/>
                      <a:pt x="15" y="70"/>
                      <a:pt x="16" y="70"/>
                    </a:cubicBezTo>
                    <a:cubicBezTo>
                      <a:pt x="23" y="88"/>
                      <a:pt x="41" y="102"/>
                      <a:pt x="63" y="102"/>
                    </a:cubicBezTo>
                    <a:cubicBezTo>
                      <a:pt x="84" y="102"/>
                      <a:pt x="103" y="88"/>
                      <a:pt x="110" y="70"/>
                    </a:cubicBezTo>
                    <a:cubicBezTo>
                      <a:pt x="111" y="70"/>
                      <a:pt x="111" y="70"/>
                      <a:pt x="112" y="71"/>
                    </a:cubicBezTo>
                    <a:cubicBezTo>
                      <a:pt x="116" y="72"/>
                      <a:pt x="122" y="69"/>
                      <a:pt x="124" y="64"/>
                    </a:cubicBezTo>
                    <a:cubicBezTo>
                      <a:pt x="126" y="59"/>
                      <a:pt x="123" y="53"/>
                      <a:pt x="119" y="51"/>
                    </a:cubicBezTo>
                    <a:close/>
                  </a:path>
                </a:pathLst>
              </a:custGeom>
              <a:solidFill>
                <a:srgbClr val="FFC9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925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00" name="iṡlidé">
                <a:extLst>
                  <a:ext uri="{FF2B5EF4-FFF2-40B4-BE49-F238E27FC236}">
                    <a16:creationId xmlns:a16="http://schemas.microsoft.com/office/drawing/2014/main" id="{6B37F695-07D7-4277-A397-110481B9339B}"/>
                  </a:ext>
                </a:extLst>
              </p:cNvPr>
              <p:cNvSpPr/>
              <p:nvPr/>
            </p:nvSpPr>
            <p:spPr bwMode="auto">
              <a:xfrm>
                <a:off x="5622621" y="1966154"/>
                <a:ext cx="200594" cy="248886"/>
              </a:xfrm>
              <a:custGeom>
                <a:avLst/>
                <a:gdLst>
                  <a:gd name="T0" fmla="*/ 27 w 78"/>
                  <a:gd name="T1" fmla="*/ 38 h 97"/>
                  <a:gd name="T2" fmla="*/ 42 w 78"/>
                  <a:gd name="T3" fmla="*/ 0 h 97"/>
                  <a:gd name="T4" fmla="*/ 12 w 78"/>
                  <a:gd name="T5" fmla="*/ 46 h 97"/>
                  <a:gd name="T6" fmla="*/ 12 w 78"/>
                  <a:gd name="T7" fmla="*/ 46 h 97"/>
                  <a:gd name="T8" fmla="*/ 7 w 78"/>
                  <a:gd name="T9" fmla="*/ 46 h 97"/>
                  <a:gd name="T10" fmla="*/ 2 w 78"/>
                  <a:gd name="T11" fmla="*/ 59 h 97"/>
                  <a:gd name="T12" fmla="*/ 14 w 78"/>
                  <a:gd name="T13" fmla="*/ 66 h 97"/>
                  <a:gd name="T14" fmla="*/ 16 w 78"/>
                  <a:gd name="T15" fmla="*/ 65 h 97"/>
                  <a:gd name="T16" fmla="*/ 63 w 78"/>
                  <a:gd name="T17" fmla="*/ 97 h 97"/>
                  <a:gd name="T18" fmla="*/ 78 w 78"/>
                  <a:gd name="T19" fmla="*/ 95 h 97"/>
                  <a:gd name="T20" fmla="*/ 27 w 78"/>
                  <a:gd name="T21" fmla="*/ 38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8" h="97">
                    <a:moveTo>
                      <a:pt x="27" y="38"/>
                    </a:moveTo>
                    <a:cubicBezTo>
                      <a:pt x="27" y="24"/>
                      <a:pt x="32" y="10"/>
                      <a:pt x="42" y="0"/>
                    </a:cubicBezTo>
                    <a:cubicBezTo>
                      <a:pt x="24" y="8"/>
                      <a:pt x="12" y="26"/>
                      <a:pt x="12" y="46"/>
                    </a:cubicBezTo>
                    <a:cubicBezTo>
                      <a:pt x="12" y="46"/>
                      <a:pt x="12" y="46"/>
                      <a:pt x="12" y="46"/>
                    </a:cubicBezTo>
                    <a:cubicBezTo>
                      <a:pt x="10" y="46"/>
                      <a:pt x="9" y="45"/>
                      <a:pt x="7" y="46"/>
                    </a:cubicBezTo>
                    <a:cubicBezTo>
                      <a:pt x="2" y="48"/>
                      <a:pt x="0" y="54"/>
                      <a:pt x="2" y="59"/>
                    </a:cubicBezTo>
                    <a:cubicBezTo>
                      <a:pt x="4" y="64"/>
                      <a:pt x="9" y="67"/>
                      <a:pt x="14" y="66"/>
                    </a:cubicBezTo>
                    <a:cubicBezTo>
                      <a:pt x="15" y="65"/>
                      <a:pt x="15" y="65"/>
                      <a:pt x="16" y="65"/>
                    </a:cubicBezTo>
                    <a:cubicBezTo>
                      <a:pt x="23" y="83"/>
                      <a:pt x="41" y="97"/>
                      <a:pt x="63" y="97"/>
                    </a:cubicBezTo>
                    <a:cubicBezTo>
                      <a:pt x="68" y="97"/>
                      <a:pt x="73" y="96"/>
                      <a:pt x="78" y="95"/>
                    </a:cubicBezTo>
                    <a:cubicBezTo>
                      <a:pt x="49" y="92"/>
                      <a:pt x="27" y="68"/>
                      <a:pt x="27" y="38"/>
                    </a:cubicBezTo>
                    <a:close/>
                  </a:path>
                </a:pathLst>
              </a:custGeom>
              <a:solidFill>
                <a:srgbClr val="EAAE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8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01" name="iŝļîḍe">
                <a:extLst>
                  <a:ext uri="{FF2B5EF4-FFF2-40B4-BE49-F238E27FC236}">
                    <a16:creationId xmlns:a16="http://schemas.microsoft.com/office/drawing/2014/main" id="{7CC1D775-DC9A-4F31-85B1-172627A40D7E}"/>
                  </a:ext>
                </a:extLst>
              </p:cNvPr>
              <p:cNvSpPr/>
              <p:nvPr/>
            </p:nvSpPr>
            <p:spPr bwMode="auto">
              <a:xfrm>
                <a:off x="5625097" y="1893099"/>
                <a:ext cx="314512" cy="211739"/>
              </a:xfrm>
              <a:custGeom>
                <a:avLst/>
                <a:gdLst>
                  <a:gd name="T0" fmla="*/ 77 w 122"/>
                  <a:gd name="T1" fmla="*/ 44 h 82"/>
                  <a:gd name="T2" fmla="*/ 34 w 122"/>
                  <a:gd name="T3" fmla="*/ 74 h 82"/>
                  <a:gd name="T4" fmla="*/ 40 w 122"/>
                  <a:gd name="T5" fmla="*/ 59 h 82"/>
                  <a:gd name="T6" fmla="*/ 15 w 122"/>
                  <a:gd name="T7" fmla="*/ 82 h 82"/>
                  <a:gd name="T8" fmla="*/ 6 w 122"/>
                  <a:gd name="T9" fmla="*/ 74 h 82"/>
                  <a:gd name="T10" fmla="*/ 72 w 122"/>
                  <a:gd name="T11" fmla="*/ 10 h 82"/>
                  <a:gd name="T12" fmla="*/ 68 w 122"/>
                  <a:gd name="T13" fmla="*/ 2 h 82"/>
                  <a:gd name="T14" fmla="*/ 104 w 122"/>
                  <a:gd name="T15" fmla="*/ 29 h 82"/>
                  <a:gd name="T16" fmla="*/ 118 w 122"/>
                  <a:gd name="T17" fmla="*/ 74 h 82"/>
                  <a:gd name="T18" fmla="*/ 109 w 122"/>
                  <a:gd name="T19" fmla="*/ 78 h 82"/>
                  <a:gd name="T20" fmla="*/ 77 w 122"/>
                  <a:gd name="T21" fmla="*/ 44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2" h="82">
                    <a:moveTo>
                      <a:pt x="77" y="44"/>
                    </a:moveTo>
                    <a:cubicBezTo>
                      <a:pt x="77" y="44"/>
                      <a:pt x="59" y="71"/>
                      <a:pt x="34" y="74"/>
                    </a:cubicBezTo>
                    <a:cubicBezTo>
                      <a:pt x="40" y="59"/>
                      <a:pt x="40" y="59"/>
                      <a:pt x="40" y="59"/>
                    </a:cubicBezTo>
                    <a:cubicBezTo>
                      <a:pt x="40" y="59"/>
                      <a:pt x="18" y="67"/>
                      <a:pt x="15" y="82"/>
                    </a:cubicBezTo>
                    <a:cubicBezTo>
                      <a:pt x="15" y="82"/>
                      <a:pt x="10" y="74"/>
                      <a:pt x="6" y="74"/>
                    </a:cubicBezTo>
                    <a:cubicBezTo>
                      <a:pt x="6" y="74"/>
                      <a:pt x="0" y="0"/>
                      <a:pt x="72" y="10"/>
                    </a:cubicBezTo>
                    <a:cubicBezTo>
                      <a:pt x="68" y="2"/>
                      <a:pt x="68" y="2"/>
                      <a:pt x="68" y="2"/>
                    </a:cubicBezTo>
                    <a:cubicBezTo>
                      <a:pt x="68" y="2"/>
                      <a:pt x="95" y="4"/>
                      <a:pt x="104" y="29"/>
                    </a:cubicBezTo>
                    <a:cubicBezTo>
                      <a:pt x="104" y="29"/>
                      <a:pt x="122" y="35"/>
                      <a:pt x="118" y="74"/>
                    </a:cubicBezTo>
                    <a:cubicBezTo>
                      <a:pt x="118" y="74"/>
                      <a:pt x="113" y="72"/>
                      <a:pt x="109" y="78"/>
                    </a:cubicBezTo>
                    <a:cubicBezTo>
                      <a:pt x="109" y="78"/>
                      <a:pt x="103" y="48"/>
                      <a:pt x="77" y="44"/>
                    </a:cubicBezTo>
                    <a:close/>
                  </a:path>
                </a:pathLst>
              </a:custGeom>
              <a:solidFill>
                <a:srgbClr val="062F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625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02" name="íSḻïḍé">
                <a:extLst>
                  <a:ext uri="{FF2B5EF4-FFF2-40B4-BE49-F238E27FC236}">
                    <a16:creationId xmlns:a16="http://schemas.microsoft.com/office/drawing/2014/main" id="{C8E0BF1B-9F42-447D-965B-1E3F78BE63E9}"/>
                  </a:ext>
                </a:extLst>
              </p:cNvPr>
              <p:cNvSpPr/>
              <p:nvPr/>
            </p:nvSpPr>
            <p:spPr bwMode="auto">
              <a:xfrm>
                <a:off x="6212021" y="2575367"/>
                <a:ext cx="133730" cy="127539"/>
              </a:xfrm>
              <a:custGeom>
                <a:avLst/>
                <a:gdLst>
                  <a:gd name="T0" fmla="*/ 8 w 52"/>
                  <a:gd name="T1" fmla="*/ 0 h 50"/>
                  <a:gd name="T2" fmla="*/ 1 w 52"/>
                  <a:gd name="T3" fmla="*/ 23 h 50"/>
                  <a:gd name="T4" fmla="*/ 14 w 52"/>
                  <a:gd name="T5" fmla="*/ 16 h 50"/>
                  <a:gd name="T6" fmla="*/ 32 w 52"/>
                  <a:gd name="T7" fmla="*/ 29 h 50"/>
                  <a:gd name="T8" fmla="*/ 46 w 52"/>
                  <a:gd name="T9" fmla="*/ 42 h 50"/>
                  <a:gd name="T10" fmla="*/ 36 w 52"/>
                  <a:gd name="T11" fmla="*/ 0 h 50"/>
                  <a:gd name="T12" fmla="*/ 8 w 52"/>
                  <a:gd name="T13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" h="50">
                    <a:moveTo>
                      <a:pt x="8" y="0"/>
                    </a:moveTo>
                    <a:cubicBezTo>
                      <a:pt x="8" y="0"/>
                      <a:pt x="0" y="18"/>
                      <a:pt x="1" y="23"/>
                    </a:cubicBezTo>
                    <a:cubicBezTo>
                      <a:pt x="2" y="28"/>
                      <a:pt x="10" y="25"/>
                      <a:pt x="14" y="16"/>
                    </a:cubicBezTo>
                    <a:cubicBezTo>
                      <a:pt x="14" y="16"/>
                      <a:pt x="26" y="17"/>
                      <a:pt x="32" y="29"/>
                    </a:cubicBezTo>
                    <a:cubicBezTo>
                      <a:pt x="38" y="41"/>
                      <a:pt x="43" y="50"/>
                      <a:pt x="46" y="42"/>
                    </a:cubicBezTo>
                    <a:cubicBezTo>
                      <a:pt x="49" y="35"/>
                      <a:pt x="52" y="21"/>
                      <a:pt x="36" y="0"/>
                    </a:cubicBez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C9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03" name="îšlîḋé">
                <a:extLst>
                  <a:ext uri="{FF2B5EF4-FFF2-40B4-BE49-F238E27FC236}">
                    <a16:creationId xmlns:a16="http://schemas.microsoft.com/office/drawing/2014/main" id="{1CF076EF-13BB-42D1-BE28-38ED6B38311C}"/>
                  </a:ext>
                </a:extLst>
              </p:cNvPr>
              <p:cNvSpPr/>
              <p:nvPr/>
            </p:nvSpPr>
            <p:spPr bwMode="auto">
              <a:xfrm>
                <a:off x="5455459" y="2253425"/>
                <a:ext cx="126300" cy="76771"/>
              </a:xfrm>
              <a:custGeom>
                <a:avLst/>
                <a:gdLst>
                  <a:gd name="T0" fmla="*/ 37 w 49"/>
                  <a:gd name="T1" fmla="*/ 5 h 30"/>
                  <a:gd name="T2" fmla="*/ 3 w 49"/>
                  <a:gd name="T3" fmla="*/ 7 h 30"/>
                  <a:gd name="T4" fmla="*/ 6 w 49"/>
                  <a:gd name="T5" fmla="*/ 28 h 30"/>
                  <a:gd name="T6" fmla="*/ 47 w 49"/>
                  <a:gd name="T7" fmla="*/ 23 h 30"/>
                  <a:gd name="T8" fmla="*/ 37 w 49"/>
                  <a:gd name="T9" fmla="*/ 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0">
                    <a:moveTo>
                      <a:pt x="37" y="5"/>
                    </a:moveTo>
                    <a:cubicBezTo>
                      <a:pt x="37" y="5"/>
                      <a:pt x="5" y="0"/>
                      <a:pt x="3" y="7"/>
                    </a:cubicBezTo>
                    <a:cubicBezTo>
                      <a:pt x="2" y="13"/>
                      <a:pt x="0" y="25"/>
                      <a:pt x="6" y="28"/>
                    </a:cubicBezTo>
                    <a:cubicBezTo>
                      <a:pt x="13" y="30"/>
                      <a:pt x="45" y="30"/>
                      <a:pt x="47" y="23"/>
                    </a:cubicBezTo>
                    <a:cubicBezTo>
                      <a:pt x="48" y="16"/>
                      <a:pt x="49" y="6"/>
                      <a:pt x="37" y="5"/>
                    </a:cubicBezTo>
                    <a:close/>
                  </a:path>
                </a:pathLst>
              </a:custGeom>
              <a:solidFill>
                <a:srgbClr val="FFC9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04" name="iśḷide">
                <a:extLst>
                  <a:ext uri="{FF2B5EF4-FFF2-40B4-BE49-F238E27FC236}">
                    <a16:creationId xmlns:a16="http://schemas.microsoft.com/office/drawing/2014/main" id="{6E1F2210-FA7D-4730-AF64-5956D0F69A01}"/>
                  </a:ext>
                </a:extLst>
              </p:cNvPr>
              <p:cNvSpPr/>
              <p:nvPr/>
            </p:nvSpPr>
            <p:spPr bwMode="auto">
              <a:xfrm>
                <a:off x="5627574" y="1916625"/>
                <a:ext cx="157256" cy="188212"/>
              </a:xfrm>
              <a:custGeom>
                <a:avLst/>
                <a:gdLst>
                  <a:gd name="T0" fmla="*/ 61 w 61"/>
                  <a:gd name="T1" fmla="*/ 28 h 73"/>
                  <a:gd name="T2" fmla="*/ 24 w 61"/>
                  <a:gd name="T3" fmla="*/ 33 h 73"/>
                  <a:gd name="T4" fmla="*/ 57 w 61"/>
                  <a:gd name="T5" fmla="*/ 0 h 73"/>
                  <a:gd name="T6" fmla="*/ 5 w 61"/>
                  <a:gd name="T7" fmla="*/ 65 h 73"/>
                  <a:gd name="T8" fmla="*/ 14 w 61"/>
                  <a:gd name="T9" fmla="*/ 73 h 73"/>
                  <a:gd name="T10" fmla="*/ 39 w 61"/>
                  <a:gd name="T11" fmla="*/ 50 h 73"/>
                  <a:gd name="T12" fmla="*/ 33 w 61"/>
                  <a:gd name="T13" fmla="*/ 65 h 73"/>
                  <a:gd name="T14" fmla="*/ 61 w 61"/>
                  <a:gd name="T15" fmla="*/ 28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73">
                    <a:moveTo>
                      <a:pt x="61" y="28"/>
                    </a:moveTo>
                    <a:cubicBezTo>
                      <a:pt x="43" y="26"/>
                      <a:pt x="24" y="33"/>
                      <a:pt x="24" y="33"/>
                    </a:cubicBezTo>
                    <a:cubicBezTo>
                      <a:pt x="34" y="11"/>
                      <a:pt x="50" y="3"/>
                      <a:pt x="57" y="0"/>
                    </a:cubicBezTo>
                    <a:cubicBezTo>
                      <a:pt x="0" y="1"/>
                      <a:pt x="5" y="65"/>
                      <a:pt x="5" y="65"/>
                    </a:cubicBezTo>
                    <a:cubicBezTo>
                      <a:pt x="9" y="65"/>
                      <a:pt x="14" y="73"/>
                      <a:pt x="14" y="73"/>
                    </a:cubicBezTo>
                    <a:cubicBezTo>
                      <a:pt x="17" y="58"/>
                      <a:pt x="39" y="50"/>
                      <a:pt x="39" y="50"/>
                    </a:cubicBezTo>
                    <a:cubicBezTo>
                      <a:pt x="33" y="65"/>
                      <a:pt x="33" y="65"/>
                      <a:pt x="33" y="65"/>
                    </a:cubicBezTo>
                    <a:cubicBezTo>
                      <a:pt x="55" y="53"/>
                      <a:pt x="61" y="28"/>
                      <a:pt x="61" y="28"/>
                    </a:cubicBezTo>
                    <a:close/>
                  </a:path>
                </a:pathLst>
              </a:custGeom>
              <a:solidFill>
                <a:srgbClr val="061D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5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05" name="íš1iḍe">
                <a:extLst>
                  <a:ext uri="{FF2B5EF4-FFF2-40B4-BE49-F238E27FC236}">
                    <a16:creationId xmlns:a16="http://schemas.microsoft.com/office/drawing/2014/main" id="{5411BE63-6107-4C0A-9058-3912189097B1}"/>
                  </a:ext>
                </a:extLst>
              </p:cNvPr>
              <p:cNvSpPr/>
              <p:nvPr/>
            </p:nvSpPr>
            <p:spPr bwMode="auto">
              <a:xfrm>
                <a:off x="5161997" y="5048126"/>
                <a:ext cx="746657" cy="292224"/>
              </a:xfrm>
              <a:custGeom>
                <a:avLst/>
                <a:gdLst>
                  <a:gd name="T0" fmla="*/ 214 w 290"/>
                  <a:gd name="T1" fmla="*/ 16 h 114"/>
                  <a:gd name="T2" fmla="*/ 159 w 290"/>
                  <a:gd name="T3" fmla="*/ 5 h 114"/>
                  <a:gd name="T4" fmla="*/ 159 w 290"/>
                  <a:gd name="T5" fmla="*/ 0 h 114"/>
                  <a:gd name="T6" fmla="*/ 145 w 290"/>
                  <a:gd name="T7" fmla="*/ 2 h 114"/>
                  <a:gd name="T8" fmla="*/ 131 w 290"/>
                  <a:gd name="T9" fmla="*/ 0 h 114"/>
                  <a:gd name="T10" fmla="*/ 131 w 290"/>
                  <a:gd name="T11" fmla="*/ 5 h 114"/>
                  <a:gd name="T12" fmla="*/ 76 w 290"/>
                  <a:gd name="T13" fmla="*/ 16 h 114"/>
                  <a:gd name="T14" fmla="*/ 4 w 290"/>
                  <a:gd name="T15" fmla="*/ 74 h 114"/>
                  <a:gd name="T16" fmla="*/ 145 w 290"/>
                  <a:gd name="T17" fmla="*/ 99 h 114"/>
                  <a:gd name="T18" fmla="*/ 286 w 290"/>
                  <a:gd name="T19" fmla="*/ 74 h 114"/>
                  <a:gd name="T20" fmla="*/ 214 w 290"/>
                  <a:gd name="T21" fmla="*/ 16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90" h="114">
                    <a:moveTo>
                      <a:pt x="214" y="16"/>
                    </a:moveTo>
                    <a:cubicBezTo>
                      <a:pt x="159" y="5"/>
                      <a:pt x="159" y="5"/>
                      <a:pt x="159" y="5"/>
                    </a:cubicBezTo>
                    <a:cubicBezTo>
                      <a:pt x="159" y="0"/>
                      <a:pt x="159" y="0"/>
                      <a:pt x="159" y="0"/>
                    </a:cubicBezTo>
                    <a:cubicBezTo>
                      <a:pt x="145" y="2"/>
                      <a:pt x="145" y="2"/>
                      <a:pt x="145" y="2"/>
                    </a:cubicBezTo>
                    <a:cubicBezTo>
                      <a:pt x="131" y="0"/>
                      <a:pt x="131" y="0"/>
                      <a:pt x="131" y="0"/>
                    </a:cubicBezTo>
                    <a:cubicBezTo>
                      <a:pt x="131" y="5"/>
                      <a:pt x="131" y="5"/>
                      <a:pt x="131" y="5"/>
                    </a:cubicBezTo>
                    <a:cubicBezTo>
                      <a:pt x="76" y="16"/>
                      <a:pt x="76" y="16"/>
                      <a:pt x="76" y="16"/>
                    </a:cubicBezTo>
                    <a:cubicBezTo>
                      <a:pt x="76" y="16"/>
                      <a:pt x="0" y="40"/>
                      <a:pt x="4" y="74"/>
                    </a:cubicBezTo>
                    <a:cubicBezTo>
                      <a:pt x="7" y="105"/>
                      <a:pt x="93" y="114"/>
                      <a:pt x="145" y="99"/>
                    </a:cubicBezTo>
                    <a:cubicBezTo>
                      <a:pt x="196" y="114"/>
                      <a:pt x="283" y="105"/>
                      <a:pt x="286" y="74"/>
                    </a:cubicBezTo>
                    <a:cubicBezTo>
                      <a:pt x="290" y="40"/>
                      <a:pt x="214" y="16"/>
                      <a:pt x="214" y="16"/>
                    </a:cubicBezTo>
                    <a:close/>
                  </a:path>
                </a:pathLst>
              </a:custGeom>
              <a:solidFill>
                <a:srgbClr val="062F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92500" lnSpcReduction="1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06" name="îṧḻíḑè">
                <a:extLst>
                  <a:ext uri="{FF2B5EF4-FFF2-40B4-BE49-F238E27FC236}">
                    <a16:creationId xmlns:a16="http://schemas.microsoft.com/office/drawing/2014/main" id="{E0FDBD3B-AA56-44B2-A658-AB999436B0E3}"/>
                  </a:ext>
                </a:extLst>
              </p:cNvPr>
              <p:cNvSpPr/>
              <p:nvPr/>
            </p:nvSpPr>
            <p:spPr bwMode="auto">
              <a:xfrm>
                <a:off x="5161997" y="5060508"/>
                <a:ext cx="735512" cy="279841"/>
              </a:xfrm>
              <a:custGeom>
                <a:avLst/>
                <a:gdLst>
                  <a:gd name="T0" fmla="*/ 286 w 286"/>
                  <a:gd name="T1" fmla="*/ 69 h 109"/>
                  <a:gd name="T2" fmla="*/ 286 w 286"/>
                  <a:gd name="T3" fmla="*/ 66 h 109"/>
                  <a:gd name="T4" fmla="*/ 200 w 286"/>
                  <a:gd name="T5" fmla="*/ 65 h 109"/>
                  <a:gd name="T6" fmla="*/ 225 w 286"/>
                  <a:gd name="T7" fmla="*/ 40 h 109"/>
                  <a:gd name="T8" fmla="*/ 135 w 286"/>
                  <a:gd name="T9" fmla="*/ 40 h 109"/>
                  <a:gd name="T10" fmla="*/ 89 w 286"/>
                  <a:gd name="T11" fmla="*/ 45 h 109"/>
                  <a:gd name="T12" fmla="*/ 145 w 286"/>
                  <a:gd name="T13" fmla="*/ 55 h 109"/>
                  <a:gd name="T14" fmla="*/ 161 w 286"/>
                  <a:gd name="T15" fmla="*/ 80 h 109"/>
                  <a:gd name="T16" fmla="*/ 35 w 286"/>
                  <a:gd name="T17" fmla="*/ 55 h 109"/>
                  <a:gd name="T18" fmla="*/ 128 w 286"/>
                  <a:gd name="T19" fmla="*/ 0 h 109"/>
                  <a:gd name="T20" fmla="*/ 76 w 286"/>
                  <a:gd name="T21" fmla="*/ 11 h 109"/>
                  <a:gd name="T22" fmla="*/ 4 w 286"/>
                  <a:gd name="T23" fmla="*/ 69 h 109"/>
                  <a:gd name="T24" fmla="*/ 145 w 286"/>
                  <a:gd name="T25" fmla="*/ 94 h 109"/>
                  <a:gd name="T26" fmla="*/ 286 w 286"/>
                  <a:gd name="T27" fmla="*/ 6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6" h="109">
                    <a:moveTo>
                      <a:pt x="286" y="69"/>
                    </a:moveTo>
                    <a:cubicBezTo>
                      <a:pt x="286" y="68"/>
                      <a:pt x="286" y="67"/>
                      <a:pt x="286" y="66"/>
                    </a:cubicBezTo>
                    <a:cubicBezTo>
                      <a:pt x="263" y="86"/>
                      <a:pt x="205" y="83"/>
                      <a:pt x="200" y="65"/>
                    </a:cubicBezTo>
                    <a:cubicBezTo>
                      <a:pt x="194" y="46"/>
                      <a:pt x="225" y="40"/>
                      <a:pt x="225" y="40"/>
                    </a:cubicBezTo>
                    <a:cubicBezTo>
                      <a:pt x="225" y="40"/>
                      <a:pt x="159" y="40"/>
                      <a:pt x="135" y="40"/>
                    </a:cubicBezTo>
                    <a:cubicBezTo>
                      <a:pt x="110" y="40"/>
                      <a:pt x="89" y="45"/>
                      <a:pt x="89" y="45"/>
                    </a:cubicBezTo>
                    <a:cubicBezTo>
                      <a:pt x="145" y="55"/>
                      <a:pt x="145" y="55"/>
                      <a:pt x="145" y="55"/>
                    </a:cubicBezTo>
                    <a:cubicBezTo>
                      <a:pt x="161" y="80"/>
                      <a:pt x="161" y="80"/>
                      <a:pt x="161" y="80"/>
                    </a:cubicBezTo>
                    <a:cubicBezTo>
                      <a:pt x="161" y="80"/>
                      <a:pt x="34" y="73"/>
                      <a:pt x="35" y="55"/>
                    </a:cubicBezTo>
                    <a:cubicBezTo>
                      <a:pt x="36" y="37"/>
                      <a:pt x="128" y="0"/>
                      <a:pt x="128" y="0"/>
                    </a:cubicBezTo>
                    <a:cubicBezTo>
                      <a:pt x="76" y="11"/>
                      <a:pt x="76" y="11"/>
                      <a:pt x="76" y="11"/>
                    </a:cubicBezTo>
                    <a:cubicBezTo>
                      <a:pt x="76" y="11"/>
                      <a:pt x="0" y="35"/>
                      <a:pt x="4" y="69"/>
                    </a:cubicBezTo>
                    <a:cubicBezTo>
                      <a:pt x="7" y="100"/>
                      <a:pt x="93" y="109"/>
                      <a:pt x="145" y="94"/>
                    </a:cubicBezTo>
                    <a:cubicBezTo>
                      <a:pt x="196" y="109"/>
                      <a:pt x="283" y="100"/>
                      <a:pt x="286" y="69"/>
                    </a:cubicBezTo>
                    <a:close/>
                  </a:path>
                </a:pathLst>
              </a:custGeom>
              <a:solidFill>
                <a:srgbClr val="061D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925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07" name="îsľïďé">
                <a:extLst>
                  <a:ext uri="{FF2B5EF4-FFF2-40B4-BE49-F238E27FC236}">
                    <a16:creationId xmlns:a16="http://schemas.microsoft.com/office/drawing/2014/main" id="{C899BBEE-9049-40D1-AD10-81012995142F}"/>
                  </a:ext>
                </a:extLst>
              </p:cNvPr>
              <p:cNvSpPr/>
              <p:nvPr/>
            </p:nvSpPr>
            <p:spPr bwMode="auto">
              <a:xfrm>
                <a:off x="6083245" y="4458725"/>
                <a:ext cx="216692" cy="121347"/>
              </a:xfrm>
              <a:custGeom>
                <a:avLst/>
                <a:gdLst>
                  <a:gd name="T0" fmla="*/ 19 w 84"/>
                  <a:gd name="T1" fmla="*/ 44 h 47"/>
                  <a:gd name="T2" fmla="*/ 15 w 84"/>
                  <a:gd name="T3" fmla="*/ 32 h 47"/>
                  <a:gd name="T4" fmla="*/ 6 w 84"/>
                  <a:gd name="T5" fmla="*/ 7 h 47"/>
                  <a:gd name="T6" fmla="*/ 22 w 84"/>
                  <a:gd name="T7" fmla="*/ 18 h 47"/>
                  <a:gd name="T8" fmla="*/ 82 w 84"/>
                  <a:gd name="T9" fmla="*/ 9 h 47"/>
                  <a:gd name="T10" fmla="*/ 33 w 84"/>
                  <a:gd name="T11" fmla="*/ 47 h 47"/>
                  <a:gd name="T12" fmla="*/ 19 w 84"/>
                  <a:gd name="T13" fmla="*/ 4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47">
                    <a:moveTo>
                      <a:pt x="19" y="44"/>
                    </a:moveTo>
                    <a:cubicBezTo>
                      <a:pt x="15" y="32"/>
                      <a:pt x="15" y="32"/>
                      <a:pt x="15" y="32"/>
                    </a:cubicBezTo>
                    <a:cubicBezTo>
                      <a:pt x="15" y="32"/>
                      <a:pt x="0" y="12"/>
                      <a:pt x="6" y="7"/>
                    </a:cubicBezTo>
                    <a:cubicBezTo>
                      <a:pt x="11" y="2"/>
                      <a:pt x="11" y="14"/>
                      <a:pt x="22" y="18"/>
                    </a:cubicBezTo>
                    <a:cubicBezTo>
                      <a:pt x="33" y="23"/>
                      <a:pt x="79" y="0"/>
                      <a:pt x="82" y="9"/>
                    </a:cubicBezTo>
                    <a:cubicBezTo>
                      <a:pt x="84" y="16"/>
                      <a:pt x="45" y="32"/>
                      <a:pt x="33" y="47"/>
                    </a:cubicBezTo>
                    <a:lnTo>
                      <a:pt x="19" y="44"/>
                    </a:lnTo>
                    <a:close/>
                  </a:path>
                </a:pathLst>
              </a:custGeom>
              <a:solidFill>
                <a:srgbClr val="FFC9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08" name="ï$1îḍè">
                <a:extLst>
                  <a:ext uri="{FF2B5EF4-FFF2-40B4-BE49-F238E27FC236}">
                    <a16:creationId xmlns:a16="http://schemas.microsoft.com/office/drawing/2014/main" id="{B145AB89-74DA-445E-96CC-A4A4A79C3779}"/>
                  </a:ext>
                </a:extLst>
              </p:cNvPr>
              <p:cNvSpPr/>
              <p:nvPr/>
            </p:nvSpPr>
            <p:spPr bwMode="auto">
              <a:xfrm>
                <a:off x="5231338" y="4539210"/>
                <a:ext cx="937345" cy="542348"/>
              </a:xfrm>
              <a:custGeom>
                <a:avLst/>
                <a:gdLst>
                  <a:gd name="T0" fmla="*/ 115 w 364"/>
                  <a:gd name="T1" fmla="*/ 44 h 211"/>
                  <a:gd name="T2" fmla="*/ 54 w 364"/>
                  <a:gd name="T3" fmla="*/ 68 h 211"/>
                  <a:gd name="T4" fmla="*/ 4 w 364"/>
                  <a:gd name="T5" fmla="*/ 175 h 211"/>
                  <a:gd name="T6" fmla="*/ 86 w 364"/>
                  <a:gd name="T7" fmla="*/ 211 h 211"/>
                  <a:gd name="T8" fmla="*/ 179 w 364"/>
                  <a:gd name="T9" fmla="*/ 211 h 211"/>
                  <a:gd name="T10" fmla="*/ 194 w 364"/>
                  <a:gd name="T11" fmla="*/ 95 h 211"/>
                  <a:gd name="T12" fmla="*/ 287 w 364"/>
                  <a:gd name="T13" fmla="*/ 95 h 211"/>
                  <a:gd name="T14" fmla="*/ 364 w 364"/>
                  <a:gd name="T15" fmla="*/ 16 h 211"/>
                  <a:gd name="T16" fmla="*/ 346 w 364"/>
                  <a:gd name="T17" fmla="*/ 1 h 211"/>
                  <a:gd name="T18" fmla="*/ 275 w 364"/>
                  <a:gd name="T19" fmla="*/ 62 h 211"/>
                  <a:gd name="T20" fmla="*/ 129 w 364"/>
                  <a:gd name="T21" fmla="*/ 44 h 211"/>
                  <a:gd name="T22" fmla="*/ 115 w 364"/>
                  <a:gd name="T23" fmla="*/ 44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4" h="211">
                    <a:moveTo>
                      <a:pt x="115" y="44"/>
                    </a:moveTo>
                    <a:cubicBezTo>
                      <a:pt x="115" y="44"/>
                      <a:pt x="61" y="63"/>
                      <a:pt x="54" y="68"/>
                    </a:cubicBezTo>
                    <a:cubicBezTo>
                      <a:pt x="43" y="75"/>
                      <a:pt x="0" y="162"/>
                      <a:pt x="4" y="175"/>
                    </a:cubicBezTo>
                    <a:cubicBezTo>
                      <a:pt x="13" y="199"/>
                      <a:pt x="86" y="211"/>
                      <a:pt x="86" y="211"/>
                    </a:cubicBezTo>
                    <a:cubicBezTo>
                      <a:pt x="179" y="211"/>
                      <a:pt x="179" y="211"/>
                      <a:pt x="179" y="211"/>
                    </a:cubicBezTo>
                    <a:cubicBezTo>
                      <a:pt x="194" y="95"/>
                      <a:pt x="194" y="95"/>
                      <a:pt x="194" y="95"/>
                    </a:cubicBezTo>
                    <a:cubicBezTo>
                      <a:pt x="194" y="95"/>
                      <a:pt x="278" y="96"/>
                      <a:pt x="287" y="95"/>
                    </a:cubicBezTo>
                    <a:cubicBezTo>
                      <a:pt x="307" y="91"/>
                      <a:pt x="364" y="16"/>
                      <a:pt x="364" y="16"/>
                    </a:cubicBezTo>
                    <a:cubicBezTo>
                      <a:pt x="364" y="16"/>
                      <a:pt x="351" y="0"/>
                      <a:pt x="346" y="1"/>
                    </a:cubicBezTo>
                    <a:cubicBezTo>
                      <a:pt x="346" y="1"/>
                      <a:pt x="284" y="61"/>
                      <a:pt x="275" y="62"/>
                    </a:cubicBezTo>
                    <a:cubicBezTo>
                      <a:pt x="267" y="63"/>
                      <a:pt x="137" y="44"/>
                      <a:pt x="129" y="44"/>
                    </a:cubicBezTo>
                    <a:cubicBezTo>
                      <a:pt x="122" y="44"/>
                      <a:pt x="115" y="44"/>
                      <a:pt x="115" y="44"/>
                    </a:cubicBezTo>
                    <a:close/>
                  </a:path>
                </a:pathLst>
              </a:custGeom>
              <a:solidFill>
                <a:srgbClr val="3D9E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09" name="iṣlîdê">
                <a:extLst>
                  <a:ext uri="{FF2B5EF4-FFF2-40B4-BE49-F238E27FC236}">
                    <a16:creationId xmlns:a16="http://schemas.microsoft.com/office/drawing/2014/main" id="{46B3A59B-8D01-4A8E-8EDC-944BB9439B15}"/>
                  </a:ext>
                </a:extLst>
              </p:cNvPr>
              <p:cNvSpPr/>
              <p:nvPr/>
            </p:nvSpPr>
            <p:spPr bwMode="auto">
              <a:xfrm>
                <a:off x="5231338" y="4708849"/>
                <a:ext cx="147351" cy="349183"/>
              </a:xfrm>
              <a:custGeom>
                <a:avLst/>
                <a:gdLst>
                  <a:gd name="T0" fmla="*/ 57 w 57"/>
                  <a:gd name="T1" fmla="*/ 0 h 136"/>
                  <a:gd name="T2" fmla="*/ 54 w 57"/>
                  <a:gd name="T3" fmla="*/ 2 h 136"/>
                  <a:gd name="T4" fmla="*/ 4 w 57"/>
                  <a:gd name="T5" fmla="*/ 109 h 136"/>
                  <a:gd name="T6" fmla="*/ 50 w 57"/>
                  <a:gd name="T7" fmla="*/ 136 h 136"/>
                  <a:gd name="T8" fmla="*/ 57 w 57"/>
                  <a:gd name="T9" fmla="*/ 122 h 136"/>
                  <a:gd name="T10" fmla="*/ 18 w 57"/>
                  <a:gd name="T11" fmla="*/ 92 h 136"/>
                  <a:gd name="T12" fmla="*/ 57 w 57"/>
                  <a:gd name="T13" fmla="*/ 0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136">
                    <a:moveTo>
                      <a:pt x="57" y="0"/>
                    </a:moveTo>
                    <a:cubicBezTo>
                      <a:pt x="56" y="1"/>
                      <a:pt x="55" y="1"/>
                      <a:pt x="54" y="2"/>
                    </a:cubicBezTo>
                    <a:cubicBezTo>
                      <a:pt x="43" y="9"/>
                      <a:pt x="0" y="96"/>
                      <a:pt x="4" y="109"/>
                    </a:cubicBezTo>
                    <a:cubicBezTo>
                      <a:pt x="9" y="121"/>
                      <a:pt x="30" y="130"/>
                      <a:pt x="50" y="136"/>
                    </a:cubicBezTo>
                    <a:cubicBezTo>
                      <a:pt x="57" y="122"/>
                      <a:pt x="57" y="122"/>
                      <a:pt x="57" y="122"/>
                    </a:cubicBezTo>
                    <a:cubicBezTo>
                      <a:pt x="57" y="122"/>
                      <a:pt x="16" y="100"/>
                      <a:pt x="18" y="92"/>
                    </a:cubicBezTo>
                    <a:cubicBezTo>
                      <a:pt x="21" y="85"/>
                      <a:pt x="48" y="19"/>
                      <a:pt x="57" y="0"/>
                    </a:cubicBezTo>
                    <a:close/>
                  </a:path>
                </a:pathLst>
              </a:custGeom>
              <a:solidFill>
                <a:srgbClr val="116E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110" name="ïşļîḋè">
                <a:extLst>
                  <a:ext uri="{FF2B5EF4-FFF2-40B4-BE49-F238E27FC236}">
                    <a16:creationId xmlns:a16="http://schemas.microsoft.com/office/drawing/2014/main" id="{41F4E05F-E8DA-48B2-92FF-BE55B3366DB9}"/>
                  </a:ext>
                </a:extLst>
              </p:cNvPr>
              <p:cNvSpPr/>
              <p:nvPr/>
            </p:nvSpPr>
            <p:spPr bwMode="auto">
              <a:xfrm>
                <a:off x="5496321" y="4618457"/>
                <a:ext cx="78009" cy="64388"/>
              </a:xfrm>
              <a:prstGeom prst="ellipse">
                <a:avLst/>
              </a:prstGeom>
              <a:solidFill>
                <a:srgbClr val="D89A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11" name="iSļïḍé">
                <a:extLst>
                  <a:ext uri="{FF2B5EF4-FFF2-40B4-BE49-F238E27FC236}">
                    <a16:creationId xmlns:a16="http://schemas.microsoft.com/office/drawing/2014/main" id="{4BF2061C-08B7-4A87-BC11-6414F79C22B3}"/>
                  </a:ext>
                </a:extLst>
              </p:cNvPr>
              <p:cNvSpPr/>
              <p:nvPr/>
            </p:nvSpPr>
            <p:spPr bwMode="auto">
              <a:xfrm>
                <a:off x="5372497" y="4391860"/>
                <a:ext cx="324418" cy="260030"/>
              </a:xfrm>
              <a:custGeom>
                <a:avLst/>
                <a:gdLst>
                  <a:gd name="T0" fmla="*/ 119 w 126"/>
                  <a:gd name="T1" fmla="*/ 50 h 101"/>
                  <a:gd name="T2" fmla="*/ 114 w 126"/>
                  <a:gd name="T3" fmla="*/ 50 h 101"/>
                  <a:gd name="T4" fmla="*/ 114 w 126"/>
                  <a:gd name="T5" fmla="*/ 50 h 101"/>
                  <a:gd name="T6" fmla="*/ 63 w 126"/>
                  <a:gd name="T7" fmla="*/ 0 h 101"/>
                  <a:gd name="T8" fmla="*/ 12 w 126"/>
                  <a:gd name="T9" fmla="*/ 50 h 101"/>
                  <a:gd name="T10" fmla="*/ 12 w 126"/>
                  <a:gd name="T11" fmla="*/ 50 h 101"/>
                  <a:gd name="T12" fmla="*/ 7 w 126"/>
                  <a:gd name="T13" fmla="*/ 50 h 101"/>
                  <a:gd name="T14" fmla="*/ 2 w 126"/>
                  <a:gd name="T15" fmla="*/ 63 h 101"/>
                  <a:gd name="T16" fmla="*/ 14 w 126"/>
                  <a:gd name="T17" fmla="*/ 70 h 101"/>
                  <a:gd name="T18" fmla="*/ 16 w 126"/>
                  <a:gd name="T19" fmla="*/ 69 h 101"/>
                  <a:gd name="T20" fmla="*/ 63 w 126"/>
                  <a:gd name="T21" fmla="*/ 101 h 101"/>
                  <a:gd name="T22" fmla="*/ 110 w 126"/>
                  <a:gd name="T23" fmla="*/ 69 h 101"/>
                  <a:gd name="T24" fmla="*/ 112 w 126"/>
                  <a:gd name="T25" fmla="*/ 70 h 101"/>
                  <a:gd name="T26" fmla="*/ 124 w 126"/>
                  <a:gd name="T27" fmla="*/ 63 h 101"/>
                  <a:gd name="T28" fmla="*/ 119 w 126"/>
                  <a:gd name="T29" fmla="*/ 5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6" h="101">
                    <a:moveTo>
                      <a:pt x="119" y="50"/>
                    </a:moveTo>
                    <a:cubicBezTo>
                      <a:pt x="117" y="50"/>
                      <a:pt x="115" y="50"/>
                      <a:pt x="114" y="50"/>
                    </a:cubicBezTo>
                    <a:cubicBezTo>
                      <a:pt x="114" y="50"/>
                      <a:pt x="114" y="50"/>
                      <a:pt x="114" y="50"/>
                    </a:cubicBezTo>
                    <a:cubicBezTo>
                      <a:pt x="114" y="22"/>
                      <a:pt x="91" y="0"/>
                      <a:pt x="63" y="0"/>
                    </a:cubicBezTo>
                    <a:cubicBezTo>
                      <a:pt x="35" y="0"/>
                      <a:pt x="12" y="22"/>
                      <a:pt x="12" y="50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11" y="50"/>
                      <a:pt x="9" y="50"/>
                      <a:pt x="7" y="50"/>
                    </a:cubicBezTo>
                    <a:cubicBezTo>
                      <a:pt x="2" y="52"/>
                      <a:pt x="0" y="58"/>
                      <a:pt x="2" y="63"/>
                    </a:cubicBezTo>
                    <a:cubicBezTo>
                      <a:pt x="4" y="69"/>
                      <a:pt x="10" y="72"/>
                      <a:pt x="14" y="70"/>
                    </a:cubicBezTo>
                    <a:cubicBezTo>
                      <a:pt x="15" y="70"/>
                      <a:pt x="15" y="69"/>
                      <a:pt x="16" y="69"/>
                    </a:cubicBezTo>
                    <a:cubicBezTo>
                      <a:pt x="23" y="88"/>
                      <a:pt x="42" y="101"/>
                      <a:pt x="63" y="101"/>
                    </a:cubicBezTo>
                    <a:cubicBezTo>
                      <a:pt x="84" y="101"/>
                      <a:pt x="103" y="88"/>
                      <a:pt x="110" y="69"/>
                    </a:cubicBezTo>
                    <a:cubicBezTo>
                      <a:pt x="111" y="69"/>
                      <a:pt x="111" y="70"/>
                      <a:pt x="112" y="70"/>
                    </a:cubicBezTo>
                    <a:cubicBezTo>
                      <a:pt x="116" y="72"/>
                      <a:pt x="122" y="69"/>
                      <a:pt x="124" y="63"/>
                    </a:cubicBezTo>
                    <a:cubicBezTo>
                      <a:pt x="126" y="58"/>
                      <a:pt x="124" y="52"/>
                      <a:pt x="119" y="50"/>
                    </a:cubicBezTo>
                    <a:close/>
                  </a:path>
                </a:pathLst>
              </a:custGeom>
              <a:solidFill>
                <a:srgbClr val="FFC9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8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12" name="ïślïďe">
                <a:extLst>
                  <a:ext uri="{FF2B5EF4-FFF2-40B4-BE49-F238E27FC236}">
                    <a16:creationId xmlns:a16="http://schemas.microsoft.com/office/drawing/2014/main" id="{2864E4D6-85BD-46D2-A25E-E602E2DEA616}"/>
                  </a:ext>
                </a:extLst>
              </p:cNvPr>
              <p:cNvSpPr/>
              <p:nvPr/>
            </p:nvSpPr>
            <p:spPr bwMode="auto">
              <a:xfrm>
                <a:off x="5372497" y="4458725"/>
                <a:ext cx="219168" cy="193165"/>
              </a:xfrm>
              <a:custGeom>
                <a:avLst/>
                <a:gdLst>
                  <a:gd name="T0" fmla="*/ 82 w 85"/>
                  <a:gd name="T1" fmla="*/ 70 h 75"/>
                  <a:gd name="T2" fmla="*/ 18 w 85"/>
                  <a:gd name="T3" fmla="*/ 5 h 75"/>
                  <a:gd name="T4" fmla="*/ 18 w 85"/>
                  <a:gd name="T5" fmla="*/ 0 h 75"/>
                  <a:gd name="T6" fmla="*/ 12 w 85"/>
                  <a:gd name="T7" fmla="*/ 24 h 75"/>
                  <a:gd name="T8" fmla="*/ 12 w 85"/>
                  <a:gd name="T9" fmla="*/ 24 h 75"/>
                  <a:gd name="T10" fmla="*/ 7 w 85"/>
                  <a:gd name="T11" fmla="*/ 24 h 75"/>
                  <a:gd name="T12" fmla="*/ 2 w 85"/>
                  <a:gd name="T13" fmla="*/ 37 h 75"/>
                  <a:gd name="T14" fmla="*/ 14 w 85"/>
                  <a:gd name="T15" fmla="*/ 44 h 75"/>
                  <a:gd name="T16" fmla="*/ 16 w 85"/>
                  <a:gd name="T17" fmla="*/ 43 h 75"/>
                  <a:gd name="T18" fmla="*/ 63 w 85"/>
                  <a:gd name="T19" fmla="*/ 75 h 75"/>
                  <a:gd name="T20" fmla="*/ 85 w 85"/>
                  <a:gd name="T21" fmla="*/ 70 h 75"/>
                  <a:gd name="T22" fmla="*/ 82 w 85"/>
                  <a:gd name="T23" fmla="*/ 7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5" h="75">
                    <a:moveTo>
                      <a:pt x="82" y="70"/>
                    </a:moveTo>
                    <a:cubicBezTo>
                      <a:pt x="47" y="70"/>
                      <a:pt x="18" y="41"/>
                      <a:pt x="18" y="5"/>
                    </a:cubicBezTo>
                    <a:cubicBezTo>
                      <a:pt x="18" y="4"/>
                      <a:pt x="18" y="2"/>
                      <a:pt x="18" y="0"/>
                    </a:cubicBezTo>
                    <a:cubicBezTo>
                      <a:pt x="14" y="7"/>
                      <a:pt x="12" y="16"/>
                      <a:pt x="12" y="24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1" y="24"/>
                      <a:pt x="9" y="24"/>
                      <a:pt x="7" y="24"/>
                    </a:cubicBezTo>
                    <a:cubicBezTo>
                      <a:pt x="2" y="26"/>
                      <a:pt x="0" y="32"/>
                      <a:pt x="2" y="37"/>
                    </a:cubicBezTo>
                    <a:cubicBezTo>
                      <a:pt x="4" y="43"/>
                      <a:pt x="10" y="46"/>
                      <a:pt x="14" y="44"/>
                    </a:cubicBezTo>
                    <a:cubicBezTo>
                      <a:pt x="15" y="44"/>
                      <a:pt x="15" y="43"/>
                      <a:pt x="16" y="43"/>
                    </a:cubicBezTo>
                    <a:cubicBezTo>
                      <a:pt x="23" y="62"/>
                      <a:pt x="42" y="75"/>
                      <a:pt x="63" y="75"/>
                    </a:cubicBezTo>
                    <a:cubicBezTo>
                      <a:pt x="71" y="75"/>
                      <a:pt x="79" y="73"/>
                      <a:pt x="85" y="70"/>
                    </a:cubicBezTo>
                    <a:cubicBezTo>
                      <a:pt x="84" y="70"/>
                      <a:pt x="83" y="70"/>
                      <a:pt x="82" y="70"/>
                    </a:cubicBezTo>
                    <a:close/>
                  </a:path>
                </a:pathLst>
              </a:custGeom>
              <a:solidFill>
                <a:srgbClr val="EAB1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5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13" name="iSľiḍê">
                <a:extLst>
                  <a:ext uri="{FF2B5EF4-FFF2-40B4-BE49-F238E27FC236}">
                    <a16:creationId xmlns:a16="http://schemas.microsoft.com/office/drawing/2014/main" id="{17F194A4-BE5A-4E54-AB08-0100FA6E5FB3}"/>
                  </a:ext>
                </a:extLst>
              </p:cNvPr>
              <p:cNvSpPr/>
              <p:nvPr/>
            </p:nvSpPr>
            <p:spPr bwMode="auto">
              <a:xfrm>
                <a:off x="5381164" y="4333663"/>
                <a:ext cx="308321" cy="208024"/>
              </a:xfrm>
              <a:custGeom>
                <a:avLst/>
                <a:gdLst>
                  <a:gd name="T0" fmla="*/ 32 w 120"/>
                  <a:gd name="T1" fmla="*/ 49 h 81"/>
                  <a:gd name="T2" fmla="*/ 71 w 120"/>
                  <a:gd name="T3" fmla="*/ 61 h 81"/>
                  <a:gd name="T4" fmla="*/ 107 w 120"/>
                  <a:gd name="T5" fmla="*/ 81 h 81"/>
                  <a:gd name="T6" fmla="*/ 116 w 120"/>
                  <a:gd name="T7" fmla="*/ 73 h 81"/>
                  <a:gd name="T8" fmla="*/ 96 w 120"/>
                  <a:gd name="T9" fmla="*/ 26 h 81"/>
                  <a:gd name="T10" fmla="*/ 28 w 120"/>
                  <a:gd name="T11" fmla="*/ 30 h 81"/>
                  <a:gd name="T12" fmla="*/ 4 w 120"/>
                  <a:gd name="T13" fmla="*/ 73 h 81"/>
                  <a:gd name="T14" fmla="*/ 14 w 120"/>
                  <a:gd name="T15" fmla="*/ 79 h 81"/>
                  <a:gd name="T16" fmla="*/ 32 w 120"/>
                  <a:gd name="T17" fmla="*/ 49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" h="81">
                    <a:moveTo>
                      <a:pt x="32" y="49"/>
                    </a:moveTo>
                    <a:cubicBezTo>
                      <a:pt x="32" y="49"/>
                      <a:pt x="39" y="62"/>
                      <a:pt x="71" y="61"/>
                    </a:cubicBezTo>
                    <a:cubicBezTo>
                      <a:pt x="103" y="60"/>
                      <a:pt x="106" y="70"/>
                      <a:pt x="107" y="81"/>
                    </a:cubicBezTo>
                    <a:cubicBezTo>
                      <a:pt x="107" y="81"/>
                      <a:pt x="108" y="73"/>
                      <a:pt x="116" y="73"/>
                    </a:cubicBezTo>
                    <a:cubicBezTo>
                      <a:pt x="116" y="73"/>
                      <a:pt x="120" y="44"/>
                      <a:pt x="96" y="26"/>
                    </a:cubicBezTo>
                    <a:cubicBezTo>
                      <a:pt x="59" y="0"/>
                      <a:pt x="28" y="30"/>
                      <a:pt x="28" y="30"/>
                    </a:cubicBezTo>
                    <a:cubicBezTo>
                      <a:pt x="28" y="30"/>
                      <a:pt x="0" y="36"/>
                      <a:pt x="4" y="73"/>
                    </a:cubicBezTo>
                    <a:cubicBezTo>
                      <a:pt x="4" y="73"/>
                      <a:pt x="12" y="73"/>
                      <a:pt x="14" y="79"/>
                    </a:cubicBezTo>
                    <a:cubicBezTo>
                      <a:pt x="14" y="79"/>
                      <a:pt x="15" y="57"/>
                      <a:pt x="32" y="49"/>
                    </a:cubicBezTo>
                    <a:close/>
                  </a:path>
                </a:pathLst>
              </a:custGeom>
              <a:solidFill>
                <a:srgbClr val="062F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625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14" name="iṧľîdê">
                <a:extLst>
                  <a:ext uri="{FF2B5EF4-FFF2-40B4-BE49-F238E27FC236}">
                    <a16:creationId xmlns:a16="http://schemas.microsoft.com/office/drawing/2014/main" id="{2D8CF6EC-3E23-4735-B5E2-C41110F6760C}"/>
                  </a:ext>
                </a:extLst>
              </p:cNvPr>
              <p:cNvSpPr/>
              <p:nvPr/>
            </p:nvSpPr>
            <p:spPr bwMode="auto">
              <a:xfrm>
                <a:off x="5314300" y="4826481"/>
                <a:ext cx="442051" cy="255077"/>
              </a:xfrm>
              <a:custGeom>
                <a:avLst/>
                <a:gdLst>
                  <a:gd name="T0" fmla="*/ 164 w 172"/>
                  <a:gd name="T1" fmla="*/ 0 h 99"/>
                  <a:gd name="T2" fmla="*/ 8 w 172"/>
                  <a:gd name="T3" fmla="*/ 0 h 99"/>
                  <a:gd name="T4" fmla="*/ 4 w 172"/>
                  <a:gd name="T5" fmla="*/ 1 h 99"/>
                  <a:gd name="T6" fmla="*/ 0 w 172"/>
                  <a:gd name="T7" fmla="*/ 8 h 99"/>
                  <a:gd name="T8" fmla="*/ 0 w 172"/>
                  <a:gd name="T9" fmla="*/ 90 h 99"/>
                  <a:gd name="T10" fmla="*/ 4 w 172"/>
                  <a:gd name="T11" fmla="*/ 98 h 99"/>
                  <a:gd name="T12" fmla="*/ 8 w 172"/>
                  <a:gd name="T13" fmla="*/ 99 h 99"/>
                  <a:gd name="T14" fmla="*/ 164 w 172"/>
                  <a:gd name="T15" fmla="*/ 99 h 99"/>
                  <a:gd name="T16" fmla="*/ 171 w 172"/>
                  <a:gd name="T17" fmla="*/ 95 h 99"/>
                  <a:gd name="T18" fmla="*/ 172 w 172"/>
                  <a:gd name="T19" fmla="*/ 90 h 99"/>
                  <a:gd name="T20" fmla="*/ 172 w 172"/>
                  <a:gd name="T21" fmla="*/ 8 h 99"/>
                  <a:gd name="T22" fmla="*/ 170 w 172"/>
                  <a:gd name="T23" fmla="*/ 2 h 99"/>
                  <a:gd name="T24" fmla="*/ 164 w 172"/>
                  <a:gd name="T25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2" h="99">
                    <a:moveTo>
                      <a:pt x="164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5" y="0"/>
                      <a:pt x="4" y="1"/>
                    </a:cubicBezTo>
                    <a:cubicBezTo>
                      <a:pt x="1" y="2"/>
                      <a:pt x="0" y="5"/>
                      <a:pt x="0" y="8"/>
                    </a:cubicBezTo>
                    <a:cubicBezTo>
                      <a:pt x="0" y="90"/>
                      <a:pt x="0" y="90"/>
                      <a:pt x="0" y="90"/>
                    </a:cubicBezTo>
                    <a:cubicBezTo>
                      <a:pt x="0" y="94"/>
                      <a:pt x="1" y="96"/>
                      <a:pt x="4" y="98"/>
                    </a:cubicBezTo>
                    <a:cubicBezTo>
                      <a:pt x="5" y="98"/>
                      <a:pt x="7" y="99"/>
                      <a:pt x="8" y="99"/>
                    </a:cubicBezTo>
                    <a:cubicBezTo>
                      <a:pt x="164" y="99"/>
                      <a:pt x="164" y="99"/>
                      <a:pt x="164" y="99"/>
                    </a:cubicBezTo>
                    <a:cubicBezTo>
                      <a:pt x="167" y="99"/>
                      <a:pt x="169" y="97"/>
                      <a:pt x="171" y="95"/>
                    </a:cubicBezTo>
                    <a:cubicBezTo>
                      <a:pt x="172" y="94"/>
                      <a:pt x="172" y="92"/>
                      <a:pt x="172" y="90"/>
                    </a:cubicBezTo>
                    <a:cubicBezTo>
                      <a:pt x="172" y="8"/>
                      <a:pt x="172" y="8"/>
                      <a:pt x="172" y="8"/>
                    </a:cubicBezTo>
                    <a:cubicBezTo>
                      <a:pt x="172" y="6"/>
                      <a:pt x="171" y="4"/>
                      <a:pt x="170" y="2"/>
                    </a:cubicBezTo>
                    <a:cubicBezTo>
                      <a:pt x="168" y="1"/>
                      <a:pt x="166" y="0"/>
                      <a:pt x="164" y="0"/>
                    </a:cubicBezTo>
                    <a:close/>
                  </a:path>
                </a:pathLst>
              </a:custGeom>
              <a:solidFill>
                <a:srgbClr val="D1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8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15" name="ïšļiḍé">
                <a:extLst>
                  <a:ext uri="{FF2B5EF4-FFF2-40B4-BE49-F238E27FC236}">
                    <a16:creationId xmlns:a16="http://schemas.microsoft.com/office/drawing/2014/main" id="{DF238D65-D3CC-4951-A4AE-A3C8E51834C7}"/>
                  </a:ext>
                </a:extLst>
              </p:cNvPr>
              <p:cNvSpPr/>
              <p:nvPr/>
            </p:nvSpPr>
            <p:spPr bwMode="auto">
              <a:xfrm>
                <a:off x="5314300" y="5081558"/>
                <a:ext cx="442051" cy="24765"/>
              </a:xfrm>
              <a:custGeom>
                <a:avLst/>
                <a:gdLst>
                  <a:gd name="T0" fmla="*/ 170 w 172"/>
                  <a:gd name="T1" fmla="*/ 10 h 10"/>
                  <a:gd name="T2" fmla="*/ 2 w 172"/>
                  <a:gd name="T3" fmla="*/ 10 h 10"/>
                  <a:gd name="T4" fmla="*/ 1 w 172"/>
                  <a:gd name="T5" fmla="*/ 10 h 10"/>
                  <a:gd name="T6" fmla="*/ 0 w 172"/>
                  <a:gd name="T7" fmla="*/ 7 h 10"/>
                  <a:gd name="T8" fmla="*/ 0 w 172"/>
                  <a:gd name="T9" fmla="*/ 2 h 10"/>
                  <a:gd name="T10" fmla="*/ 0 w 172"/>
                  <a:gd name="T11" fmla="*/ 1 h 10"/>
                  <a:gd name="T12" fmla="*/ 2 w 172"/>
                  <a:gd name="T13" fmla="*/ 0 h 10"/>
                  <a:gd name="T14" fmla="*/ 170 w 172"/>
                  <a:gd name="T15" fmla="*/ 0 h 10"/>
                  <a:gd name="T16" fmla="*/ 172 w 172"/>
                  <a:gd name="T17" fmla="*/ 1 h 10"/>
                  <a:gd name="T18" fmla="*/ 172 w 172"/>
                  <a:gd name="T19" fmla="*/ 2 h 10"/>
                  <a:gd name="T20" fmla="*/ 172 w 172"/>
                  <a:gd name="T21" fmla="*/ 7 h 10"/>
                  <a:gd name="T22" fmla="*/ 172 w 172"/>
                  <a:gd name="T23" fmla="*/ 9 h 10"/>
                  <a:gd name="T24" fmla="*/ 170 w 172"/>
                  <a:gd name="T2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2" h="10">
                    <a:moveTo>
                      <a:pt x="170" y="10"/>
                    </a:moveTo>
                    <a:cubicBezTo>
                      <a:pt x="2" y="10"/>
                      <a:pt x="2" y="10"/>
                      <a:pt x="2" y="10"/>
                    </a:cubicBezTo>
                    <a:cubicBezTo>
                      <a:pt x="2" y="10"/>
                      <a:pt x="1" y="10"/>
                      <a:pt x="1" y="10"/>
                    </a:cubicBezTo>
                    <a:cubicBezTo>
                      <a:pt x="0" y="9"/>
                      <a:pt x="0" y="8"/>
                      <a:pt x="0" y="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170" y="0"/>
                      <a:pt x="170" y="0"/>
                      <a:pt x="170" y="0"/>
                    </a:cubicBezTo>
                    <a:cubicBezTo>
                      <a:pt x="170" y="0"/>
                      <a:pt x="171" y="0"/>
                      <a:pt x="172" y="1"/>
                    </a:cubicBezTo>
                    <a:cubicBezTo>
                      <a:pt x="172" y="1"/>
                      <a:pt x="172" y="2"/>
                      <a:pt x="172" y="2"/>
                    </a:cubicBezTo>
                    <a:cubicBezTo>
                      <a:pt x="172" y="7"/>
                      <a:pt x="172" y="7"/>
                      <a:pt x="172" y="7"/>
                    </a:cubicBezTo>
                    <a:cubicBezTo>
                      <a:pt x="172" y="8"/>
                      <a:pt x="172" y="8"/>
                      <a:pt x="172" y="9"/>
                    </a:cubicBezTo>
                    <a:cubicBezTo>
                      <a:pt x="171" y="10"/>
                      <a:pt x="171" y="10"/>
                      <a:pt x="170" y="10"/>
                    </a:cubicBezTo>
                    <a:close/>
                  </a:path>
                </a:pathLst>
              </a:custGeom>
              <a:solidFill>
                <a:srgbClr val="ADBE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16" name="ïsḻïďê">
                <a:extLst>
                  <a:ext uri="{FF2B5EF4-FFF2-40B4-BE49-F238E27FC236}">
                    <a16:creationId xmlns:a16="http://schemas.microsoft.com/office/drawing/2014/main" id="{12CB4D79-0ACF-477C-88C0-39420144B54F}"/>
                  </a:ext>
                </a:extLst>
              </p:cNvPr>
              <p:cNvSpPr/>
              <p:nvPr/>
            </p:nvSpPr>
            <p:spPr bwMode="auto">
              <a:xfrm>
                <a:off x="5491368" y="4911920"/>
                <a:ext cx="85439" cy="842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17" name="işḷíḓe">
                <a:extLst>
                  <a:ext uri="{FF2B5EF4-FFF2-40B4-BE49-F238E27FC236}">
                    <a16:creationId xmlns:a16="http://schemas.microsoft.com/office/drawing/2014/main" id="{09FE1FA7-1DD5-46D6-8E9A-90D7F19FDD96}"/>
                  </a:ext>
                </a:extLst>
              </p:cNvPr>
              <p:cNvSpPr/>
              <p:nvPr/>
            </p:nvSpPr>
            <p:spPr bwMode="auto">
              <a:xfrm>
                <a:off x="5534706" y="5194238"/>
                <a:ext cx="144874" cy="177068"/>
              </a:xfrm>
              <a:custGeom>
                <a:avLst/>
                <a:gdLst>
                  <a:gd name="T0" fmla="*/ 0 w 56"/>
                  <a:gd name="T1" fmla="*/ 42 h 69"/>
                  <a:gd name="T2" fmla="*/ 26 w 56"/>
                  <a:gd name="T3" fmla="*/ 53 h 69"/>
                  <a:gd name="T4" fmla="*/ 55 w 56"/>
                  <a:gd name="T5" fmla="*/ 61 h 69"/>
                  <a:gd name="T6" fmla="*/ 32 w 56"/>
                  <a:gd name="T7" fmla="*/ 17 h 69"/>
                  <a:gd name="T8" fmla="*/ 15 w 56"/>
                  <a:gd name="T9" fmla="*/ 4 h 69"/>
                  <a:gd name="T10" fmla="*/ 0 w 56"/>
                  <a:gd name="T11" fmla="*/ 7 h 69"/>
                  <a:gd name="T12" fmla="*/ 0 w 56"/>
                  <a:gd name="T13" fmla="*/ 42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69">
                    <a:moveTo>
                      <a:pt x="0" y="42"/>
                    </a:moveTo>
                    <a:cubicBezTo>
                      <a:pt x="0" y="42"/>
                      <a:pt x="14" y="38"/>
                      <a:pt x="26" y="53"/>
                    </a:cubicBezTo>
                    <a:cubicBezTo>
                      <a:pt x="37" y="69"/>
                      <a:pt x="54" y="69"/>
                      <a:pt x="55" y="61"/>
                    </a:cubicBezTo>
                    <a:cubicBezTo>
                      <a:pt x="56" y="53"/>
                      <a:pt x="38" y="24"/>
                      <a:pt x="32" y="17"/>
                    </a:cubicBezTo>
                    <a:cubicBezTo>
                      <a:pt x="26" y="9"/>
                      <a:pt x="20" y="0"/>
                      <a:pt x="15" y="4"/>
                    </a:cubicBezTo>
                    <a:cubicBezTo>
                      <a:pt x="10" y="7"/>
                      <a:pt x="0" y="7"/>
                      <a:pt x="0" y="7"/>
                    </a:cubicBezTo>
                    <a:cubicBezTo>
                      <a:pt x="0" y="7"/>
                      <a:pt x="6" y="18"/>
                      <a:pt x="0" y="42"/>
                    </a:cubicBezTo>
                    <a:close/>
                  </a:path>
                </a:pathLst>
              </a:custGeom>
              <a:solidFill>
                <a:srgbClr val="3D9E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475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18" name="isļiḑe">
                <a:extLst>
                  <a:ext uri="{FF2B5EF4-FFF2-40B4-BE49-F238E27FC236}">
                    <a16:creationId xmlns:a16="http://schemas.microsoft.com/office/drawing/2014/main" id="{13EDFD58-5A85-4FEB-B8C2-B8FAE236EF97}"/>
                  </a:ext>
                </a:extLst>
              </p:cNvPr>
              <p:cNvSpPr/>
              <p:nvPr/>
            </p:nvSpPr>
            <p:spPr bwMode="auto">
              <a:xfrm>
                <a:off x="5383641" y="4412910"/>
                <a:ext cx="277365" cy="128777"/>
              </a:xfrm>
              <a:custGeom>
                <a:avLst/>
                <a:gdLst>
                  <a:gd name="T0" fmla="*/ 76 w 108"/>
                  <a:gd name="T1" fmla="*/ 22 h 50"/>
                  <a:gd name="T2" fmla="*/ 39 w 108"/>
                  <a:gd name="T3" fmla="*/ 9 h 50"/>
                  <a:gd name="T4" fmla="*/ 15 w 108"/>
                  <a:gd name="T5" fmla="*/ 20 h 50"/>
                  <a:gd name="T6" fmla="*/ 24 w 108"/>
                  <a:gd name="T7" fmla="*/ 0 h 50"/>
                  <a:gd name="T8" fmla="*/ 3 w 108"/>
                  <a:gd name="T9" fmla="*/ 42 h 50"/>
                  <a:gd name="T10" fmla="*/ 13 w 108"/>
                  <a:gd name="T11" fmla="*/ 48 h 50"/>
                  <a:gd name="T12" fmla="*/ 31 w 108"/>
                  <a:gd name="T13" fmla="*/ 18 h 50"/>
                  <a:gd name="T14" fmla="*/ 70 w 108"/>
                  <a:gd name="T15" fmla="*/ 30 h 50"/>
                  <a:gd name="T16" fmla="*/ 106 w 108"/>
                  <a:gd name="T17" fmla="*/ 50 h 50"/>
                  <a:gd name="T18" fmla="*/ 76 w 108"/>
                  <a:gd name="T19" fmla="*/ 2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8" h="50">
                    <a:moveTo>
                      <a:pt x="76" y="22"/>
                    </a:moveTo>
                    <a:cubicBezTo>
                      <a:pt x="52" y="25"/>
                      <a:pt x="39" y="9"/>
                      <a:pt x="39" y="9"/>
                    </a:cubicBezTo>
                    <a:cubicBezTo>
                      <a:pt x="24" y="12"/>
                      <a:pt x="15" y="20"/>
                      <a:pt x="15" y="20"/>
                    </a:cubicBezTo>
                    <a:cubicBezTo>
                      <a:pt x="18" y="10"/>
                      <a:pt x="22" y="3"/>
                      <a:pt x="24" y="0"/>
                    </a:cubicBezTo>
                    <a:cubicBezTo>
                      <a:pt x="17" y="3"/>
                      <a:pt x="0" y="13"/>
                      <a:pt x="3" y="42"/>
                    </a:cubicBezTo>
                    <a:cubicBezTo>
                      <a:pt x="3" y="42"/>
                      <a:pt x="11" y="42"/>
                      <a:pt x="13" y="48"/>
                    </a:cubicBezTo>
                    <a:cubicBezTo>
                      <a:pt x="13" y="48"/>
                      <a:pt x="14" y="26"/>
                      <a:pt x="31" y="18"/>
                    </a:cubicBezTo>
                    <a:cubicBezTo>
                      <a:pt x="31" y="18"/>
                      <a:pt x="38" y="31"/>
                      <a:pt x="70" y="30"/>
                    </a:cubicBezTo>
                    <a:cubicBezTo>
                      <a:pt x="102" y="29"/>
                      <a:pt x="105" y="39"/>
                      <a:pt x="106" y="50"/>
                    </a:cubicBezTo>
                    <a:cubicBezTo>
                      <a:pt x="108" y="34"/>
                      <a:pt x="100" y="19"/>
                      <a:pt x="76" y="22"/>
                    </a:cubicBezTo>
                    <a:close/>
                  </a:path>
                </a:pathLst>
              </a:custGeom>
              <a:solidFill>
                <a:srgbClr val="061D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19" name="íšļîḍè">
                <a:extLst>
                  <a:ext uri="{FF2B5EF4-FFF2-40B4-BE49-F238E27FC236}">
                    <a16:creationId xmlns:a16="http://schemas.microsoft.com/office/drawing/2014/main" id="{A20EFA09-BCE3-447B-8A7B-EC4BFB581304}"/>
                  </a:ext>
                </a:extLst>
              </p:cNvPr>
              <p:cNvSpPr/>
              <p:nvPr/>
            </p:nvSpPr>
            <p:spPr bwMode="auto">
              <a:xfrm>
                <a:off x="5730347" y="4563975"/>
                <a:ext cx="438336" cy="221645"/>
              </a:xfrm>
              <a:custGeom>
                <a:avLst/>
                <a:gdLst>
                  <a:gd name="T0" fmla="*/ 93 w 170"/>
                  <a:gd name="T1" fmla="*/ 85 h 86"/>
                  <a:gd name="T2" fmla="*/ 170 w 170"/>
                  <a:gd name="T3" fmla="*/ 6 h 86"/>
                  <a:gd name="T4" fmla="*/ 165 w 170"/>
                  <a:gd name="T5" fmla="*/ 0 h 86"/>
                  <a:gd name="T6" fmla="*/ 93 w 170"/>
                  <a:gd name="T7" fmla="*/ 77 h 86"/>
                  <a:gd name="T8" fmla="*/ 2 w 170"/>
                  <a:gd name="T9" fmla="*/ 73 h 86"/>
                  <a:gd name="T10" fmla="*/ 0 w 170"/>
                  <a:gd name="T11" fmla="*/ 85 h 86"/>
                  <a:gd name="T12" fmla="*/ 93 w 170"/>
                  <a:gd name="T13" fmla="*/ 85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0" h="86">
                    <a:moveTo>
                      <a:pt x="93" y="85"/>
                    </a:moveTo>
                    <a:cubicBezTo>
                      <a:pt x="113" y="81"/>
                      <a:pt x="170" y="6"/>
                      <a:pt x="170" y="6"/>
                    </a:cubicBezTo>
                    <a:cubicBezTo>
                      <a:pt x="170" y="6"/>
                      <a:pt x="168" y="3"/>
                      <a:pt x="165" y="0"/>
                    </a:cubicBezTo>
                    <a:cubicBezTo>
                      <a:pt x="146" y="22"/>
                      <a:pt x="99" y="75"/>
                      <a:pt x="93" y="77"/>
                    </a:cubicBezTo>
                    <a:cubicBezTo>
                      <a:pt x="85" y="79"/>
                      <a:pt x="2" y="73"/>
                      <a:pt x="2" y="73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85"/>
                      <a:pt x="84" y="86"/>
                      <a:pt x="93" y="85"/>
                    </a:cubicBezTo>
                    <a:close/>
                  </a:path>
                </a:pathLst>
              </a:custGeom>
              <a:solidFill>
                <a:srgbClr val="116E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70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20" name="iṩḻïďé">
                <a:extLst>
                  <a:ext uri="{FF2B5EF4-FFF2-40B4-BE49-F238E27FC236}">
                    <a16:creationId xmlns:a16="http://schemas.microsoft.com/office/drawing/2014/main" id="{0A265FEC-12F0-43D0-8FB2-0EFB6C5E79F4}"/>
                  </a:ext>
                </a:extLst>
              </p:cNvPr>
              <p:cNvSpPr/>
              <p:nvPr/>
            </p:nvSpPr>
            <p:spPr bwMode="auto">
              <a:xfrm>
                <a:off x="5534706" y="5266055"/>
                <a:ext cx="142398" cy="105251"/>
              </a:xfrm>
              <a:custGeom>
                <a:avLst/>
                <a:gdLst>
                  <a:gd name="T0" fmla="*/ 26 w 55"/>
                  <a:gd name="T1" fmla="*/ 25 h 41"/>
                  <a:gd name="T2" fmla="*/ 55 w 55"/>
                  <a:gd name="T3" fmla="*/ 33 h 41"/>
                  <a:gd name="T4" fmla="*/ 54 w 55"/>
                  <a:gd name="T5" fmla="*/ 28 h 41"/>
                  <a:gd name="T6" fmla="*/ 46 w 55"/>
                  <a:gd name="T7" fmla="*/ 28 h 41"/>
                  <a:gd name="T8" fmla="*/ 24 w 55"/>
                  <a:gd name="T9" fmla="*/ 6 h 41"/>
                  <a:gd name="T10" fmla="*/ 2 w 55"/>
                  <a:gd name="T11" fmla="*/ 0 h 41"/>
                  <a:gd name="T12" fmla="*/ 0 w 55"/>
                  <a:gd name="T13" fmla="*/ 14 h 41"/>
                  <a:gd name="T14" fmla="*/ 26 w 55"/>
                  <a:gd name="T15" fmla="*/ 2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5" h="41">
                    <a:moveTo>
                      <a:pt x="26" y="25"/>
                    </a:moveTo>
                    <a:cubicBezTo>
                      <a:pt x="37" y="41"/>
                      <a:pt x="54" y="41"/>
                      <a:pt x="55" y="33"/>
                    </a:cubicBezTo>
                    <a:cubicBezTo>
                      <a:pt x="55" y="32"/>
                      <a:pt x="55" y="30"/>
                      <a:pt x="54" y="28"/>
                    </a:cubicBezTo>
                    <a:cubicBezTo>
                      <a:pt x="52" y="29"/>
                      <a:pt x="49" y="29"/>
                      <a:pt x="46" y="28"/>
                    </a:cubicBezTo>
                    <a:cubicBezTo>
                      <a:pt x="37" y="26"/>
                      <a:pt x="33" y="13"/>
                      <a:pt x="24" y="6"/>
                    </a:cubicBezTo>
                    <a:cubicBezTo>
                      <a:pt x="19" y="3"/>
                      <a:pt x="10" y="1"/>
                      <a:pt x="2" y="0"/>
                    </a:cubicBezTo>
                    <a:cubicBezTo>
                      <a:pt x="2" y="4"/>
                      <a:pt x="1" y="9"/>
                      <a:pt x="0" y="14"/>
                    </a:cubicBezTo>
                    <a:cubicBezTo>
                      <a:pt x="0" y="14"/>
                      <a:pt x="14" y="10"/>
                      <a:pt x="26" y="25"/>
                    </a:cubicBezTo>
                    <a:close/>
                  </a:path>
                </a:pathLst>
              </a:custGeom>
              <a:solidFill>
                <a:srgbClr val="116E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121" name="iṧḻîdê">
                <a:extLst>
                  <a:ext uri="{FF2B5EF4-FFF2-40B4-BE49-F238E27FC236}">
                    <a16:creationId xmlns:a16="http://schemas.microsoft.com/office/drawing/2014/main" id="{CB079D0F-4144-4053-AD21-8A5D79A8322D}"/>
                  </a:ext>
                </a:extLst>
              </p:cNvPr>
              <p:cNvSpPr/>
              <p:nvPr/>
            </p:nvSpPr>
            <p:spPr bwMode="auto">
              <a:xfrm>
                <a:off x="6013904" y="4176407"/>
                <a:ext cx="434621" cy="313274"/>
              </a:xfrm>
              <a:custGeom>
                <a:avLst/>
                <a:gdLst>
                  <a:gd name="T0" fmla="*/ 0 w 169"/>
                  <a:gd name="T1" fmla="*/ 55 h 122"/>
                  <a:gd name="T2" fmla="*/ 60 w 169"/>
                  <a:gd name="T3" fmla="*/ 122 h 122"/>
                  <a:gd name="T4" fmla="*/ 169 w 169"/>
                  <a:gd name="T5" fmla="*/ 19 h 122"/>
                  <a:gd name="T6" fmla="*/ 154 w 169"/>
                  <a:gd name="T7" fmla="*/ 0 h 122"/>
                  <a:gd name="T8" fmla="*/ 63 w 169"/>
                  <a:gd name="T9" fmla="*/ 103 h 122"/>
                  <a:gd name="T10" fmla="*/ 16 w 169"/>
                  <a:gd name="T11" fmla="*/ 36 h 122"/>
                  <a:gd name="T12" fmla="*/ 0 w 169"/>
                  <a:gd name="T13" fmla="*/ 55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9" h="122">
                    <a:moveTo>
                      <a:pt x="0" y="55"/>
                    </a:moveTo>
                    <a:cubicBezTo>
                      <a:pt x="0" y="55"/>
                      <a:pt x="38" y="78"/>
                      <a:pt x="60" y="122"/>
                    </a:cubicBezTo>
                    <a:cubicBezTo>
                      <a:pt x="60" y="122"/>
                      <a:pt x="112" y="40"/>
                      <a:pt x="169" y="19"/>
                    </a:cubicBezTo>
                    <a:cubicBezTo>
                      <a:pt x="154" y="0"/>
                      <a:pt x="154" y="0"/>
                      <a:pt x="154" y="0"/>
                    </a:cubicBezTo>
                    <a:cubicBezTo>
                      <a:pt x="154" y="0"/>
                      <a:pt x="105" y="29"/>
                      <a:pt x="63" y="103"/>
                    </a:cubicBezTo>
                    <a:cubicBezTo>
                      <a:pt x="63" y="103"/>
                      <a:pt x="46" y="61"/>
                      <a:pt x="16" y="36"/>
                    </a:cubicBezTo>
                    <a:lnTo>
                      <a:pt x="0" y="55"/>
                    </a:lnTo>
                    <a:close/>
                  </a:path>
                </a:pathLst>
              </a:custGeom>
              <a:solidFill>
                <a:srgbClr val="116E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lnSpcReduction="10000"/>
              </a:bodyPr>
              <a:lstStyle/>
              <a:p>
                <a:pPr algn="ctr"/>
                <a:endParaRPr/>
              </a:p>
            </p:txBody>
          </p:sp>
        </p:grpSp>
        <p:sp>
          <p:nvSpPr>
            <p:cNvPr id="61" name="iṣ1iḍê">
              <a:extLst>
                <a:ext uri="{FF2B5EF4-FFF2-40B4-BE49-F238E27FC236}">
                  <a16:creationId xmlns:a16="http://schemas.microsoft.com/office/drawing/2014/main" id="{62109C03-EA6E-49EB-A855-4A23DD728BD0}"/>
                </a:ext>
              </a:extLst>
            </p:cNvPr>
            <p:cNvSpPr txBox="1"/>
            <p:nvPr/>
          </p:nvSpPr>
          <p:spPr bwMode="auto">
            <a:xfrm>
              <a:off x="8228163" y="1651795"/>
              <a:ext cx="3290736" cy="9017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800" b="1" dirty="0"/>
                <a:t>01.</a:t>
              </a:r>
              <a:r>
                <a:rPr lang="zh-CN" altLang="en-US" sz="2800" b="1" dirty="0"/>
                <a:t>饮食与活动指导</a:t>
              </a:r>
              <a:endParaRPr lang="en-US" altLang="zh-CN" sz="2800" b="1" dirty="0"/>
            </a:p>
          </p:txBody>
        </p:sp>
        <p:sp>
          <p:nvSpPr>
            <p:cNvPr id="59" name="i$ļíďè">
              <a:extLst>
                <a:ext uri="{FF2B5EF4-FFF2-40B4-BE49-F238E27FC236}">
                  <a16:creationId xmlns:a16="http://schemas.microsoft.com/office/drawing/2014/main" id="{4C32C30D-97A7-445D-9E61-7AA88D14CCE1}"/>
                </a:ext>
              </a:extLst>
            </p:cNvPr>
            <p:cNvSpPr txBox="1"/>
            <p:nvPr/>
          </p:nvSpPr>
          <p:spPr bwMode="auto">
            <a:xfrm>
              <a:off x="8228163" y="3085755"/>
              <a:ext cx="3290736" cy="9017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800" b="1" dirty="0"/>
                <a:t>02.</a:t>
              </a:r>
              <a:r>
                <a:rPr lang="zh-CN" altLang="en-US" sz="2800" b="1" dirty="0"/>
                <a:t>保持大便通畅</a:t>
              </a:r>
              <a:endParaRPr lang="en-US" altLang="zh-CN" sz="2800" b="1" dirty="0"/>
            </a:p>
          </p:txBody>
        </p:sp>
        <p:sp>
          <p:nvSpPr>
            <p:cNvPr id="57" name="íṩḻîďè">
              <a:extLst>
                <a:ext uri="{FF2B5EF4-FFF2-40B4-BE49-F238E27FC236}">
                  <a16:creationId xmlns:a16="http://schemas.microsoft.com/office/drawing/2014/main" id="{D9B9BE5A-3861-4BC6-8C74-2A2470CF6EE3}"/>
                </a:ext>
              </a:extLst>
            </p:cNvPr>
            <p:cNvSpPr txBox="1"/>
            <p:nvPr/>
          </p:nvSpPr>
          <p:spPr bwMode="auto">
            <a:xfrm>
              <a:off x="8228163" y="4519713"/>
              <a:ext cx="3290736" cy="9017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800" b="1" dirty="0"/>
                <a:t>03.</a:t>
              </a:r>
              <a:r>
                <a:rPr lang="zh-CN" altLang="en-US" sz="2800" b="1" dirty="0"/>
                <a:t>自我检测</a:t>
              </a:r>
              <a:endParaRPr lang="en-US" altLang="zh-CN" sz="2800" b="1" dirty="0"/>
            </a:p>
          </p:txBody>
        </p:sp>
        <p:cxnSp>
          <p:nvCxnSpPr>
            <p:cNvPr id="54" name="直接连接符 53">
              <a:extLst>
                <a:ext uri="{FF2B5EF4-FFF2-40B4-BE49-F238E27FC236}">
                  <a16:creationId xmlns:a16="http://schemas.microsoft.com/office/drawing/2014/main" id="{9E3608D8-9A0D-47C7-AC50-3166BDFFBF4F}"/>
                </a:ext>
              </a:extLst>
            </p:cNvPr>
            <p:cNvCxnSpPr/>
            <p:nvPr/>
          </p:nvCxnSpPr>
          <p:spPr>
            <a:xfrm>
              <a:off x="8337176" y="2915221"/>
              <a:ext cx="3181724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直接连接符 54">
              <a:extLst>
                <a:ext uri="{FF2B5EF4-FFF2-40B4-BE49-F238E27FC236}">
                  <a16:creationId xmlns:a16="http://schemas.microsoft.com/office/drawing/2014/main" id="{C6783685-2E3E-46C4-94F2-1EFA1CEE9620}"/>
                </a:ext>
              </a:extLst>
            </p:cNvPr>
            <p:cNvCxnSpPr/>
            <p:nvPr/>
          </p:nvCxnSpPr>
          <p:spPr>
            <a:xfrm>
              <a:off x="8337176" y="4349179"/>
              <a:ext cx="3181724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343844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669925" y="1795464"/>
            <a:ext cx="10845798" cy="2014536"/>
          </a:xfrm>
        </p:spPr>
        <p:txBody>
          <a:bodyPr/>
          <a:lstStyle/>
          <a:p>
            <a:r>
              <a:rPr lang="en-US" altLang="zh-CN" sz="8000" b="0" dirty="0">
                <a:solidFill>
                  <a:schemeClr val="accent2"/>
                </a:solidFill>
                <a:latin typeface="Impact" panose="020B0806030902050204" pitchFamily="34" charset="0"/>
              </a:rPr>
              <a:t>Thanks</a:t>
            </a:r>
            <a:br>
              <a:rPr lang="en-US" altLang="zh-CN" dirty="0"/>
            </a:br>
            <a:r>
              <a:rPr lang="zh-CN" altLang="en-US" sz="6000" dirty="0">
                <a:solidFill>
                  <a:schemeClr val="accent6"/>
                </a:solidFill>
              </a:rPr>
              <a:t>谢谢聆听</a:t>
            </a:r>
            <a:endParaRPr lang="zh-CN" altLang="en-US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10EA6D8B-C17B-49D5-881E-9C2A59A98D6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 l="12464" t="6096" r="10225"/>
          <a:stretch/>
        </p:blipFill>
        <p:spPr>
          <a:xfrm>
            <a:off x="-1" y="0"/>
            <a:ext cx="6351529" cy="4592320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DB5E6732-84B0-4E4A-B2D3-FDBD013FBF0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 l="10633" t="12455" r="8400"/>
          <a:stretch/>
        </p:blipFill>
        <p:spPr>
          <a:xfrm>
            <a:off x="6329680" y="1774438"/>
            <a:ext cx="5862320" cy="5083562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8DEFE6BD-338D-4890-8E76-BC623B9FBD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139440" y="655568"/>
            <a:ext cx="5974080" cy="5923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270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6101303" y="2373449"/>
            <a:ext cx="5419185" cy="895350"/>
          </a:xfrm>
        </p:spPr>
        <p:txBody>
          <a:bodyPr>
            <a:normAutofit fontScale="90000"/>
          </a:bodyPr>
          <a:lstStyle/>
          <a:p>
            <a:r>
              <a:rPr lang="zh-CN" altLang="en-US" sz="6000" dirty="0">
                <a:solidFill>
                  <a:schemeClr val="accent2"/>
                </a:solidFill>
              </a:rPr>
              <a:t>概 述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6101303" y="3431359"/>
            <a:ext cx="5419185" cy="2309041"/>
          </a:xfrm>
        </p:spPr>
        <p:txBody>
          <a:bodyPr>
            <a:normAutofit/>
          </a:bodyPr>
          <a:lstStyle/>
          <a:p>
            <a:pPr>
              <a:lnSpc>
                <a:spcPct val="200000"/>
              </a:lnSpc>
            </a:pPr>
            <a:r>
              <a:rPr lang="zh-CN" altLang="en-US" sz="2400" dirty="0"/>
              <a:t>肠内容物不能正常运行或通过肠道而发生障碍，称肠梗阻。 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303628" y="317118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2FD0AC1-8D34-4C3F-9F9C-20485C32D1B6}"/>
              </a:ext>
            </a:extLst>
          </p:cNvPr>
          <p:cNvSpPr txBox="1"/>
          <p:nvPr/>
        </p:nvSpPr>
        <p:spPr>
          <a:xfrm>
            <a:off x="669925" y="483969"/>
            <a:ext cx="2591435" cy="646331"/>
          </a:xfrm>
          <a:prstGeom prst="rect">
            <a:avLst/>
          </a:prstGeom>
          <a:solidFill>
            <a:srgbClr val="E1F8F7"/>
          </a:solidFill>
        </p:spPr>
        <p:txBody>
          <a:bodyPr wrap="square" rtlCol="0">
            <a:spAutoFit/>
          </a:bodyPr>
          <a:lstStyle/>
          <a:p>
            <a:r>
              <a:rPr lang="zh-CN" altLang="en-US" sz="3600" b="1" dirty="0"/>
              <a:t>分 类</a:t>
            </a:r>
          </a:p>
        </p:txBody>
      </p:sp>
      <p:grpSp>
        <p:nvGrpSpPr>
          <p:cNvPr id="152" name="209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0380DD7-09C9-4DF8-807D-22F8D60CA7C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1988" y="1821180"/>
            <a:ext cx="10858500" cy="3377185"/>
            <a:chOff x="660399" y="1424940"/>
            <a:chExt cx="10858500" cy="3377185"/>
          </a:xfrm>
        </p:grpSpPr>
        <p:sp>
          <p:nvSpPr>
            <p:cNvPr id="153" name="íŝļide">
              <a:extLst>
                <a:ext uri="{FF2B5EF4-FFF2-40B4-BE49-F238E27FC236}">
                  <a16:creationId xmlns:a16="http://schemas.microsoft.com/office/drawing/2014/main" id="{110446B6-D963-43E5-A179-D0BBCBBEDEE7}"/>
                </a:ext>
              </a:extLst>
            </p:cNvPr>
            <p:cNvSpPr/>
            <p:nvPr/>
          </p:nvSpPr>
          <p:spPr>
            <a:xfrm>
              <a:off x="660399" y="2609851"/>
              <a:ext cx="4073740" cy="21922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6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02" y="572"/>
                    <a:pt x="1930" y="1429"/>
                    <a:pt x="2672" y="2532"/>
                  </a:cubicBezTo>
                  <a:cubicBezTo>
                    <a:pt x="4231" y="4696"/>
                    <a:pt x="5085" y="7636"/>
                    <a:pt x="5085" y="10780"/>
                  </a:cubicBezTo>
                  <a:cubicBezTo>
                    <a:pt x="5085" y="13964"/>
                    <a:pt x="4231" y="16904"/>
                    <a:pt x="2672" y="19068"/>
                  </a:cubicBezTo>
                  <a:cubicBezTo>
                    <a:pt x="1930" y="20171"/>
                    <a:pt x="1002" y="21028"/>
                    <a:pt x="0" y="21600"/>
                  </a:cubicBezTo>
                  <a:cubicBezTo>
                    <a:pt x="13769" y="21600"/>
                    <a:pt x="13769" y="21600"/>
                    <a:pt x="13769" y="21600"/>
                  </a:cubicBezTo>
                  <a:cubicBezTo>
                    <a:pt x="18297" y="21600"/>
                    <a:pt x="21600" y="16782"/>
                    <a:pt x="21600" y="10780"/>
                  </a:cubicBezTo>
                  <a:cubicBezTo>
                    <a:pt x="21600" y="4818"/>
                    <a:pt x="18297" y="0"/>
                    <a:pt x="13769" y="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miter lim="400000"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54" name="işḻíďe">
              <a:extLst>
                <a:ext uri="{FF2B5EF4-FFF2-40B4-BE49-F238E27FC236}">
                  <a16:creationId xmlns:a16="http://schemas.microsoft.com/office/drawing/2014/main" id="{372195C3-5A33-4C62-A2EF-8C949789176C}"/>
                </a:ext>
              </a:extLst>
            </p:cNvPr>
            <p:cNvSpPr/>
            <p:nvPr/>
          </p:nvSpPr>
          <p:spPr>
            <a:xfrm>
              <a:off x="1844586" y="3884848"/>
              <a:ext cx="2566868" cy="748112"/>
            </a:xfrm>
            <a:prstGeom prst="rect">
              <a:avLst/>
            </a:prstGeom>
            <a:ln w="12700">
              <a:miter lim="400000"/>
            </a:ln>
          </p:spPr>
          <p:txBody>
            <a:bodyPr wrap="square" lIns="91440" tIns="45720" rIns="91440" bIns="45720" anchor="ctr">
              <a:normAutofit fontScale="92500"/>
            </a:bodyPr>
            <a:lstStyle/>
            <a:p>
              <a:pPr lvl="0" algn="ctr">
                <a:defRPr sz="1800">
                  <a:solidFill>
                    <a:srgbClr val="000000"/>
                  </a:solidFill>
                </a:defRPr>
              </a:pPr>
              <a:r>
                <a:rPr lang="zh-CN" altLang="en-US" sz="3200" b="1" dirty="0">
                  <a:solidFill>
                    <a:schemeClr val="accent1">
                      <a:lumMod val="50000"/>
                    </a:schemeClr>
                  </a:solidFill>
                </a:rPr>
                <a:t>机械性肠梗阻</a:t>
              </a:r>
            </a:p>
          </p:txBody>
        </p:sp>
        <p:sp>
          <p:nvSpPr>
            <p:cNvPr id="155" name="iSlidè">
              <a:extLst>
                <a:ext uri="{FF2B5EF4-FFF2-40B4-BE49-F238E27FC236}">
                  <a16:creationId xmlns:a16="http://schemas.microsoft.com/office/drawing/2014/main" id="{DE53DC3E-2551-47B4-81E0-1D2C35C6279B}"/>
                </a:ext>
              </a:extLst>
            </p:cNvPr>
            <p:cNvSpPr/>
            <p:nvPr/>
          </p:nvSpPr>
          <p:spPr bwMode="auto">
            <a:xfrm>
              <a:off x="2863177" y="3242433"/>
              <a:ext cx="529687" cy="493543"/>
            </a:xfrm>
            <a:custGeom>
              <a:avLst/>
              <a:gdLst>
                <a:gd name="connsiteX0" fmla="*/ 484855 w 606016"/>
                <a:gd name="connsiteY0" fmla="*/ 473988 h 564664"/>
                <a:gd name="connsiteX1" fmla="*/ 505037 w 606016"/>
                <a:gd name="connsiteY1" fmla="*/ 494170 h 564664"/>
                <a:gd name="connsiteX2" fmla="*/ 484855 w 606016"/>
                <a:gd name="connsiteY2" fmla="*/ 514352 h 564664"/>
                <a:gd name="connsiteX3" fmla="*/ 464673 w 606016"/>
                <a:gd name="connsiteY3" fmla="*/ 494170 h 564664"/>
                <a:gd name="connsiteX4" fmla="*/ 484855 w 606016"/>
                <a:gd name="connsiteY4" fmla="*/ 473988 h 564664"/>
                <a:gd name="connsiteX5" fmla="*/ 121232 w 606016"/>
                <a:gd name="connsiteY5" fmla="*/ 473988 h 564664"/>
                <a:gd name="connsiteX6" fmla="*/ 141414 w 606016"/>
                <a:gd name="connsiteY6" fmla="*/ 494170 h 564664"/>
                <a:gd name="connsiteX7" fmla="*/ 121232 w 606016"/>
                <a:gd name="connsiteY7" fmla="*/ 514352 h 564664"/>
                <a:gd name="connsiteX8" fmla="*/ 101050 w 606016"/>
                <a:gd name="connsiteY8" fmla="*/ 494170 h 564664"/>
                <a:gd name="connsiteX9" fmla="*/ 121232 w 606016"/>
                <a:gd name="connsiteY9" fmla="*/ 473988 h 564664"/>
                <a:gd name="connsiteX10" fmla="*/ 484813 w 606016"/>
                <a:gd name="connsiteY10" fmla="*/ 443658 h 564664"/>
                <a:gd name="connsiteX11" fmla="*/ 434364 w 606016"/>
                <a:gd name="connsiteY11" fmla="*/ 494115 h 564664"/>
                <a:gd name="connsiteX12" fmla="*/ 484813 w 606016"/>
                <a:gd name="connsiteY12" fmla="*/ 544482 h 564664"/>
                <a:gd name="connsiteX13" fmla="*/ 535352 w 606016"/>
                <a:gd name="connsiteY13" fmla="*/ 494115 h 564664"/>
                <a:gd name="connsiteX14" fmla="*/ 484813 w 606016"/>
                <a:gd name="connsiteY14" fmla="*/ 443658 h 564664"/>
                <a:gd name="connsiteX15" fmla="*/ 121293 w 606016"/>
                <a:gd name="connsiteY15" fmla="*/ 443658 h 564664"/>
                <a:gd name="connsiteX16" fmla="*/ 70755 w 606016"/>
                <a:gd name="connsiteY16" fmla="*/ 494115 h 564664"/>
                <a:gd name="connsiteX17" fmla="*/ 121293 w 606016"/>
                <a:gd name="connsiteY17" fmla="*/ 544482 h 564664"/>
                <a:gd name="connsiteX18" fmla="*/ 171742 w 606016"/>
                <a:gd name="connsiteY18" fmla="*/ 494115 h 564664"/>
                <a:gd name="connsiteX19" fmla="*/ 121293 w 606016"/>
                <a:gd name="connsiteY19" fmla="*/ 443658 h 564664"/>
                <a:gd name="connsiteX20" fmla="*/ 303053 w 606016"/>
                <a:gd name="connsiteY20" fmla="*/ 373109 h 564664"/>
                <a:gd name="connsiteX21" fmla="*/ 292945 w 606016"/>
                <a:gd name="connsiteY21" fmla="*/ 383200 h 564664"/>
                <a:gd name="connsiteX22" fmla="*/ 303053 w 606016"/>
                <a:gd name="connsiteY22" fmla="*/ 393292 h 564664"/>
                <a:gd name="connsiteX23" fmla="*/ 343484 w 606016"/>
                <a:gd name="connsiteY23" fmla="*/ 393292 h 564664"/>
                <a:gd name="connsiteX24" fmla="*/ 343484 w 606016"/>
                <a:gd name="connsiteY24" fmla="*/ 403383 h 564664"/>
                <a:gd name="connsiteX25" fmla="*/ 353592 w 606016"/>
                <a:gd name="connsiteY25" fmla="*/ 413474 h 564664"/>
                <a:gd name="connsiteX26" fmla="*/ 363610 w 606016"/>
                <a:gd name="connsiteY26" fmla="*/ 403383 h 564664"/>
                <a:gd name="connsiteX27" fmla="*/ 363610 w 606016"/>
                <a:gd name="connsiteY27" fmla="*/ 383200 h 564664"/>
                <a:gd name="connsiteX28" fmla="*/ 353592 w 606016"/>
                <a:gd name="connsiteY28" fmla="*/ 373109 h 564664"/>
                <a:gd name="connsiteX29" fmla="*/ 313169 w 606016"/>
                <a:gd name="connsiteY29" fmla="*/ 282403 h 564664"/>
                <a:gd name="connsiteX30" fmla="*/ 447018 w 606016"/>
                <a:gd name="connsiteY30" fmla="*/ 282403 h 564664"/>
                <a:gd name="connsiteX31" fmla="*/ 465069 w 606016"/>
                <a:gd name="connsiteY31" fmla="*/ 311699 h 564664"/>
                <a:gd name="connsiteX32" fmla="*/ 473282 w 606016"/>
                <a:gd name="connsiteY32" fmla="*/ 322696 h 564664"/>
                <a:gd name="connsiteX33" fmla="*/ 313169 w 606016"/>
                <a:gd name="connsiteY33" fmla="*/ 322696 h 564664"/>
                <a:gd name="connsiteX34" fmla="*/ 161665 w 606016"/>
                <a:gd name="connsiteY34" fmla="*/ 282403 h 564664"/>
                <a:gd name="connsiteX35" fmla="*/ 292917 w 606016"/>
                <a:gd name="connsiteY35" fmla="*/ 282403 h 564664"/>
                <a:gd name="connsiteX36" fmla="*/ 292917 w 606016"/>
                <a:gd name="connsiteY36" fmla="*/ 322696 h 564664"/>
                <a:gd name="connsiteX37" fmla="*/ 161665 w 606016"/>
                <a:gd name="connsiteY37" fmla="*/ 322696 h 564664"/>
                <a:gd name="connsiteX38" fmla="*/ 191958 w 606016"/>
                <a:gd name="connsiteY38" fmla="*/ 0 h 564664"/>
                <a:gd name="connsiteX39" fmla="*/ 202066 w 606016"/>
                <a:gd name="connsiteY39" fmla="*/ 10092 h 564664"/>
                <a:gd name="connsiteX40" fmla="*/ 202066 w 606016"/>
                <a:gd name="connsiteY40" fmla="*/ 40366 h 564664"/>
                <a:gd name="connsiteX41" fmla="*/ 222281 w 606016"/>
                <a:gd name="connsiteY41" fmla="*/ 40366 h 564664"/>
                <a:gd name="connsiteX42" fmla="*/ 222281 w 606016"/>
                <a:gd name="connsiteY42" fmla="*/ 10092 h 564664"/>
                <a:gd name="connsiteX43" fmla="*/ 232389 w 606016"/>
                <a:gd name="connsiteY43" fmla="*/ 0 h 564664"/>
                <a:gd name="connsiteX44" fmla="*/ 242406 w 606016"/>
                <a:gd name="connsiteY44" fmla="*/ 10092 h 564664"/>
                <a:gd name="connsiteX45" fmla="*/ 242406 w 606016"/>
                <a:gd name="connsiteY45" fmla="*/ 40366 h 564664"/>
                <a:gd name="connsiteX46" fmla="*/ 252514 w 606016"/>
                <a:gd name="connsiteY46" fmla="*/ 50457 h 564664"/>
                <a:gd name="connsiteX47" fmla="*/ 252514 w 606016"/>
                <a:gd name="connsiteY47" fmla="*/ 100823 h 564664"/>
                <a:gd name="connsiteX48" fmla="*/ 242406 w 606016"/>
                <a:gd name="connsiteY48" fmla="*/ 110915 h 564664"/>
                <a:gd name="connsiteX49" fmla="*/ 221379 w 606016"/>
                <a:gd name="connsiteY49" fmla="*/ 110915 h 564664"/>
                <a:gd name="connsiteX50" fmla="*/ 161634 w 606016"/>
                <a:gd name="connsiteY50" fmla="*/ 161371 h 564664"/>
                <a:gd name="connsiteX51" fmla="*/ 101078 w 606016"/>
                <a:gd name="connsiteY51" fmla="*/ 100823 h 564664"/>
                <a:gd name="connsiteX52" fmla="*/ 60647 w 606016"/>
                <a:gd name="connsiteY52" fmla="*/ 60548 h 564664"/>
                <a:gd name="connsiteX53" fmla="*/ 20216 w 606016"/>
                <a:gd name="connsiteY53" fmla="*/ 100823 h 564664"/>
                <a:gd name="connsiteX54" fmla="*/ 20216 w 606016"/>
                <a:gd name="connsiteY54" fmla="*/ 231921 h 564664"/>
                <a:gd name="connsiteX55" fmla="*/ 80862 w 606016"/>
                <a:gd name="connsiteY55" fmla="*/ 292469 h 564664"/>
                <a:gd name="connsiteX56" fmla="*/ 82126 w 606016"/>
                <a:gd name="connsiteY56" fmla="*/ 292649 h 564664"/>
                <a:gd name="connsiteX57" fmla="*/ 105229 w 606016"/>
                <a:gd name="connsiteY57" fmla="*/ 255167 h 564664"/>
                <a:gd name="connsiteX58" fmla="*/ 164883 w 606016"/>
                <a:gd name="connsiteY58" fmla="*/ 221829 h 564664"/>
                <a:gd name="connsiteX59" fmla="*/ 370559 w 606016"/>
                <a:gd name="connsiteY59" fmla="*/ 221829 h 564664"/>
                <a:gd name="connsiteX60" fmla="*/ 430213 w 606016"/>
                <a:gd name="connsiteY60" fmla="*/ 255077 h 564664"/>
                <a:gd name="connsiteX61" fmla="*/ 434545 w 606016"/>
                <a:gd name="connsiteY61" fmla="*/ 262195 h 564664"/>
                <a:gd name="connsiteX62" fmla="*/ 159920 w 606016"/>
                <a:gd name="connsiteY62" fmla="*/ 262195 h 564664"/>
                <a:gd name="connsiteX63" fmla="*/ 141419 w 606016"/>
                <a:gd name="connsiteY63" fmla="*/ 280575 h 564664"/>
                <a:gd name="connsiteX64" fmla="*/ 141419 w 606016"/>
                <a:gd name="connsiteY64" fmla="*/ 324455 h 564664"/>
                <a:gd name="connsiteX65" fmla="*/ 159920 w 606016"/>
                <a:gd name="connsiteY65" fmla="*/ 342835 h 564664"/>
                <a:gd name="connsiteX66" fmla="*/ 498801 w 606016"/>
                <a:gd name="connsiteY66" fmla="*/ 342835 h 564664"/>
                <a:gd name="connsiteX67" fmla="*/ 538962 w 606016"/>
                <a:gd name="connsiteY67" fmla="*/ 352926 h 564664"/>
                <a:gd name="connsiteX68" fmla="*/ 580566 w 606016"/>
                <a:gd name="connsiteY68" fmla="*/ 352926 h 564664"/>
                <a:gd name="connsiteX69" fmla="*/ 606016 w 606016"/>
                <a:gd name="connsiteY69" fmla="*/ 378335 h 564664"/>
                <a:gd name="connsiteX70" fmla="*/ 606016 w 606016"/>
                <a:gd name="connsiteY70" fmla="*/ 403383 h 564664"/>
                <a:gd name="connsiteX71" fmla="*/ 555567 w 606016"/>
                <a:gd name="connsiteY71" fmla="*/ 403383 h 564664"/>
                <a:gd name="connsiteX72" fmla="*/ 545460 w 606016"/>
                <a:gd name="connsiteY72" fmla="*/ 413474 h 564664"/>
                <a:gd name="connsiteX73" fmla="*/ 555567 w 606016"/>
                <a:gd name="connsiteY73" fmla="*/ 423476 h 564664"/>
                <a:gd name="connsiteX74" fmla="*/ 606016 w 606016"/>
                <a:gd name="connsiteY74" fmla="*/ 423476 h 564664"/>
                <a:gd name="connsiteX75" fmla="*/ 606016 w 606016"/>
                <a:gd name="connsiteY75" fmla="*/ 463391 h 564664"/>
                <a:gd name="connsiteX76" fmla="*/ 565224 w 606016"/>
                <a:gd name="connsiteY76" fmla="*/ 504206 h 564664"/>
                <a:gd name="connsiteX77" fmla="*/ 554755 w 606016"/>
                <a:gd name="connsiteY77" fmla="*/ 504206 h 564664"/>
                <a:gd name="connsiteX78" fmla="*/ 484813 w 606016"/>
                <a:gd name="connsiteY78" fmla="*/ 564664 h 564664"/>
                <a:gd name="connsiteX79" fmla="*/ 414961 w 606016"/>
                <a:gd name="connsiteY79" fmla="*/ 504206 h 564664"/>
                <a:gd name="connsiteX80" fmla="*/ 191145 w 606016"/>
                <a:gd name="connsiteY80" fmla="*/ 504206 h 564664"/>
                <a:gd name="connsiteX81" fmla="*/ 121293 w 606016"/>
                <a:gd name="connsiteY81" fmla="*/ 564664 h 564664"/>
                <a:gd name="connsiteX82" fmla="*/ 51351 w 606016"/>
                <a:gd name="connsiteY82" fmla="*/ 504206 h 564664"/>
                <a:gd name="connsiteX83" fmla="*/ 35377 w 606016"/>
                <a:gd name="connsiteY83" fmla="*/ 504206 h 564664"/>
                <a:gd name="connsiteX84" fmla="*/ 90 w 606016"/>
                <a:gd name="connsiteY84" fmla="*/ 468977 h 564664"/>
                <a:gd name="connsiteX85" fmla="*/ 0 w 606016"/>
                <a:gd name="connsiteY85" fmla="*/ 423476 h 564664"/>
                <a:gd name="connsiteX86" fmla="*/ 50539 w 606016"/>
                <a:gd name="connsiteY86" fmla="*/ 423476 h 564664"/>
                <a:gd name="connsiteX87" fmla="*/ 60647 w 606016"/>
                <a:gd name="connsiteY87" fmla="*/ 413474 h 564664"/>
                <a:gd name="connsiteX88" fmla="*/ 50539 w 606016"/>
                <a:gd name="connsiteY88" fmla="*/ 403383 h 564664"/>
                <a:gd name="connsiteX89" fmla="*/ 0 w 606016"/>
                <a:gd name="connsiteY89" fmla="*/ 403383 h 564664"/>
                <a:gd name="connsiteX90" fmla="*/ 0 w 606016"/>
                <a:gd name="connsiteY90" fmla="*/ 378335 h 564664"/>
                <a:gd name="connsiteX91" fmla="*/ 7400 w 606016"/>
                <a:gd name="connsiteY91" fmla="*/ 360405 h 564664"/>
                <a:gd name="connsiteX92" fmla="*/ 25540 w 606016"/>
                <a:gd name="connsiteY92" fmla="*/ 352926 h 564664"/>
                <a:gd name="connsiteX93" fmla="*/ 54961 w 606016"/>
                <a:gd name="connsiteY93" fmla="*/ 336798 h 564664"/>
                <a:gd name="connsiteX94" fmla="*/ 70303 w 606016"/>
                <a:gd name="connsiteY94" fmla="*/ 311840 h 564664"/>
                <a:gd name="connsiteX95" fmla="*/ 90 w 606016"/>
                <a:gd name="connsiteY95" fmla="*/ 231921 h 564664"/>
                <a:gd name="connsiteX96" fmla="*/ 90 w 606016"/>
                <a:gd name="connsiteY96" fmla="*/ 100823 h 564664"/>
                <a:gd name="connsiteX97" fmla="*/ 60647 w 606016"/>
                <a:gd name="connsiteY97" fmla="*/ 40366 h 564664"/>
                <a:gd name="connsiteX98" fmla="*/ 121293 w 606016"/>
                <a:gd name="connsiteY98" fmla="*/ 100823 h 564664"/>
                <a:gd name="connsiteX99" fmla="*/ 161634 w 606016"/>
                <a:gd name="connsiteY99" fmla="*/ 141189 h 564664"/>
                <a:gd name="connsiteX100" fmla="*/ 200622 w 606016"/>
                <a:gd name="connsiteY100" fmla="*/ 110915 h 564664"/>
                <a:gd name="connsiteX101" fmla="*/ 181850 w 606016"/>
                <a:gd name="connsiteY101" fmla="*/ 110915 h 564664"/>
                <a:gd name="connsiteX102" fmla="*/ 171742 w 606016"/>
                <a:gd name="connsiteY102" fmla="*/ 100823 h 564664"/>
                <a:gd name="connsiteX103" fmla="*/ 171742 w 606016"/>
                <a:gd name="connsiteY103" fmla="*/ 50457 h 564664"/>
                <a:gd name="connsiteX104" fmla="*/ 181850 w 606016"/>
                <a:gd name="connsiteY104" fmla="*/ 40366 h 564664"/>
                <a:gd name="connsiteX105" fmla="*/ 181850 w 606016"/>
                <a:gd name="connsiteY105" fmla="*/ 10092 h 564664"/>
                <a:gd name="connsiteX106" fmla="*/ 191958 w 606016"/>
                <a:gd name="connsiteY106" fmla="*/ 0 h 564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606016" h="564664">
                  <a:moveTo>
                    <a:pt x="484855" y="473988"/>
                  </a:moveTo>
                  <a:cubicBezTo>
                    <a:pt x="496001" y="473988"/>
                    <a:pt x="505037" y="483024"/>
                    <a:pt x="505037" y="494170"/>
                  </a:cubicBezTo>
                  <a:cubicBezTo>
                    <a:pt x="505037" y="505316"/>
                    <a:pt x="496001" y="514352"/>
                    <a:pt x="484855" y="514352"/>
                  </a:cubicBezTo>
                  <a:cubicBezTo>
                    <a:pt x="473709" y="514352"/>
                    <a:pt x="464673" y="505316"/>
                    <a:pt x="464673" y="494170"/>
                  </a:cubicBezTo>
                  <a:cubicBezTo>
                    <a:pt x="464673" y="483024"/>
                    <a:pt x="473709" y="473988"/>
                    <a:pt x="484855" y="473988"/>
                  </a:cubicBezTo>
                  <a:close/>
                  <a:moveTo>
                    <a:pt x="121232" y="473988"/>
                  </a:moveTo>
                  <a:cubicBezTo>
                    <a:pt x="132378" y="473988"/>
                    <a:pt x="141414" y="483024"/>
                    <a:pt x="141414" y="494170"/>
                  </a:cubicBezTo>
                  <a:cubicBezTo>
                    <a:pt x="141414" y="505316"/>
                    <a:pt x="132378" y="514352"/>
                    <a:pt x="121232" y="514352"/>
                  </a:cubicBezTo>
                  <a:cubicBezTo>
                    <a:pt x="110086" y="514352"/>
                    <a:pt x="101050" y="505316"/>
                    <a:pt x="101050" y="494170"/>
                  </a:cubicBezTo>
                  <a:cubicBezTo>
                    <a:pt x="101050" y="483024"/>
                    <a:pt x="110086" y="473988"/>
                    <a:pt x="121232" y="473988"/>
                  </a:cubicBezTo>
                  <a:close/>
                  <a:moveTo>
                    <a:pt x="484813" y="443658"/>
                  </a:moveTo>
                  <a:cubicBezTo>
                    <a:pt x="457016" y="443658"/>
                    <a:pt x="434364" y="466274"/>
                    <a:pt x="434364" y="494115"/>
                  </a:cubicBezTo>
                  <a:cubicBezTo>
                    <a:pt x="434364" y="521866"/>
                    <a:pt x="457016" y="544482"/>
                    <a:pt x="484813" y="544482"/>
                  </a:cubicBezTo>
                  <a:cubicBezTo>
                    <a:pt x="512699" y="544482"/>
                    <a:pt x="535352" y="521866"/>
                    <a:pt x="535352" y="494115"/>
                  </a:cubicBezTo>
                  <a:cubicBezTo>
                    <a:pt x="535352" y="466274"/>
                    <a:pt x="512699" y="443658"/>
                    <a:pt x="484813" y="443658"/>
                  </a:cubicBezTo>
                  <a:close/>
                  <a:moveTo>
                    <a:pt x="121293" y="443658"/>
                  </a:moveTo>
                  <a:cubicBezTo>
                    <a:pt x="93407" y="443658"/>
                    <a:pt x="70755" y="466274"/>
                    <a:pt x="70755" y="494115"/>
                  </a:cubicBezTo>
                  <a:cubicBezTo>
                    <a:pt x="70755" y="521866"/>
                    <a:pt x="93407" y="544482"/>
                    <a:pt x="121293" y="544482"/>
                  </a:cubicBezTo>
                  <a:cubicBezTo>
                    <a:pt x="149090" y="544482"/>
                    <a:pt x="171742" y="521866"/>
                    <a:pt x="171742" y="494115"/>
                  </a:cubicBezTo>
                  <a:cubicBezTo>
                    <a:pt x="171742" y="466274"/>
                    <a:pt x="149090" y="443658"/>
                    <a:pt x="121293" y="443658"/>
                  </a:cubicBezTo>
                  <a:close/>
                  <a:moveTo>
                    <a:pt x="303053" y="373109"/>
                  </a:moveTo>
                  <a:cubicBezTo>
                    <a:pt x="297458" y="373109"/>
                    <a:pt x="292945" y="377614"/>
                    <a:pt x="292945" y="383200"/>
                  </a:cubicBezTo>
                  <a:cubicBezTo>
                    <a:pt x="292945" y="388787"/>
                    <a:pt x="297458" y="393292"/>
                    <a:pt x="303053" y="393292"/>
                  </a:cubicBezTo>
                  <a:lnTo>
                    <a:pt x="343484" y="393292"/>
                  </a:lnTo>
                  <a:lnTo>
                    <a:pt x="343484" y="403383"/>
                  </a:lnTo>
                  <a:cubicBezTo>
                    <a:pt x="343484" y="408879"/>
                    <a:pt x="347997" y="413474"/>
                    <a:pt x="353592" y="413474"/>
                  </a:cubicBezTo>
                  <a:cubicBezTo>
                    <a:pt x="359097" y="413474"/>
                    <a:pt x="363610" y="408969"/>
                    <a:pt x="363610" y="403383"/>
                  </a:cubicBezTo>
                  <a:lnTo>
                    <a:pt x="363610" y="383200"/>
                  </a:lnTo>
                  <a:cubicBezTo>
                    <a:pt x="363610" y="377614"/>
                    <a:pt x="359097" y="373109"/>
                    <a:pt x="353592" y="373109"/>
                  </a:cubicBezTo>
                  <a:close/>
                  <a:moveTo>
                    <a:pt x="313169" y="282403"/>
                  </a:moveTo>
                  <a:lnTo>
                    <a:pt x="447018" y="282403"/>
                  </a:lnTo>
                  <a:lnTo>
                    <a:pt x="465069" y="311699"/>
                  </a:lnTo>
                  <a:cubicBezTo>
                    <a:pt x="467506" y="315665"/>
                    <a:pt x="470304" y="319271"/>
                    <a:pt x="473282" y="322696"/>
                  </a:cubicBezTo>
                  <a:lnTo>
                    <a:pt x="313169" y="322696"/>
                  </a:lnTo>
                  <a:close/>
                  <a:moveTo>
                    <a:pt x="161665" y="282403"/>
                  </a:moveTo>
                  <a:lnTo>
                    <a:pt x="292917" y="282403"/>
                  </a:lnTo>
                  <a:lnTo>
                    <a:pt x="292917" y="322696"/>
                  </a:lnTo>
                  <a:lnTo>
                    <a:pt x="161665" y="322696"/>
                  </a:lnTo>
                  <a:close/>
                  <a:moveTo>
                    <a:pt x="191958" y="0"/>
                  </a:moveTo>
                  <a:cubicBezTo>
                    <a:pt x="197553" y="0"/>
                    <a:pt x="202066" y="4505"/>
                    <a:pt x="202066" y="10092"/>
                  </a:cubicBezTo>
                  <a:lnTo>
                    <a:pt x="202066" y="40366"/>
                  </a:lnTo>
                  <a:lnTo>
                    <a:pt x="222281" y="40366"/>
                  </a:lnTo>
                  <a:lnTo>
                    <a:pt x="222281" y="10092"/>
                  </a:lnTo>
                  <a:cubicBezTo>
                    <a:pt x="222281" y="4505"/>
                    <a:pt x="226793" y="0"/>
                    <a:pt x="232389" y="0"/>
                  </a:cubicBezTo>
                  <a:cubicBezTo>
                    <a:pt x="237894" y="0"/>
                    <a:pt x="242406" y="4505"/>
                    <a:pt x="242406" y="10092"/>
                  </a:cubicBezTo>
                  <a:lnTo>
                    <a:pt x="242406" y="40366"/>
                  </a:lnTo>
                  <a:cubicBezTo>
                    <a:pt x="248002" y="40366"/>
                    <a:pt x="252514" y="44871"/>
                    <a:pt x="252514" y="50457"/>
                  </a:cubicBezTo>
                  <a:lnTo>
                    <a:pt x="252514" y="100823"/>
                  </a:lnTo>
                  <a:cubicBezTo>
                    <a:pt x="252514" y="106410"/>
                    <a:pt x="248002" y="110915"/>
                    <a:pt x="242406" y="110915"/>
                  </a:cubicBezTo>
                  <a:lnTo>
                    <a:pt x="221379" y="110915"/>
                  </a:lnTo>
                  <a:cubicBezTo>
                    <a:pt x="216505" y="139477"/>
                    <a:pt x="191597" y="161371"/>
                    <a:pt x="161634" y="161371"/>
                  </a:cubicBezTo>
                  <a:cubicBezTo>
                    <a:pt x="128243" y="161371"/>
                    <a:pt x="101078" y="134251"/>
                    <a:pt x="101078" y="100823"/>
                  </a:cubicBezTo>
                  <a:cubicBezTo>
                    <a:pt x="101078" y="78568"/>
                    <a:pt x="82938" y="60548"/>
                    <a:pt x="60647" y="60548"/>
                  </a:cubicBezTo>
                  <a:cubicBezTo>
                    <a:pt x="38355" y="60548"/>
                    <a:pt x="20216" y="78568"/>
                    <a:pt x="20216" y="100823"/>
                  </a:cubicBezTo>
                  <a:lnTo>
                    <a:pt x="20216" y="231921"/>
                  </a:lnTo>
                  <a:cubicBezTo>
                    <a:pt x="20216" y="265258"/>
                    <a:pt x="47470" y="292469"/>
                    <a:pt x="80862" y="292469"/>
                  </a:cubicBezTo>
                  <a:cubicBezTo>
                    <a:pt x="81314" y="292469"/>
                    <a:pt x="81675" y="292649"/>
                    <a:pt x="82126" y="292649"/>
                  </a:cubicBezTo>
                  <a:lnTo>
                    <a:pt x="105229" y="255167"/>
                  </a:lnTo>
                  <a:cubicBezTo>
                    <a:pt x="117864" y="234624"/>
                    <a:pt x="140697" y="221829"/>
                    <a:pt x="164883" y="221829"/>
                  </a:cubicBezTo>
                  <a:lnTo>
                    <a:pt x="370559" y="221829"/>
                  </a:lnTo>
                  <a:cubicBezTo>
                    <a:pt x="394655" y="221829"/>
                    <a:pt x="417578" y="234624"/>
                    <a:pt x="430213" y="255077"/>
                  </a:cubicBezTo>
                  <a:lnTo>
                    <a:pt x="434545" y="262195"/>
                  </a:lnTo>
                  <a:lnTo>
                    <a:pt x="159920" y="262195"/>
                  </a:lnTo>
                  <a:cubicBezTo>
                    <a:pt x="149722" y="262195"/>
                    <a:pt x="141419" y="270484"/>
                    <a:pt x="141419" y="280575"/>
                  </a:cubicBezTo>
                  <a:lnTo>
                    <a:pt x="141419" y="324455"/>
                  </a:lnTo>
                  <a:cubicBezTo>
                    <a:pt x="141419" y="334546"/>
                    <a:pt x="149722" y="342835"/>
                    <a:pt x="159920" y="342835"/>
                  </a:cubicBezTo>
                  <a:lnTo>
                    <a:pt x="498801" y="342835"/>
                  </a:lnTo>
                  <a:cubicBezTo>
                    <a:pt x="511075" y="349322"/>
                    <a:pt x="524793" y="352926"/>
                    <a:pt x="538962" y="352926"/>
                  </a:cubicBezTo>
                  <a:lnTo>
                    <a:pt x="580566" y="352926"/>
                  </a:lnTo>
                  <a:cubicBezTo>
                    <a:pt x="594645" y="352926"/>
                    <a:pt x="606016" y="364369"/>
                    <a:pt x="606016" y="378335"/>
                  </a:cubicBezTo>
                  <a:lnTo>
                    <a:pt x="606016" y="403383"/>
                  </a:lnTo>
                  <a:lnTo>
                    <a:pt x="555567" y="403383"/>
                  </a:lnTo>
                  <a:cubicBezTo>
                    <a:pt x="549972" y="403383"/>
                    <a:pt x="545460" y="407888"/>
                    <a:pt x="545460" y="413474"/>
                  </a:cubicBezTo>
                  <a:cubicBezTo>
                    <a:pt x="545460" y="418971"/>
                    <a:pt x="549972" y="423476"/>
                    <a:pt x="555567" y="423476"/>
                  </a:cubicBezTo>
                  <a:lnTo>
                    <a:pt x="606016" y="423476"/>
                  </a:lnTo>
                  <a:lnTo>
                    <a:pt x="606016" y="463391"/>
                  </a:lnTo>
                  <a:cubicBezTo>
                    <a:pt x="606016" y="485916"/>
                    <a:pt x="587696" y="504206"/>
                    <a:pt x="565224" y="504206"/>
                  </a:cubicBezTo>
                  <a:lnTo>
                    <a:pt x="554755" y="504206"/>
                  </a:lnTo>
                  <a:cubicBezTo>
                    <a:pt x="549791" y="538355"/>
                    <a:pt x="520371" y="564664"/>
                    <a:pt x="484813" y="564664"/>
                  </a:cubicBezTo>
                  <a:cubicBezTo>
                    <a:pt x="449345" y="564664"/>
                    <a:pt x="419924" y="538355"/>
                    <a:pt x="414961" y="504206"/>
                  </a:cubicBezTo>
                  <a:lnTo>
                    <a:pt x="191145" y="504206"/>
                  </a:lnTo>
                  <a:cubicBezTo>
                    <a:pt x="186182" y="538355"/>
                    <a:pt x="156761" y="564664"/>
                    <a:pt x="121293" y="564664"/>
                  </a:cubicBezTo>
                  <a:cubicBezTo>
                    <a:pt x="85736" y="564664"/>
                    <a:pt x="56315" y="538355"/>
                    <a:pt x="51351" y="504206"/>
                  </a:cubicBezTo>
                  <a:lnTo>
                    <a:pt x="35377" y="504206"/>
                  </a:lnTo>
                  <a:cubicBezTo>
                    <a:pt x="15884" y="504206"/>
                    <a:pt x="90" y="488349"/>
                    <a:pt x="90" y="468977"/>
                  </a:cubicBezTo>
                  <a:lnTo>
                    <a:pt x="0" y="423476"/>
                  </a:lnTo>
                  <a:lnTo>
                    <a:pt x="50539" y="423476"/>
                  </a:lnTo>
                  <a:cubicBezTo>
                    <a:pt x="56134" y="423476"/>
                    <a:pt x="60647" y="418971"/>
                    <a:pt x="60647" y="413474"/>
                  </a:cubicBezTo>
                  <a:cubicBezTo>
                    <a:pt x="60647" y="407888"/>
                    <a:pt x="56134" y="403383"/>
                    <a:pt x="50539" y="403383"/>
                  </a:cubicBezTo>
                  <a:lnTo>
                    <a:pt x="0" y="403383"/>
                  </a:lnTo>
                  <a:lnTo>
                    <a:pt x="0" y="378335"/>
                  </a:lnTo>
                  <a:cubicBezTo>
                    <a:pt x="0" y="371577"/>
                    <a:pt x="2617" y="365180"/>
                    <a:pt x="7400" y="360405"/>
                  </a:cubicBezTo>
                  <a:cubicBezTo>
                    <a:pt x="12274" y="355630"/>
                    <a:pt x="18681" y="352926"/>
                    <a:pt x="25540" y="352926"/>
                  </a:cubicBezTo>
                  <a:cubicBezTo>
                    <a:pt x="37814" y="352926"/>
                    <a:pt x="48824" y="346710"/>
                    <a:pt x="54961" y="336798"/>
                  </a:cubicBezTo>
                  <a:lnTo>
                    <a:pt x="70303" y="311840"/>
                  </a:lnTo>
                  <a:cubicBezTo>
                    <a:pt x="30775" y="306614"/>
                    <a:pt x="90" y="272827"/>
                    <a:pt x="90" y="231921"/>
                  </a:cubicBezTo>
                  <a:lnTo>
                    <a:pt x="90" y="100823"/>
                  </a:lnTo>
                  <a:cubicBezTo>
                    <a:pt x="90" y="67486"/>
                    <a:pt x="27255" y="40366"/>
                    <a:pt x="60647" y="40366"/>
                  </a:cubicBezTo>
                  <a:cubicBezTo>
                    <a:pt x="94039" y="40366"/>
                    <a:pt x="121293" y="67486"/>
                    <a:pt x="121293" y="100823"/>
                  </a:cubicBezTo>
                  <a:cubicBezTo>
                    <a:pt x="121293" y="123078"/>
                    <a:pt x="139343" y="141189"/>
                    <a:pt x="161634" y="141189"/>
                  </a:cubicBezTo>
                  <a:cubicBezTo>
                    <a:pt x="180406" y="141189"/>
                    <a:pt x="196109" y="128304"/>
                    <a:pt x="200622" y="110915"/>
                  </a:cubicBezTo>
                  <a:lnTo>
                    <a:pt x="181850" y="110915"/>
                  </a:lnTo>
                  <a:cubicBezTo>
                    <a:pt x="176255" y="110915"/>
                    <a:pt x="171742" y="106410"/>
                    <a:pt x="171742" y="100823"/>
                  </a:cubicBezTo>
                  <a:lnTo>
                    <a:pt x="171742" y="50457"/>
                  </a:lnTo>
                  <a:cubicBezTo>
                    <a:pt x="171742" y="44871"/>
                    <a:pt x="176255" y="40366"/>
                    <a:pt x="181850" y="40366"/>
                  </a:cubicBezTo>
                  <a:lnTo>
                    <a:pt x="181850" y="10092"/>
                  </a:lnTo>
                  <a:cubicBezTo>
                    <a:pt x="181850" y="4505"/>
                    <a:pt x="186362" y="0"/>
                    <a:pt x="191958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6" name="îs1îḓé">
              <a:extLst>
                <a:ext uri="{FF2B5EF4-FFF2-40B4-BE49-F238E27FC236}">
                  <a16:creationId xmlns:a16="http://schemas.microsoft.com/office/drawing/2014/main" id="{86B6C840-E72A-4C98-A030-44A59999C9AC}"/>
                </a:ext>
              </a:extLst>
            </p:cNvPr>
            <p:cNvSpPr/>
            <p:nvPr/>
          </p:nvSpPr>
          <p:spPr>
            <a:xfrm>
              <a:off x="4052779" y="2609851"/>
              <a:ext cx="4073740" cy="21922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6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02" y="572"/>
                    <a:pt x="1930" y="1429"/>
                    <a:pt x="2672" y="2532"/>
                  </a:cubicBezTo>
                  <a:cubicBezTo>
                    <a:pt x="4231" y="4696"/>
                    <a:pt x="5085" y="7636"/>
                    <a:pt x="5085" y="10780"/>
                  </a:cubicBezTo>
                  <a:cubicBezTo>
                    <a:pt x="5085" y="13964"/>
                    <a:pt x="4231" y="16904"/>
                    <a:pt x="2672" y="19068"/>
                  </a:cubicBezTo>
                  <a:cubicBezTo>
                    <a:pt x="1930" y="20171"/>
                    <a:pt x="1002" y="21028"/>
                    <a:pt x="0" y="21600"/>
                  </a:cubicBezTo>
                  <a:cubicBezTo>
                    <a:pt x="13769" y="21600"/>
                    <a:pt x="13769" y="21600"/>
                    <a:pt x="13769" y="21600"/>
                  </a:cubicBezTo>
                  <a:cubicBezTo>
                    <a:pt x="18297" y="21600"/>
                    <a:pt x="21600" y="16782"/>
                    <a:pt x="21600" y="10780"/>
                  </a:cubicBezTo>
                  <a:cubicBezTo>
                    <a:pt x="21600" y="4818"/>
                    <a:pt x="18297" y="0"/>
                    <a:pt x="13769" y="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accent1"/>
              </a:solidFill>
              <a:miter lim="400000"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57" name="iṥ1ïḋe">
              <a:extLst>
                <a:ext uri="{FF2B5EF4-FFF2-40B4-BE49-F238E27FC236}">
                  <a16:creationId xmlns:a16="http://schemas.microsoft.com/office/drawing/2014/main" id="{3D8F9A93-8C31-455D-BEFB-7B216ED67F66}"/>
                </a:ext>
              </a:extLst>
            </p:cNvPr>
            <p:cNvSpPr/>
            <p:nvPr/>
          </p:nvSpPr>
          <p:spPr>
            <a:xfrm>
              <a:off x="5236966" y="3884848"/>
              <a:ext cx="2566868" cy="798912"/>
            </a:xfrm>
            <a:prstGeom prst="rect">
              <a:avLst/>
            </a:prstGeom>
            <a:ln w="12700">
              <a:miter lim="400000"/>
            </a:ln>
          </p:spPr>
          <p:txBody>
            <a:bodyPr wrap="square" lIns="91440" tIns="45720" rIns="91440" bIns="45720" anchor="ctr">
              <a:normAutofit fontScale="92500"/>
            </a:bodyPr>
            <a:lstStyle/>
            <a:p>
              <a:pPr lvl="0" algn="ctr">
                <a:defRPr sz="1800">
                  <a:solidFill>
                    <a:srgbClr val="000000"/>
                  </a:solidFill>
                </a:defRPr>
              </a:pPr>
              <a:r>
                <a:rPr lang="zh-CN" altLang="en-US" sz="3200" b="1" dirty="0">
                  <a:solidFill>
                    <a:schemeClr val="accent1">
                      <a:lumMod val="50000"/>
                    </a:schemeClr>
                  </a:solidFill>
                </a:rPr>
                <a:t>动力性肠梗阻</a:t>
              </a:r>
            </a:p>
          </p:txBody>
        </p:sp>
        <p:sp>
          <p:nvSpPr>
            <p:cNvPr id="158" name="ïṡliḋé">
              <a:extLst>
                <a:ext uri="{FF2B5EF4-FFF2-40B4-BE49-F238E27FC236}">
                  <a16:creationId xmlns:a16="http://schemas.microsoft.com/office/drawing/2014/main" id="{7E356B47-48D6-4C9E-BA9D-14E9D51D8AC1}"/>
                </a:ext>
              </a:extLst>
            </p:cNvPr>
            <p:cNvSpPr/>
            <p:nvPr/>
          </p:nvSpPr>
          <p:spPr bwMode="auto">
            <a:xfrm>
              <a:off x="6255557" y="3250872"/>
              <a:ext cx="529687" cy="476663"/>
            </a:xfrm>
            <a:custGeom>
              <a:avLst/>
              <a:gdLst>
                <a:gd name="connsiteX0" fmla="*/ 225929 w 608344"/>
                <a:gd name="connsiteY0" fmla="*/ 296304 h 547447"/>
                <a:gd name="connsiteX1" fmla="*/ 225929 w 608344"/>
                <a:gd name="connsiteY1" fmla="*/ 341046 h 547447"/>
                <a:gd name="connsiteX2" fmla="*/ 44891 w 608344"/>
                <a:gd name="connsiteY2" fmla="*/ 420403 h 547447"/>
                <a:gd name="connsiteX3" fmla="*/ 287412 w 608344"/>
                <a:gd name="connsiteY3" fmla="*/ 502613 h 547447"/>
                <a:gd name="connsiteX4" fmla="*/ 530026 w 608344"/>
                <a:gd name="connsiteY4" fmla="*/ 420403 h 547447"/>
                <a:gd name="connsiteX5" fmla="*/ 351292 w 608344"/>
                <a:gd name="connsiteY5" fmla="*/ 341322 h 547447"/>
                <a:gd name="connsiteX6" fmla="*/ 351292 w 608344"/>
                <a:gd name="connsiteY6" fmla="*/ 296488 h 547447"/>
                <a:gd name="connsiteX7" fmla="*/ 574825 w 608344"/>
                <a:gd name="connsiteY7" fmla="*/ 420403 h 547447"/>
                <a:gd name="connsiteX8" fmla="*/ 287412 w 608344"/>
                <a:gd name="connsiteY8" fmla="*/ 547447 h 547447"/>
                <a:gd name="connsiteX9" fmla="*/ 0 w 608344"/>
                <a:gd name="connsiteY9" fmla="*/ 420403 h 547447"/>
                <a:gd name="connsiteX10" fmla="*/ 225929 w 608344"/>
                <a:gd name="connsiteY10" fmla="*/ 296304 h 547447"/>
                <a:gd name="connsiteX11" fmla="*/ 288618 w 608344"/>
                <a:gd name="connsiteY11" fmla="*/ 0 h 547447"/>
                <a:gd name="connsiteX12" fmla="*/ 311206 w 608344"/>
                <a:gd name="connsiteY12" fmla="*/ 22551 h 547447"/>
                <a:gd name="connsiteX13" fmla="*/ 311206 w 608344"/>
                <a:gd name="connsiteY13" fmla="*/ 36174 h 547447"/>
                <a:gd name="connsiteX14" fmla="*/ 370947 w 608344"/>
                <a:gd name="connsiteY14" fmla="*/ 21079 h 547447"/>
                <a:gd name="connsiteX15" fmla="*/ 428291 w 608344"/>
                <a:gd name="connsiteY15" fmla="*/ 34978 h 547447"/>
                <a:gd name="connsiteX16" fmla="*/ 486004 w 608344"/>
                <a:gd name="connsiteY16" fmla="*/ 48969 h 547447"/>
                <a:gd name="connsiteX17" fmla="*/ 540766 w 608344"/>
                <a:gd name="connsiteY17" fmla="*/ 36450 h 547447"/>
                <a:gd name="connsiteX18" fmla="*/ 578012 w 608344"/>
                <a:gd name="connsiteY18" fmla="*/ 18409 h 547447"/>
                <a:gd name="connsiteX19" fmla="*/ 587232 w 608344"/>
                <a:gd name="connsiteY19" fmla="*/ 16292 h 547447"/>
                <a:gd name="connsiteX20" fmla="*/ 598479 w 608344"/>
                <a:gd name="connsiteY20" fmla="*/ 19514 h 547447"/>
                <a:gd name="connsiteX21" fmla="*/ 608344 w 608344"/>
                <a:gd name="connsiteY21" fmla="*/ 37371 h 547447"/>
                <a:gd name="connsiteX22" fmla="*/ 608344 w 608344"/>
                <a:gd name="connsiteY22" fmla="*/ 174520 h 547447"/>
                <a:gd name="connsiteX23" fmla="*/ 596451 w 608344"/>
                <a:gd name="connsiteY23" fmla="*/ 193481 h 547447"/>
                <a:gd name="connsiteX24" fmla="*/ 540766 w 608344"/>
                <a:gd name="connsiteY24" fmla="*/ 220451 h 547447"/>
                <a:gd name="connsiteX25" fmla="*/ 486004 w 608344"/>
                <a:gd name="connsiteY25" fmla="*/ 232969 h 547447"/>
                <a:gd name="connsiteX26" fmla="*/ 428291 w 608344"/>
                <a:gd name="connsiteY26" fmla="*/ 218978 h 547447"/>
                <a:gd name="connsiteX27" fmla="*/ 370947 w 608344"/>
                <a:gd name="connsiteY27" fmla="*/ 205079 h 547447"/>
                <a:gd name="connsiteX28" fmla="*/ 311206 w 608344"/>
                <a:gd name="connsiteY28" fmla="*/ 220175 h 547447"/>
                <a:gd name="connsiteX29" fmla="*/ 311206 w 608344"/>
                <a:gd name="connsiteY29" fmla="*/ 426267 h 547447"/>
                <a:gd name="connsiteX30" fmla="*/ 288618 w 608344"/>
                <a:gd name="connsiteY30" fmla="*/ 448726 h 547447"/>
                <a:gd name="connsiteX31" fmla="*/ 266031 w 608344"/>
                <a:gd name="connsiteY31" fmla="*/ 426267 h 547447"/>
                <a:gd name="connsiteX32" fmla="*/ 266031 w 608344"/>
                <a:gd name="connsiteY32" fmla="*/ 22551 h 547447"/>
                <a:gd name="connsiteX33" fmla="*/ 288618 w 608344"/>
                <a:gd name="connsiteY33" fmla="*/ 0 h 547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08344" h="547447">
                  <a:moveTo>
                    <a:pt x="225929" y="296304"/>
                  </a:moveTo>
                  <a:lnTo>
                    <a:pt x="225929" y="341046"/>
                  </a:lnTo>
                  <a:cubicBezTo>
                    <a:pt x="112458" y="351817"/>
                    <a:pt x="44891" y="391035"/>
                    <a:pt x="44891" y="420403"/>
                  </a:cubicBezTo>
                  <a:cubicBezTo>
                    <a:pt x="44891" y="454741"/>
                    <a:pt x="137162" y="502613"/>
                    <a:pt x="287412" y="502613"/>
                  </a:cubicBezTo>
                  <a:cubicBezTo>
                    <a:pt x="437663" y="502613"/>
                    <a:pt x="530026" y="454741"/>
                    <a:pt x="530026" y="420403"/>
                  </a:cubicBezTo>
                  <a:cubicBezTo>
                    <a:pt x="530026" y="391219"/>
                    <a:pt x="463289" y="352369"/>
                    <a:pt x="351292" y="341322"/>
                  </a:cubicBezTo>
                  <a:lnTo>
                    <a:pt x="351292" y="296488"/>
                  </a:lnTo>
                  <a:cubicBezTo>
                    <a:pt x="468543" y="307904"/>
                    <a:pt x="574825" y="350436"/>
                    <a:pt x="574825" y="420403"/>
                  </a:cubicBezTo>
                  <a:cubicBezTo>
                    <a:pt x="574825" y="502889"/>
                    <a:pt x="426786" y="547447"/>
                    <a:pt x="287412" y="547447"/>
                  </a:cubicBezTo>
                  <a:cubicBezTo>
                    <a:pt x="148131" y="547447"/>
                    <a:pt x="0" y="502889"/>
                    <a:pt x="0" y="420403"/>
                  </a:cubicBezTo>
                  <a:cubicBezTo>
                    <a:pt x="0" y="349976"/>
                    <a:pt x="107757" y="307351"/>
                    <a:pt x="225929" y="296304"/>
                  </a:cubicBezTo>
                  <a:close/>
                  <a:moveTo>
                    <a:pt x="288618" y="0"/>
                  </a:moveTo>
                  <a:cubicBezTo>
                    <a:pt x="301064" y="0"/>
                    <a:pt x="311206" y="10033"/>
                    <a:pt x="311206" y="22551"/>
                  </a:cubicBezTo>
                  <a:lnTo>
                    <a:pt x="311206" y="36174"/>
                  </a:lnTo>
                  <a:cubicBezTo>
                    <a:pt x="329829" y="26141"/>
                    <a:pt x="350388" y="21079"/>
                    <a:pt x="370947" y="21079"/>
                  </a:cubicBezTo>
                  <a:cubicBezTo>
                    <a:pt x="390584" y="21079"/>
                    <a:pt x="410313" y="25681"/>
                    <a:pt x="428291" y="34978"/>
                  </a:cubicBezTo>
                  <a:cubicBezTo>
                    <a:pt x="446361" y="44366"/>
                    <a:pt x="466182" y="48969"/>
                    <a:pt x="486004" y="48969"/>
                  </a:cubicBezTo>
                  <a:cubicBezTo>
                    <a:pt x="504719" y="48969"/>
                    <a:pt x="523526" y="44827"/>
                    <a:pt x="540766" y="36450"/>
                  </a:cubicBezTo>
                  <a:lnTo>
                    <a:pt x="578012" y="18409"/>
                  </a:lnTo>
                  <a:cubicBezTo>
                    <a:pt x="580963" y="17029"/>
                    <a:pt x="584097" y="16292"/>
                    <a:pt x="587232" y="16292"/>
                  </a:cubicBezTo>
                  <a:cubicBezTo>
                    <a:pt x="591104" y="16292"/>
                    <a:pt x="594976" y="17397"/>
                    <a:pt x="598479" y="19514"/>
                  </a:cubicBezTo>
                  <a:cubicBezTo>
                    <a:pt x="604564" y="23380"/>
                    <a:pt x="608344" y="30099"/>
                    <a:pt x="608344" y="37371"/>
                  </a:cubicBezTo>
                  <a:lnTo>
                    <a:pt x="608344" y="174520"/>
                  </a:lnTo>
                  <a:cubicBezTo>
                    <a:pt x="608344" y="182620"/>
                    <a:pt x="603734" y="189984"/>
                    <a:pt x="596451" y="193481"/>
                  </a:cubicBezTo>
                  <a:lnTo>
                    <a:pt x="540766" y="220451"/>
                  </a:lnTo>
                  <a:cubicBezTo>
                    <a:pt x="523434" y="228827"/>
                    <a:pt x="504719" y="232969"/>
                    <a:pt x="486004" y="232969"/>
                  </a:cubicBezTo>
                  <a:cubicBezTo>
                    <a:pt x="466182" y="232969"/>
                    <a:pt x="446361" y="228367"/>
                    <a:pt x="428291" y="218978"/>
                  </a:cubicBezTo>
                  <a:cubicBezTo>
                    <a:pt x="410313" y="209774"/>
                    <a:pt x="390584" y="205079"/>
                    <a:pt x="370947" y="205079"/>
                  </a:cubicBezTo>
                  <a:cubicBezTo>
                    <a:pt x="350388" y="205079"/>
                    <a:pt x="329829" y="210142"/>
                    <a:pt x="311206" y="220175"/>
                  </a:cubicBezTo>
                  <a:lnTo>
                    <a:pt x="311206" y="426267"/>
                  </a:lnTo>
                  <a:cubicBezTo>
                    <a:pt x="311206" y="438693"/>
                    <a:pt x="301064" y="448726"/>
                    <a:pt x="288618" y="448726"/>
                  </a:cubicBezTo>
                  <a:cubicBezTo>
                    <a:pt x="276172" y="448726"/>
                    <a:pt x="266031" y="438693"/>
                    <a:pt x="266031" y="426267"/>
                  </a:cubicBezTo>
                  <a:lnTo>
                    <a:pt x="266031" y="22551"/>
                  </a:lnTo>
                  <a:cubicBezTo>
                    <a:pt x="266031" y="10033"/>
                    <a:pt x="276172" y="0"/>
                    <a:pt x="2886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9" name="iŝ1ïḓè">
              <a:extLst>
                <a:ext uri="{FF2B5EF4-FFF2-40B4-BE49-F238E27FC236}">
                  <a16:creationId xmlns:a16="http://schemas.microsoft.com/office/drawing/2014/main" id="{ACFCA960-D830-4F79-96C4-B1F3F1DA4835}"/>
                </a:ext>
              </a:extLst>
            </p:cNvPr>
            <p:cNvSpPr/>
            <p:nvPr/>
          </p:nvSpPr>
          <p:spPr>
            <a:xfrm>
              <a:off x="7445159" y="2609851"/>
              <a:ext cx="4073740" cy="21922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6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02" y="572"/>
                    <a:pt x="1930" y="1429"/>
                    <a:pt x="2672" y="2532"/>
                  </a:cubicBezTo>
                  <a:cubicBezTo>
                    <a:pt x="4231" y="4696"/>
                    <a:pt x="5085" y="7636"/>
                    <a:pt x="5085" y="10780"/>
                  </a:cubicBezTo>
                  <a:cubicBezTo>
                    <a:pt x="5085" y="13964"/>
                    <a:pt x="4231" y="16904"/>
                    <a:pt x="2672" y="19068"/>
                  </a:cubicBezTo>
                  <a:cubicBezTo>
                    <a:pt x="1930" y="20171"/>
                    <a:pt x="1002" y="21028"/>
                    <a:pt x="0" y="21600"/>
                  </a:cubicBezTo>
                  <a:cubicBezTo>
                    <a:pt x="13769" y="21600"/>
                    <a:pt x="13769" y="21600"/>
                    <a:pt x="13769" y="21600"/>
                  </a:cubicBezTo>
                  <a:cubicBezTo>
                    <a:pt x="18297" y="21600"/>
                    <a:pt x="21600" y="16782"/>
                    <a:pt x="21600" y="10780"/>
                  </a:cubicBezTo>
                  <a:cubicBezTo>
                    <a:pt x="21600" y="4818"/>
                    <a:pt x="18297" y="0"/>
                    <a:pt x="13769" y="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miter lim="400000"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60" name="î$ľïďè">
              <a:extLst>
                <a:ext uri="{FF2B5EF4-FFF2-40B4-BE49-F238E27FC236}">
                  <a16:creationId xmlns:a16="http://schemas.microsoft.com/office/drawing/2014/main" id="{ECA3A1A8-5F41-40A9-832E-198D186B501D}"/>
                </a:ext>
              </a:extLst>
            </p:cNvPr>
            <p:cNvSpPr/>
            <p:nvPr/>
          </p:nvSpPr>
          <p:spPr>
            <a:xfrm>
              <a:off x="8629345" y="3884848"/>
              <a:ext cx="2566868" cy="778592"/>
            </a:xfrm>
            <a:prstGeom prst="rect">
              <a:avLst/>
            </a:prstGeom>
            <a:ln w="12700">
              <a:miter lim="400000"/>
            </a:ln>
          </p:spPr>
          <p:txBody>
            <a:bodyPr wrap="square" lIns="91440" tIns="45720" rIns="91440" bIns="45720" anchor="ctr">
              <a:normAutofit fontScale="92500"/>
            </a:bodyPr>
            <a:lstStyle/>
            <a:p>
              <a:pPr lvl="0" algn="ctr">
                <a:defRPr sz="1800">
                  <a:solidFill>
                    <a:srgbClr val="000000"/>
                  </a:solidFill>
                </a:defRPr>
              </a:pPr>
              <a:r>
                <a:rPr lang="zh-CN" altLang="en-US" sz="3200" b="1" dirty="0">
                  <a:solidFill>
                    <a:schemeClr val="accent1">
                      <a:lumMod val="50000"/>
                    </a:schemeClr>
                  </a:solidFill>
                </a:rPr>
                <a:t>血运性肠梗阻</a:t>
              </a:r>
            </a:p>
          </p:txBody>
        </p:sp>
        <p:sp>
          <p:nvSpPr>
            <p:cNvPr id="161" name="îṥļïďé">
              <a:extLst>
                <a:ext uri="{FF2B5EF4-FFF2-40B4-BE49-F238E27FC236}">
                  <a16:creationId xmlns:a16="http://schemas.microsoft.com/office/drawing/2014/main" id="{2A84D47E-3883-4A9E-B446-15FBFCBF7955}"/>
                </a:ext>
              </a:extLst>
            </p:cNvPr>
            <p:cNvSpPr/>
            <p:nvPr/>
          </p:nvSpPr>
          <p:spPr bwMode="auto">
            <a:xfrm>
              <a:off x="9647936" y="3245854"/>
              <a:ext cx="529687" cy="486700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  <a:gd name="connsiteX85" fmla="*/ 373273 h 605239"/>
                <a:gd name="connsiteY85" fmla="*/ 373273 h 605239"/>
                <a:gd name="connsiteX86" fmla="*/ 373273 h 605239"/>
                <a:gd name="connsiteY86" fmla="*/ 373273 h 605239"/>
                <a:gd name="connsiteX87" fmla="*/ 373273 h 605239"/>
                <a:gd name="connsiteY87" fmla="*/ 373273 h 605239"/>
                <a:gd name="connsiteX88" fmla="*/ 373273 h 605239"/>
                <a:gd name="connsiteY88" fmla="*/ 373273 h 605239"/>
                <a:gd name="connsiteX89" fmla="*/ 373273 h 605239"/>
                <a:gd name="connsiteY89" fmla="*/ 373273 h 605239"/>
                <a:gd name="connsiteX90" fmla="*/ 373273 h 605239"/>
                <a:gd name="connsiteY90" fmla="*/ 373273 h 605239"/>
                <a:gd name="connsiteX91" fmla="*/ 373273 h 605239"/>
                <a:gd name="connsiteY91" fmla="*/ 373273 h 605239"/>
                <a:gd name="connsiteX92" fmla="*/ 373273 h 605239"/>
                <a:gd name="connsiteY92" fmla="*/ 373273 h 605239"/>
                <a:gd name="connsiteX93" fmla="*/ 373273 h 605239"/>
                <a:gd name="connsiteY93" fmla="*/ 373273 h 605239"/>
                <a:gd name="connsiteX94" fmla="*/ 373273 h 605239"/>
                <a:gd name="connsiteY94" fmla="*/ 373273 h 605239"/>
                <a:gd name="connsiteX95" fmla="*/ 373273 h 605239"/>
                <a:gd name="connsiteY95" fmla="*/ 373273 h 605239"/>
                <a:gd name="connsiteX96" fmla="*/ 373273 h 605239"/>
                <a:gd name="connsiteY96" fmla="*/ 373273 h 605239"/>
                <a:gd name="connsiteX97" fmla="*/ 373273 h 605239"/>
                <a:gd name="connsiteY97" fmla="*/ 373273 h 605239"/>
                <a:gd name="connsiteX98" fmla="*/ 373273 h 605239"/>
                <a:gd name="connsiteY98" fmla="*/ 373273 h 605239"/>
                <a:gd name="connsiteX99" fmla="*/ 373273 h 605239"/>
                <a:gd name="connsiteY99" fmla="*/ 373273 h 605239"/>
                <a:gd name="connsiteX100" fmla="*/ 373273 h 605239"/>
                <a:gd name="connsiteY100" fmla="*/ 373273 h 605239"/>
                <a:gd name="connsiteX101" fmla="*/ 373273 h 605239"/>
                <a:gd name="connsiteY101" fmla="*/ 373273 h 605239"/>
                <a:gd name="connsiteX102" fmla="*/ 373273 h 605239"/>
                <a:gd name="connsiteY102" fmla="*/ 373273 h 605239"/>
                <a:gd name="connsiteX103" fmla="*/ 373273 h 605239"/>
                <a:gd name="connsiteY103" fmla="*/ 373273 h 605239"/>
                <a:gd name="connsiteX104" fmla="*/ 373273 h 605239"/>
                <a:gd name="connsiteY104" fmla="*/ 373273 h 605239"/>
                <a:gd name="connsiteX105" fmla="*/ 373273 h 605239"/>
                <a:gd name="connsiteY105" fmla="*/ 373273 h 605239"/>
                <a:gd name="connsiteX106" fmla="*/ 373273 h 605239"/>
                <a:gd name="connsiteY106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608909" h="559493">
                  <a:moveTo>
                    <a:pt x="470180" y="272856"/>
                  </a:moveTo>
                  <a:lnTo>
                    <a:pt x="476019" y="272856"/>
                  </a:lnTo>
                  <a:lnTo>
                    <a:pt x="481953" y="272856"/>
                  </a:lnTo>
                  <a:cubicBezTo>
                    <a:pt x="509171" y="272856"/>
                    <a:pt x="531210" y="294963"/>
                    <a:pt x="531210" y="322056"/>
                  </a:cubicBezTo>
                  <a:lnTo>
                    <a:pt x="531210" y="376617"/>
                  </a:lnTo>
                  <a:cubicBezTo>
                    <a:pt x="531210" y="385084"/>
                    <a:pt x="526783" y="392609"/>
                    <a:pt x="520096" y="397031"/>
                  </a:cubicBezTo>
                  <a:lnTo>
                    <a:pt x="520096" y="449711"/>
                  </a:lnTo>
                  <a:cubicBezTo>
                    <a:pt x="520096" y="450558"/>
                    <a:pt x="520661" y="451498"/>
                    <a:pt x="521509" y="451875"/>
                  </a:cubicBezTo>
                  <a:cubicBezTo>
                    <a:pt x="528949" y="455450"/>
                    <a:pt x="565492" y="473888"/>
                    <a:pt x="599209" y="501639"/>
                  </a:cubicBezTo>
                  <a:cubicBezTo>
                    <a:pt x="605425" y="506625"/>
                    <a:pt x="608909" y="514150"/>
                    <a:pt x="608909" y="522052"/>
                  </a:cubicBezTo>
                  <a:lnTo>
                    <a:pt x="608909" y="559493"/>
                  </a:lnTo>
                  <a:lnTo>
                    <a:pt x="483083" y="559493"/>
                  </a:lnTo>
                  <a:lnTo>
                    <a:pt x="483083" y="515561"/>
                  </a:lnTo>
                  <a:cubicBezTo>
                    <a:pt x="483083" y="499475"/>
                    <a:pt x="476019" y="484424"/>
                    <a:pt x="463587" y="474264"/>
                  </a:cubicBezTo>
                  <a:cubicBezTo>
                    <a:pt x="453039" y="465609"/>
                    <a:pt x="442302" y="457707"/>
                    <a:pt x="431848" y="450558"/>
                  </a:cubicBezTo>
                  <a:cubicBezTo>
                    <a:pt x="431848" y="450370"/>
                    <a:pt x="431942" y="450087"/>
                    <a:pt x="431942" y="449711"/>
                  </a:cubicBezTo>
                  <a:lnTo>
                    <a:pt x="431942" y="397031"/>
                  </a:lnTo>
                  <a:cubicBezTo>
                    <a:pt x="425350" y="392609"/>
                    <a:pt x="420923" y="385084"/>
                    <a:pt x="420923" y="376617"/>
                  </a:cubicBezTo>
                  <a:lnTo>
                    <a:pt x="420923" y="322056"/>
                  </a:lnTo>
                  <a:cubicBezTo>
                    <a:pt x="420923" y="294775"/>
                    <a:pt x="443056" y="272856"/>
                    <a:pt x="470180" y="272856"/>
                  </a:cubicBezTo>
                  <a:close/>
                  <a:moveTo>
                    <a:pt x="127004" y="272856"/>
                  </a:moveTo>
                  <a:lnTo>
                    <a:pt x="132940" y="272856"/>
                  </a:lnTo>
                  <a:lnTo>
                    <a:pt x="138781" y="272856"/>
                  </a:lnTo>
                  <a:cubicBezTo>
                    <a:pt x="166104" y="272856"/>
                    <a:pt x="188057" y="294963"/>
                    <a:pt x="188057" y="322056"/>
                  </a:cubicBezTo>
                  <a:lnTo>
                    <a:pt x="188057" y="376617"/>
                  </a:lnTo>
                  <a:cubicBezTo>
                    <a:pt x="188057" y="385084"/>
                    <a:pt x="183629" y="392609"/>
                    <a:pt x="177033" y="397031"/>
                  </a:cubicBezTo>
                  <a:lnTo>
                    <a:pt x="177033" y="449711"/>
                  </a:lnTo>
                  <a:cubicBezTo>
                    <a:pt x="177033" y="449993"/>
                    <a:pt x="177128" y="450370"/>
                    <a:pt x="177128" y="450558"/>
                  </a:cubicBezTo>
                  <a:cubicBezTo>
                    <a:pt x="166670" y="457613"/>
                    <a:pt x="155929" y="465609"/>
                    <a:pt x="145376" y="474264"/>
                  </a:cubicBezTo>
                  <a:cubicBezTo>
                    <a:pt x="133034" y="484424"/>
                    <a:pt x="125874" y="499475"/>
                    <a:pt x="125874" y="515561"/>
                  </a:cubicBezTo>
                  <a:lnTo>
                    <a:pt x="125874" y="559493"/>
                  </a:lnTo>
                  <a:lnTo>
                    <a:pt x="0" y="559493"/>
                  </a:lnTo>
                  <a:lnTo>
                    <a:pt x="0" y="522052"/>
                  </a:lnTo>
                  <a:cubicBezTo>
                    <a:pt x="0" y="514150"/>
                    <a:pt x="3486" y="506625"/>
                    <a:pt x="9704" y="501639"/>
                  </a:cubicBezTo>
                  <a:cubicBezTo>
                    <a:pt x="43434" y="473888"/>
                    <a:pt x="79990" y="455450"/>
                    <a:pt x="87433" y="451875"/>
                  </a:cubicBezTo>
                  <a:cubicBezTo>
                    <a:pt x="88281" y="451498"/>
                    <a:pt x="88846" y="450558"/>
                    <a:pt x="88846" y="449711"/>
                  </a:cubicBezTo>
                  <a:lnTo>
                    <a:pt x="88846" y="397031"/>
                  </a:lnTo>
                  <a:cubicBezTo>
                    <a:pt x="82157" y="392609"/>
                    <a:pt x="77729" y="385084"/>
                    <a:pt x="77729" y="376617"/>
                  </a:cubicBezTo>
                  <a:lnTo>
                    <a:pt x="77729" y="322056"/>
                  </a:lnTo>
                  <a:cubicBezTo>
                    <a:pt x="77729" y="294775"/>
                    <a:pt x="99870" y="272856"/>
                    <a:pt x="127004" y="272856"/>
                  </a:cubicBezTo>
                  <a:close/>
                  <a:moveTo>
                    <a:pt x="297600" y="222543"/>
                  </a:moveTo>
                  <a:lnTo>
                    <a:pt x="304477" y="222543"/>
                  </a:lnTo>
                  <a:lnTo>
                    <a:pt x="311260" y="222543"/>
                  </a:lnTo>
                  <a:cubicBezTo>
                    <a:pt x="343291" y="222543"/>
                    <a:pt x="369198" y="248506"/>
                    <a:pt x="369198" y="280395"/>
                  </a:cubicBezTo>
                  <a:lnTo>
                    <a:pt x="369198" y="344455"/>
                  </a:lnTo>
                  <a:cubicBezTo>
                    <a:pt x="369198" y="354520"/>
                    <a:pt x="364017" y="363456"/>
                    <a:pt x="356198" y="368536"/>
                  </a:cubicBezTo>
                  <a:lnTo>
                    <a:pt x="356198" y="430432"/>
                  </a:lnTo>
                  <a:cubicBezTo>
                    <a:pt x="356198" y="431561"/>
                    <a:pt x="356857" y="432502"/>
                    <a:pt x="357893" y="433066"/>
                  </a:cubicBezTo>
                  <a:cubicBezTo>
                    <a:pt x="366655" y="437299"/>
                    <a:pt x="409520" y="459029"/>
                    <a:pt x="449275" y="491576"/>
                  </a:cubicBezTo>
                  <a:cubicBezTo>
                    <a:pt x="456435" y="497502"/>
                    <a:pt x="460580" y="506251"/>
                    <a:pt x="460580" y="515563"/>
                  </a:cubicBezTo>
                  <a:lnTo>
                    <a:pt x="460580" y="559493"/>
                  </a:lnTo>
                  <a:lnTo>
                    <a:pt x="304477" y="559493"/>
                  </a:lnTo>
                  <a:lnTo>
                    <a:pt x="148187" y="559493"/>
                  </a:lnTo>
                  <a:lnTo>
                    <a:pt x="148187" y="515563"/>
                  </a:lnTo>
                  <a:cubicBezTo>
                    <a:pt x="148187" y="506251"/>
                    <a:pt x="152332" y="497502"/>
                    <a:pt x="159492" y="491576"/>
                  </a:cubicBezTo>
                  <a:cubicBezTo>
                    <a:pt x="199342" y="459029"/>
                    <a:pt x="242206" y="437299"/>
                    <a:pt x="250967" y="433066"/>
                  </a:cubicBezTo>
                  <a:cubicBezTo>
                    <a:pt x="252004" y="432502"/>
                    <a:pt x="252569" y="431561"/>
                    <a:pt x="252569" y="430432"/>
                  </a:cubicBezTo>
                  <a:lnTo>
                    <a:pt x="252569" y="368536"/>
                  </a:lnTo>
                  <a:cubicBezTo>
                    <a:pt x="244844" y="363456"/>
                    <a:pt x="239663" y="354520"/>
                    <a:pt x="239663" y="344455"/>
                  </a:cubicBezTo>
                  <a:lnTo>
                    <a:pt x="239663" y="280395"/>
                  </a:lnTo>
                  <a:cubicBezTo>
                    <a:pt x="239663" y="248412"/>
                    <a:pt x="265664" y="222543"/>
                    <a:pt x="297600" y="222543"/>
                  </a:cubicBezTo>
                  <a:close/>
                  <a:moveTo>
                    <a:pt x="492495" y="40775"/>
                  </a:moveTo>
                  <a:cubicBezTo>
                    <a:pt x="488350" y="40775"/>
                    <a:pt x="487596" y="41528"/>
                    <a:pt x="487502" y="45854"/>
                  </a:cubicBezTo>
                  <a:lnTo>
                    <a:pt x="487502" y="51498"/>
                  </a:lnTo>
                  <a:cubicBezTo>
                    <a:pt x="487502" y="57142"/>
                    <a:pt x="487502" y="56953"/>
                    <a:pt x="482038" y="59023"/>
                  </a:cubicBezTo>
                  <a:cubicBezTo>
                    <a:pt x="469036" y="63726"/>
                    <a:pt x="460934" y="72661"/>
                    <a:pt x="460086" y="86864"/>
                  </a:cubicBezTo>
                  <a:cubicBezTo>
                    <a:pt x="459332" y="99374"/>
                    <a:pt x="465833" y="107934"/>
                    <a:pt x="476196" y="114048"/>
                  </a:cubicBezTo>
                  <a:cubicBezTo>
                    <a:pt x="482414" y="117810"/>
                    <a:pt x="489480" y="120068"/>
                    <a:pt x="496264" y="123078"/>
                  </a:cubicBezTo>
                  <a:cubicBezTo>
                    <a:pt x="498902" y="124206"/>
                    <a:pt x="501445" y="125617"/>
                    <a:pt x="503706" y="127310"/>
                  </a:cubicBezTo>
                  <a:cubicBezTo>
                    <a:pt x="510207" y="132578"/>
                    <a:pt x="508982" y="141513"/>
                    <a:pt x="501257" y="144900"/>
                  </a:cubicBezTo>
                  <a:cubicBezTo>
                    <a:pt x="497112" y="146781"/>
                    <a:pt x="492778" y="147157"/>
                    <a:pt x="488350" y="146687"/>
                  </a:cubicBezTo>
                  <a:cubicBezTo>
                    <a:pt x="481472" y="145746"/>
                    <a:pt x="474783" y="144053"/>
                    <a:pt x="468659" y="140761"/>
                  </a:cubicBezTo>
                  <a:cubicBezTo>
                    <a:pt x="464985" y="138880"/>
                    <a:pt x="463949" y="139350"/>
                    <a:pt x="462724" y="143301"/>
                  </a:cubicBezTo>
                  <a:cubicBezTo>
                    <a:pt x="461593" y="146687"/>
                    <a:pt x="460557" y="150167"/>
                    <a:pt x="459709" y="153553"/>
                  </a:cubicBezTo>
                  <a:cubicBezTo>
                    <a:pt x="458484" y="158162"/>
                    <a:pt x="458861" y="159291"/>
                    <a:pt x="463572" y="161548"/>
                  </a:cubicBezTo>
                  <a:cubicBezTo>
                    <a:pt x="469130" y="164370"/>
                    <a:pt x="475160" y="165687"/>
                    <a:pt x="481284" y="166722"/>
                  </a:cubicBezTo>
                  <a:cubicBezTo>
                    <a:pt x="486089" y="167474"/>
                    <a:pt x="486371" y="167568"/>
                    <a:pt x="486371" y="172647"/>
                  </a:cubicBezTo>
                  <a:lnTo>
                    <a:pt x="486371" y="179420"/>
                  </a:lnTo>
                  <a:cubicBezTo>
                    <a:pt x="486371" y="182147"/>
                    <a:pt x="487690" y="183934"/>
                    <a:pt x="490611" y="183934"/>
                  </a:cubicBezTo>
                  <a:cubicBezTo>
                    <a:pt x="493908" y="184029"/>
                    <a:pt x="497300" y="184029"/>
                    <a:pt x="500503" y="183934"/>
                  </a:cubicBezTo>
                  <a:cubicBezTo>
                    <a:pt x="503330" y="183934"/>
                    <a:pt x="504649" y="182430"/>
                    <a:pt x="504649" y="179608"/>
                  </a:cubicBezTo>
                  <a:cubicBezTo>
                    <a:pt x="504649" y="176504"/>
                    <a:pt x="504837" y="173494"/>
                    <a:pt x="504649" y="170390"/>
                  </a:cubicBezTo>
                  <a:cubicBezTo>
                    <a:pt x="504554" y="167192"/>
                    <a:pt x="505968" y="165687"/>
                    <a:pt x="508982" y="164840"/>
                  </a:cubicBezTo>
                  <a:cubicBezTo>
                    <a:pt x="515860" y="162959"/>
                    <a:pt x="521889" y="159197"/>
                    <a:pt x="526412" y="153647"/>
                  </a:cubicBezTo>
                  <a:cubicBezTo>
                    <a:pt x="538942" y="138221"/>
                    <a:pt x="534231" y="115835"/>
                    <a:pt x="516237" y="105865"/>
                  </a:cubicBezTo>
                  <a:cubicBezTo>
                    <a:pt x="510584" y="102761"/>
                    <a:pt x="504554" y="100503"/>
                    <a:pt x="498619" y="97964"/>
                  </a:cubicBezTo>
                  <a:cubicBezTo>
                    <a:pt x="495227" y="96647"/>
                    <a:pt x="492024" y="94860"/>
                    <a:pt x="489104" y="92602"/>
                  </a:cubicBezTo>
                  <a:cubicBezTo>
                    <a:pt x="483451" y="88087"/>
                    <a:pt x="484581" y="80657"/>
                    <a:pt x="491270" y="77835"/>
                  </a:cubicBezTo>
                  <a:cubicBezTo>
                    <a:pt x="493155" y="76894"/>
                    <a:pt x="495133" y="76706"/>
                    <a:pt x="497112" y="76518"/>
                  </a:cubicBezTo>
                  <a:cubicBezTo>
                    <a:pt x="504931" y="76142"/>
                    <a:pt x="512186" y="77553"/>
                    <a:pt x="519252" y="80939"/>
                  </a:cubicBezTo>
                  <a:cubicBezTo>
                    <a:pt x="522643" y="82538"/>
                    <a:pt x="523868" y="82067"/>
                    <a:pt x="524998" y="78399"/>
                  </a:cubicBezTo>
                  <a:cubicBezTo>
                    <a:pt x="526317" y="74543"/>
                    <a:pt x="527260" y="70686"/>
                    <a:pt x="528390" y="66736"/>
                  </a:cubicBezTo>
                  <a:cubicBezTo>
                    <a:pt x="529144" y="64102"/>
                    <a:pt x="528296" y="62503"/>
                    <a:pt x="525752" y="61374"/>
                  </a:cubicBezTo>
                  <a:cubicBezTo>
                    <a:pt x="521230" y="59399"/>
                    <a:pt x="516708" y="57988"/>
                    <a:pt x="511809" y="57236"/>
                  </a:cubicBezTo>
                  <a:cubicBezTo>
                    <a:pt x="505402" y="56201"/>
                    <a:pt x="505402" y="56201"/>
                    <a:pt x="505402" y="49805"/>
                  </a:cubicBezTo>
                  <a:cubicBezTo>
                    <a:pt x="505402" y="40775"/>
                    <a:pt x="505402" y="40775"/>
                    <a:pt x="496358" y="40775"/>
                  </a:cubicBezTo>
                  <a:close/>
                  <a:moveTo>
                    <a:pt x="496111" y="0"/>
                  </a:moveTo>
                  <a:cubicBezTo>
                    <a:pt x="524951" y="0"/>
                    <a:pt x="553781" y="10958"/>
                    <a:pt x="575779" y="32874"/>
                  </a:cubicBezTo>
                  <a:cubicBezTo>
                    <a:pt x="619776" y="76894"/>
                    <a:pt x="619776" y="148192"/>
                    <a:pt x="575779" y="192024"/>
                  </a:cubicBezTo>
                  <a:cubicBezTo>
                    <a:pt x="538754" y="229083"/>
                    <a:pt x="482226" y="234821"/>
                    <a:pt x="438982" y="209519"/>
                  </a:cubicBezTo>
                  <a:lnTo>
                    <a:pt x="438700" y="209237"/>
                  </a:lnTo>
                  <a:cubicBezTo>
                    <a:pt x="421742" y="222029"/>
                    <a:pt x="403559" y="224286"/>
                    <a:pt x="390840" y="222311"/>
                  </a:cubicBezTo>
                  <a:cubicBezTo>
                    <a:pt x="386600" y="221653"/>
                    <a:pt x="385752" y="215915"/>
                    <a:pt x="389615" y="214034"/>
                  </a:cubicBezTo>
                  <a:cubicBezTo>
                    <a:pt x="401297" y="208202"/>
                    <a:pt x="408552" y="196915"/>
                    <a:pt x="412886" y="187791"/>
                  </a:cubicBezTo>
                  <a:lnTo>
                    <a:pt x="411567" y="187038"/>
                  </a:lnTo>
                  <a:cubicBezTo>
                    <a:pt x="372374" y="142736"/>
                    <a:pt x="374070" y="75201"/>
                    <a:pt x="416371" y="32874"/>
                  </a:cubicBezTo>
                  <a:cubicBezTo>
                    <a:pt x="438417" y="10958"/>
                    <a:pt x="467270" y="0"/>
                    <a:pt x="496111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62" name="íṣḻïḓé">
              <a:extLst>
                <a:ext uri="{FF2B5EF4-FFF2-40B4-BE49-F238E27FC236}">
                  <a16:creationId xmlns:a16="http://schemas.microsoft.com/office/drawing/2014/main" id="{061312BB-FEB5-42C1-893B-D41C126EBA5A}"/>
                </a:ext>
              </a:extLst>
            </p:cNvPr>
            <p:cNvSpPr txBox="1"/>
            <p:nvPr/>
          </p:nvSpPr>
          <p:spPr>
            <a:xfrm>
              <a:off x="673099" y="1424940"/>
              <a:ext cx="10845800" cy="58192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marL="0" marR="0" lvl="0" indent="0" algn="ct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zh-CN" altLang="en-US" sz="2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按梗阻原因分类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2FD0AC1-8D34-4C3F-9F9C-20485C32D1B6}"/>
              </a:ext>
            </a:extLst>
          </p:cNvPr>
          <p:cNvSpPr txBox="1"/>
          <p:nvPr/>
        </p:nvSpPr>
        <p:spPr>
          <a:xfrm>
            <a:off x="669925" y="483969"/>
            <a:ext cx="2591435" cy="646331"/>
          </a:xfrm>
          <a:prstGeom prst="rect">
            <a:avLst/>
          </a:prstGeom>
          <a:solidFill>
            <a:srgbClr val="E1F8F7"/>
          </a:solidFill>
        </p:spPr>
        <p:txBody>
          <a:bodyPr wrap="square" rtlCol="0">
            <a:spAutoFit/>
          </a:bodyPr>
          <a:lstStyle/>
          <a:p>
            <a:r>
              <a:rPr lang="zh-CN" altLang="en-US" sz="3600" b="1" dirty="0"/>
              <a:t>分 类</a:t>
            </a:r>
          </a:p>
        </p:txBody>
      </p:sp>
      <p:grpSp>
        <p:nvGrpSpPr>
          <p:cNvPr id="14" name="209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88CDB81-DB8C-4154-9841-FA96641331A2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9924" y="1800860"/>
            <a:ext cx="10858501" cy="3377185"/>
            <a:chOff x="660398" y="1424940"/>
            <a:chExt cx="10858501" cy="3377185"/>
          </a:xfrm>
        </p:grpSpPr>
        <p:sp>
          <p:nvSpPr>
            <p:cNvPr id="15" name="íŝļide">
              <a:extLst>
                <a:ext uri="{FF2B5EF4-FFF2-40B4-BE49-F238E27FC236}">
                  <a16:creationId xmlns:a16="http://schemas.microsoft.com/office/drawing/2014/main" id="{089B6D79-DD69-401E-8D57-62B38B271D90}"/>
                </a:ext>
              </a:extLst>
            </p:cNvPr>
            <p:cNvSpPr/>
            <p:nvPr/>
          </p:nvSpPr>
          <p:spPr>
            <a:xfrm>
              <a:off x="660398" y="2609851"/>
              <a:ext cx="6086476" cy="21922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6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02" y="572"/>
                    <a:pt x="1930" y="1429"/>
                    <a:pt x="2672" y="2532"/>
                  </a:cubicBezTo>
                  <a:cubicBezTo>
                    <a:pt x="4231" y="4696"/>
                    <a:pt x="5085" y="7636"/>
                    <a:pt x="5085" y="10780"/>
                  </a:cubicBezTo>
                  <a:cubicBezTo>
                    <a:pt x="5085" y="13964"/>
                    <a:pt x="4231" y="16904"/>
                    <a:pt x="2672" y="19068"/>
                  </a:cubicBezTo>
                  <a:cubicBezTo>
                    <a:pt x="1930" y="20171"/>
                    <a:pt x="1002" y="21028"/>
                    <a:pt x="0" y="21600"/>
                  </a:cubicBezTo>
                  <a:cubicBezTo>
                    <a:pt x="13769" y="21600"/>
                    <a:pt x="13769" y="21600"/>
                    <a:pt x="13769" y="21600"/>
                  </a:cubicBezTo>
                  <a:cubicBezTo>
                    <a:pt x="18297" y="21600"/>
                    <a:pt x="21600" y="16782"/>
                    <a:pt x="21600" y="10780"/>
                  </a:cubicBezTo>
                  <a:cubicBezTo>
                    <a:pt x="21600" y="4818"/>
                    <a:pt x="18297" y="0"/>
                    <a:pt x="13769" y="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  <a:miter lim="400000"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6" name="işḻíďe">
              <a:extLst>
                <a:ext uri="{FF2B5EF4-FFF2-40B4-BE49-F238E27FC236}">
                  <a16:creationId xmlns:a16="http://schemas.microsoft.com/office/drawing/2014/main" id="{C934283D-7E3D-498A-9933-74770A1B1E49}"/>
                </a:ext>
              </a:extLst>
            </p:cNvPr>
            <p:cNvSpPr/>
            <p:nvPr/>
          </p:nvSpPr>
          <p:spPr>
            <a:xfrm>
              <a:off x="2819946" y="3884848"/>
              <a:ext cx="2566868" cy="748112"/>
            </a:xfrm>
            <a:prstGeom prst="rect">
              <a:avLst/>
            </a:prstGeom>
            <a:ln w="12700">
              <a:miter lim="400000"/>
            </a:ln>
          </p:spPr>
          <p:txBody>
            <a:bodyPr wrap="square" lIns="91440" tIns="45720" rIns="91440" bIns="45720" anchor="ctr">
              <a:normAutofit fontScale="92500"/>
            </a:bodyPr>
            <a:lstStyle/>
            <a:p>
              <a:pPr lvl="0" algn="ctr">
                <a:defRPr sz="1800">
                  <a:solidFill>
                    <a:srgbClr val="000000"/>
                  </a:solidFill>
                </a:defRPr>
              </a:pPr>
              <a:r>
                <a:rPr lang="zh-CN" altLang="en-US" sz="3200" b="1" dirty="0">
                  <a:solidFill>
                    <a:schemeClr val="accent1">
                      <a:lumMod val="50000"/>
                    </a:schemeClr>
                  </a:solidFill>
                </a:rPr>
                <a:t>单纯性肠梗阻</a:t>
              </a:r>
            </a:p>
          </p:txBody>
        </p:sp>
        <p:sp>
          <p:nvSpPr>
            <p:cNvPr id="17" name="iSlidè">
              <a:extLst>
                <a:ext uri="{FF2B5EF4-FFF2-40B4-BE49-F238E27FC236}">
                  <a16:creationId xmlns:a16="http://schemas.microsoft.com/office/drawing/2014/main" id="{D54B8758-579F-4F80-9BA3-89E79776A82A}"/>
                </a:ext>
              </a:extLst>
            </p:cNvPr>
            <p:cNvSpPr/>
            <p:nvPr/>
          </p:nvSpPr>
          <p:spPr bwMode="auto">
            <a:xfrm>
              <a:off x="3838537" y="3242433"/>
              <a:ext cx="529687" cy="493543"/>
            </a:xfrm>
            <a:custGeom>
              <a:avLst/>
              <a:gdLst>
                <a:gd name="connsiteX0" fmla="*/ 484855 w 606016"/>
                <a:gd name="connsiteY0" fmla="*/ 473988 h 564664"/>
                <a:gd name="connsiteX1" fmla="*/ 505037 w 606016"/>
                <a:gd name="connsiteY1" fmla="*/ 494170 h 564664"/>
                <a:gd name="connsiteX2" fmla="*/ 484855 w 606016"/>
                <a:gd name="connsiteY2" fmla="*/ 514352 h 564664"/>
                <a:gd name="connsiteX3" fmla="*/ 464673 w 606016"/>
                <a:gd name="connsiteY3" fmla="*/ 494170 h 564664"/>
                <a:gd name="connsiteX4" fmla="*/ 484855 w 606016"/>
                <a:gd name="connsiteY4" fmla="*/ 473988 h 564664"/>
                <a:gd name="connsiteX5" fmla="*/ 121232 w 606016"/>
                <a:gd name="connsiteY5" fmla="*/ 473988 h 564664"/>
                <a:gd name="connsiteX6" fmla="*/ 141414 w 606016"/>
                <a:gd name="connsiteY6" fmla="*/ 494170 h 564664"/>
                <a:gd name="connsiteX7" fmla="*/ 121232 w 606016"/>
                <a:gd name="connsiteY7" fmla="*/ 514352 h 564664"/>
                <a:gd name="connsiteX8" fmla="*/ 101050 w 606016"/>
                <a:gd name="connsiteY8" fmla="*/ 494170 h 564664"/>
                <a:gd name="connsiteX9" fmla="*/ 121232 w 606016"/>
                <a:gd name="connsiteY9" fmla="*/ 473988 h 564664"/>
                <a:gd name="connsiteX10" fmla="*/ 484813 w 606016"/>
                <a:gd name="connsiteY10" fmla="*/ 443658 h 564664"/>
                <a:gd name="connsiteX11" fmla="*/ 434364 w 606016"/>
                <a:gd name="connsiteY11" fmla="*/ 494115 h 564664"/>
                <a:gd name="connsiteX12" fmla="*/ 484813 w 606016"/>
                <a:gd name="connsiteY12" fmla="*/ 544482 h 564664"/>
                <a:gd name="connsiteX13" fmla="*/ 535352 w 606016"/>
                <a:gd name="connsiteY13" fmla="*/ 494115 h 564664"/>
                <a:gd name="connsiteX14" fmla="*/ 484813 w 606016"/>
                <a:gd name="connsiteY14" fmla="*/ 443658 h 564664"/>
                <a:gd name="connsiteX15" fmla="*/ 121293 w 606016"/>
                <a:gd name="connsiteY15" fmla="*/ 443658 h 564664"/>
                <a:gd name="connsiteX16" fmla="*/ 70755 w 606016"/>
                <a:gd name="connsiteY16" fmla="*/ 494115 h 564664"/>
                <a:gd name="connsiteX17" fmla="*/ 121293 w 606016"/>
                <a:gd name="connsiteY17" fmla="*/ 544482 h 564664"/>
                <a:gd name="connsiteX18" fmla="*/ 171742 w 606016"/>
                <a:gd name="connsiteY18" fmla="*/ 494115 h 564664"/>
                <a:gd name="connsiteX19" fmla="*/ 121293 w 606016"/>
                <a:gd name="connsiteY19" fmla="*/ 443658 h 564664"/>
                <a:gd name="connsiteX20" fmla="*/ 303053 w 606016"/>
                <a:gd name="connsiteY20" fmla="*/ 373109 h 564664"/>
                <a:gd name="connsiteX21" fmla="*/ 292945 w 606016"/>
                <a:gd name="connsiteY21" fmla="*/ 383200 h 564664"/>
                <a:gd name="connsiteX22" fmla="*/ 303053 w 606016"/>
                <a:gd name="connsiteY22" fmla="*/ 393292 h 564664"/>
                <a:gd name="connsiteX23" fmla="*/ 343484 w 606016"/>
                <a:gd name="connsiteY23" fmla="*/ 393292 h 564664"/>
                <a:gd name="connsiteX24" fmla="*/ 343484 w 606016"/>
                <a:gd name="connsiteY24" fmla="*/ 403383 h 564664"/>
                <a:gd name="connsiteX25" fmla="*/ 353592 w 606016"/>
                <a:gd name="connsiteY25" fmla="*/ 413474 h 564664"/>
                <a:gd name="connsiteX26" fmla="*/ 363610 w 606016"/>
                <a:gd name="connsiteY26" fmla="*/ 403383 h 564664"/>
                <a:gd name="connsiteX27" fmla="*/ 363610 w 606016"/>
                <a:gd name="connsiteY27" fmla="*/ 383200 h 564664"/>
                <a:gd name="connsiteX28" fmla="*/ 353592 w 606016"/>
                <a:gd name="connsiteY28" fmla="*/ 373109 h 564664"/>
                <a:gd name="connsiteX29" fmla="*/ 313169 w 606016"/>
                <a:gd name="connsiteY29" fmla="*/ 282403 h 564664"/>
                <a:gd name="connsiteX30" fmla="*/ 447018 w 606016"/>
                <a:gd name="connsiteY30" fmla="*/ 282403 h 564664"/>
                <a:gd name="connsiteX31" fmla="*/ 465069 w 606016"/>
                <a:gd name="connsiteY31" fmla="*/ 311699 h 564664"/>
                <a:gd name="connsiteX32" fmla="*/ 473282 w 606016"/>
                <a:gd name="connsiteY32" fmla="*/ 322696 h 564664"/>
                <a:gd name="connsiteX33" fmla="*/ 313169 w 606016"/>
                <a:gd name="connsiteY33" fmla="*/ 322696 h 564664"/>
                <a:gd name="connsiteX34" fmla="*/ 161665 w 606016"/>
                <a:gd name="connsiteY34" fmla="*/ 282403 h 564664"/>
                <a:gd name="connsiteX35" fmla="*/ 292917 w 606016"/>
                <a:gd name="connsiteY35" fmla="*/ 282403 h 564664"/>
                <a:gd name="connsiteX36" fmla="*/ 292917 w 606016"/>
                <a:gd name="connsiteY36" fmla="*/ 322696 h 564664"/>
                <a:gd name="connsiteX37" fmla="*/ 161665 w 606016"/>
                <a:gd name="connsiteY37" fmla="*/ 322696 h 564664"/>
                <a:gd name="connsiteX38" fmla="*/ 191958 w 606016"/>
                <a:gd name="connsiteY38" fmla="*/ 0 h 564664"/>
                <a:gd name="connsiteX39" fmla="*/ 202066 w 606016"/>
                <a:gd name="connsiteY39" fmla="*/ 10092 h 564664"/>
                <a:gd name="connsiteX40" fmla="*/ 202066 w 606016"/>
                <a:gd name="connsiteY40" fmla="*/ 40366 h 564664"/>
                <a:gd name="connsiteX41" fmla="*/ 222281 w 606016"/>
                <a:gd name="connsiteY41" fmla="*/ 40366 h 564664"/>
                <a:gd name="connsiteX42" fmla="*/ 222281 w 606016"/>
                <a:gd name="connsiteY42" fmla="*/ 10092 h 564664"/>
                <a:gd name="connsiteX43" fmla="*/ 232389 w 606016"/>
                <a:gd name="connsiteY43" fmla="*/ 0 h 564664"/>
                <a:gd name="connsiteX44" fmla="*/ 242406 w 606016"/>
                <a:gd name="connsiteY44" fmla="*/ 10092 h 564664"/>
                <a:gd name="connsiteX45" fmla="*/ 242406 w 606016"/>
                <a:gd name="connsiteY45" fmla="*/ 40366 h 564664"/>
                <a:gd name="connsiteX46" fmla="*/ 252514 w 606016"/>
                <a:gd name="connsiteY46" fmla="*/ 50457 h 564664"/>
                <a:gd name="connsiteX47" fmla="*/ 252514 w 606016"/>
                <a:gd name="connsiteY47" fmla="*/ 100823 h 564664"/>
                <a:gd name="connsiteX48" fmla="*/ 242406 w 606016"/>
                <a:gd name="connsiteY48" fmla="*/ 110915 h 564664"/>
                <a:gd name="connsiteX49" fmla="*/ 221379 w 606016"/>
                <a:gd name="connsiteY49" fmla="*/ 110915 h 564664"/>
                <a:gd name="connsiteX50" fmla="*/ 161634 w 606016"/>
                <a:gd name="connsiteY50" fmla="*/ 161371 h 564664"/>
                <a:gd name="connsiteX51" fmla="*/ 101078 w 606016"/>
                <a:gd name="connsiteY51" fmla="*/ 100823 h 564664"/>
                <a:gd name="connsiteX52" fmla="*/ 60647 w 606016"/>
                <a:gd name="connsiteY52" fmla="*/ 60548 h 564664"/>
                <a:gd name="connsiteX53" fmla="*/ 20216 w 606016"/>
                <a:gd name="connsiteY53" fmla="*/ 100823 h 564664"/>
                <a:gd name="connsiteX54" fmla="*/ 20216 w 606016"/>
                <a:gd name="connsiteY54" fmla="*/ 231921 h 564664"/>
                <a:gd name="connsiteX55" fmla="*/ 80862 w 606016"/>
                <a:gd name="connsiteY55" fmla="*/ 292469 h 564664"/>
                <a:gd name="connsiteX56" fmla="*/ 82126 w 606016"/>
                <a:gd name="connsiteY56" fmla="*/ 292649 h 564664"/>
                <a:gd name="connsiteX57" fmla="*/ 105229 w 606016"/>
                <a:gd name="connsiteY57" fmla="*/ 255167 h 564664"/>
                <a:gd name="connsiteX58" fmla="*/ 164883 w 606016"/>
                <a:gd name="connsiteY58" fmla="*/ 221829 h 564664"/>
                <a:gd name="connsiteX59" fmla="*/ 370559 w 606016"/>
                <a:gd name="connsiteY59" fmla="*/ 221829 h 564664"/>
                <a:gd name="connsiteX60" fmla="*/ 430213 w 606016"/>
                <a:gd name="connsiteY60" fmla="*/ 255077 h 564664"/>
                <a:gd name="connsiteX61" fmla="*/ 434545 w 606016"/>
                <a:gd name="connsiteY61" fmla="*/ 262195 h 564664"/>
                <a:gd name="connsiteX62" fmla="*/ 159920 w 606016"/>
                <a:gd name="connsiteY62" fmla="*/ 262195 h 564664"/>
                <a:gd name="connsiteX63" fmla="*/ 141419 w 606016"/>
                <a:gd name="connsiteY63" fmla="*/ 280575 h 564664"/>
                <a:gd name="connsiteX64" fmla="*/ 141419 w 606016"/>
                <a:gd name="connsiteY64" fmla="*/ 324455 h 564664"/>
                <a:gd name="connsiteX65" fmla="*/ 159920 w 606016"/>
                <a:gd name="connsiteY65" fmla="*/ 342835 h 564664"/>
                <a:gd name="connsiteX66" fmla="*/ 498801 w 606016"/>
                <a:gd name="connsiteY66" fmla="*/ 342835 h 564664"/>
                <a:gd name="connsiteX67" fmla="*/ 538962 w 606016"/>
                <a:gd name="connsiteY67" fmla="*/ 352926 h 564664"/>
                <a:gd name="connsiteX68" fmla="*/ 580566 w 606016"/>
                <a:gd name="connsiteY68" fmla="*/ 352926 h 564664"/>
                <a:gd name="connsiteX69" fmla="*/ 606016 w 606016"/>
                <a:gd name="connsiteY69" fmla="*/ 378335 h 564664"/>
                <a:gd name="connsiteX70" fmla="*/ 606016 w 606016"/>
                <a:gd name="connsiteY70" fmla="*/ 403383 h 564664"/>
                <a:gd name="connsiteX71" fmla="*/ 555567 w 606016"/>
                <a:gd name="connsiteY71" fmla="*/ 403383 h 564664"/>
                <a:gd name="connsiteX72" fmla="*/ 545460 w 606016"/>
                <a:gd name="connsiteY72" fmla="*/ 413474 h 564664"/>
                <a:gd name="connsiteX73" fmla="*/ 555567 w 606016"/>
                <a:gd name="connsiteY73" fmla="*/ 423476 h 564664"/>
                <a:gd name="connsiteX74" fmla="*/ 606016 w 606016"/>
                <a:gd name="connsiteY74" fmla="*/ 423476 h 564664"/>
                <a:gd name="connsiteX75" fmla="*/ 606016 w 606016"/>
                <a:gd name="connsiteY75" fmla="*/ 463391 h 564664"/>
                <a:gd name="connsiteX76" fmla="*/ 565224 w 606016"/>
                <a:gd name="connsiteY76" fmla="*/ 504206 h 564664"/>
                <a:gd name="connsiteX77" fmla="*/ 554755 w 606016"/>
                <a:gd name="connsiteY77" fmla="*/ 504206 h 564664"/>
                <a:gd name="connsiteX78" fmla="*/ 484813 w 606016"/>
                <a:gd name="connsiteY78" fmla="*/ 564664 h 564664"/>
                <a:gd name="connsiteX79" fmla="*/ 414961 w 606016"/>
                <a:gd name="connsiteY79" fmla="*/ 504206 h 564664"/>
                <a:gd name="connsiteX80" fmla="*/ 191145 w 606016"/>
                <a:gd name="connsiteY80" fmla="*/ 504206 h 564664"/>
                <a:gd name="connsiteX81" fmla="*/ 121293 w 606016"/>
                <a:gd name="connsiteY81" fmla="*/ 564664 h 564664"/>
                <a:gd name="connsiteX82" fmla="*/ 51351 w 606016"/>
                <a:gd name="connsiteY82" fmla="*/ 504206 h 564664"/>
                <a:gd name="connsiteX83" fmla="*/ 35377 w 606016"/>
                <a:gd name="connsiteY83" fmla="*/ 504206 h 564664"/>
                <a:gd name="connsiteX84" fmla="*/ 90 w 606016"/>
                <a:gd name="connsiteY84" fmla="*/ 468977 h 564664"/>
                <a:gd name="connsiteX85" fmla="*/ 0 w 606016"/>
                <a:gd name="connsiteY85" fmla="*/ 423476 h 564664"/>
                <a:gd name="connsiteX86" fmla="*/ 50539 w 606016"/>
                <a:gd name="connsiteY86" fmla="*/ 423476 h 564664"/>
                <a:gd name="connsiteX87" fmla="*/ 60647 w 606016"/>
                <a:gd name="connsiteY87" fmla="*/ 413474 h 564664"/>
                <a:gd name="connsiteX88" fmla="*/ 50539 w 606016"/>
                <a:gd name="connsiteY88" fmla="*/ 403383 h 564664"/>
                <a:gd name="connsiteX89" fmla="*/ 0 w 606016"/>
                <a:gd name="connsiteY89" fmla="*/ 403383 h 564664"/>
                <a:gd name="connsiteX90" fmla="*/ 0 w 606016"/>
                <a:gd name="connsiteY90" fmla="*/ 378335 h 564664"/>
                <a:gd name="connsiteX91" fmla="*/ 7400 w 606016"/>
                <a:gd name="connsiteY91" fmla="*/ 360405 h 564664"/>
                <a:gd name="connsiteX92" fmla="*/ 25540 w 606016"/>
                <a:gd name="connsiteY92" fmla="*/ 352926 h 564664"/>
                <a:gd name="connsiteX93" fmla="*/ 54961 w 606016"/>
                <a:gd name="connsiteY93" fmla="*/ 336798 h 564664"/>
                <a:gd name="connsiteX94" fmla="*/ 70303 w 606016"/>
                <a:gd name="connsiteY94" fmla="*/ 311840 h 564664"/>
                <a:gd name="connsiteX95" fmla="*/ 90 w 606016"/>
                <a:gd name="connsiteY95" fmla="*/ 231921 h 564664"/>
                <a:gd name="connsiteX96" fmla="*/ 90 w 606016"/>
                <a:gd name="connsiteY96" fmla="*/ 100823 h 564664"/>
                <a:gd name="connsiteX97" fmla="*/ 60647 w 606016"/>
                <a:gd name="connsiteY97" fmla="*/ 40366 h 564664"/>
                <a:gd name="connsiteX98" fmla="*/ 121293 w 606016"/>
                <a:gd name="connsiteY98" fmla="*/ 100823 h 564664"/>
                <a:gd name="connsiteX99" fmla="*/ 161634 w 606016"/>
                <a:gd name="connsiteY99" fmla="*/ 141189 h 564664"/>
                <a:gd name="connsiteX100" fmla="*/ 200622 w 606016"/>
                <a:gd name="connsiteY100" fmla="*/ 110915 h 564664"/>
                <a:gd name="connsiteX101" fmla="*/ 181850 w 606016"/>
                <a:gd name="connsiteY101" fmla="*/ 110915 h 564664"/>
                <a:gd name="connsiteX102" fmla="*/ 171742 w 606016"/>
                <a:gd name="connsiteY102" fmla="*/ 100823 h 564664"/>
                <a:gd name="connsiteX103" fmla="*/ 171742 w 606016"/>
                <a:gd name="connsiteY103" fmla="*/ 50457 h 564664"/>
                <a:gd name="connsiteX104" fmla="*/ 181850 w 606016"/>
                <a:gd name="connsiteY104" fmla="*/ 40366 h 564664"/>
                <a:gd name="connsiteX105" fmla="*/ 181850 w 606016"/>
                <a:gd name="connsiteY105" fmla="*/ 10092 h 564664"/>
                <a:gd name="connsiteX106" fmla="*/ 191958 w 606016"/>
                <a:gd name="connsiteY106" fmla="*/ 0 h 564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606016" h="564664">
                  <a:moveTo>
                    <a:pt x="484855" y="473988"/>
                  </a:moveTo>
                  <a:cubicBezTo>
                    <a:pt x="496001" y="473988"/>
                    <a:pt x="505037" y="483024"/>
                    <a:pt x="505037" y="494170"/>
                  </a:cubicBezTo>
                  <a:cubicBezTo>
                    <a:pt x="505037" y="505316"/>
                    <a:pt x="496001" y="514352"/>
                    <a:pt x="484855" y="514352"/>
                  </a:cubicBezTo>
                  <a:cubicBezTo>
                    <a:pt x="473709" y="514352"/>
                    <a:pt x="464673" y="505316"/>
                    <a:pt x="464673" y="494170"/>
                  </a:cubicBezTo>
                  <a:cubicBezTo>
                    <a:pt x="464673" y="483024"/>
                    <a:pt x="473709" y="473988"/>
                    <a:pt x="484855" y="473988"/>
                  </a:cubicBezTo>
                  <a:close/>
                  <a:moveTo>
                    <a:pt x="121232" y="473988"/>
                  </a:moveTo>
                  <a:cubicBezTo>
                    <a:pt x="132378" y="473988"/>
                    <a:pt x="141414" y="483024"/>
                    <a:pt x="141414" y="494170"/>
                  </a:cubicBezTo>
                  <a:cubicBezTo>
                    <a:pt x="141414" y="505316"/>
                    <a:pt x="132378" y="514352"/>
                    <a:pt x="121232" y="514352"/>
                  </a:cubicBezTo>
                  <a:cubicBezTo>
                    <a:pt x="110086" y="514352"/>
                    <a:pt x="101050" y="505316"/>
                    <a:pt x="101050" y="494170"/>
                  </a:cubicBezTo>
                  <a:cubicBezTo>
                    <a:pt x="101050" y="483024"/>
                    <a:pt x="110086" y="473988"/>
                    <a:pt x="121232" y="473988"/>
                  </a:cubicBezTo>
                  <a:close/>
                  <a:moveTo>
                    <a:pt x="484813" y="443658"/>
                  </a:moveTo>
                  <a:cubicBezTo>
                    <a:pt x="457016" y="443658"/>
                    <a:pt x="434364" y="466274"/>
                    <a:pt x="434364" y="494115"/>
                  </a:cubicBezTo>
                  <a:cubicBezTo>
                    <a:pt x="434364" y="521866"/>
                    <a:pt x="457016" y="544482"/>
                    <a:pt x="484813" y="544482"/>
                  </a:cubicBezTo>
                  <a:cubicBezTo>
                    <a:pt x="512699" y="544482"/>
                    <a:pt x="535352" y="521866"/>
                    <a:pt x="535352" y="494115"/>
                  </a:cubicBezTo>
                  <a:cubicBezTo>
                    <a:pt x="535352" y="466274"/>
                    <a:pt x="512699" y="443658"/>
                    <a:pt x="484813" y="443658"/>
                  </a:cubicBezTo>
                  <a:close/>
                  <a:moveTo>
                    <a:pt x="121293" y="443658"/>
                  </a:moveTo>
                  <a:cubicBezTo>
                    <a:pt x="93407" y="443658"/>
                    <a:pt x="70755" y="466274"/>
                    <a:pt x="70755" y="494115"/>
                  </a:cubicBezTo>
                  <a:cubicBezTo>
                    <a:pt x="70755" y="521866"/>
                    <a:pt x="93407" y="544482"/>
                    <a:pt x="121293" y="544482"/>
                  </a:cubicBezTo>
                  <a:cubicBezTo>
                    <a:pt x="149090" y="544482"/>
                    <a:pt x="171742" y="521866"/>
                    <a:pt x="171742" y="494115"/>
                  </a:cubicBezTo>
                  <a:cubicBezTo>
                    <a:pt x="171742" y="466274"/>
                    <a:pt x="149090" y="443658"/>
                    <a:pt x="121293" y="443658"/>
                  </a:cubicBezTo>
                  <a:close/>
                  <a:moveTo>
                    <a:pt x="303053" y="373109"/>
                  </a:moveTo>
                  <a:cubicBezTo>
                    <a:pt x="297458" y="373109"/>
                    <a:pt x="292945" y="377614"/>
                    <a:pt x="292945" y="383200"/>
                  </a:cubicBezTo>
                  <a:cubicBezTo>
                    <a:pt x="292945" y="388787"/>
                    <a:pt x="297458" y="393292"/>
                    <a:pt x="303053" y="393292"/>
                  </a:cubicBezTo>
                  <a:lnTo>
                    <a:pt x="343484" y="393292"/>
                  </a:lnTo>
                  <a:lnTo>
                    <a:pt x="343484" y="403383"/>
                  </a:lnTo>
                  <a:cubicBezTo>
                    <a:pt x="343484" y="408879"/>
                    <a:pt x="347997" y="413474"/>
                    <a:pt x="353592" y="413474"/>
                  </a:cubicBezTo>
                  <a:cubicBezTo>
                    <a:pt x="359097" y="413474"/>
                    <a:pt x="363610" y="408969"/>
                    <a:pt x="363610" y="403383"/>
                  </a:cubicBezTo>
                  <a:lnTo>
                    <a:pt x="363610" y="383200"/>
                  </a:lnTo>
                  <a:cubicBezTo>
                    <a:pt x="363610" y="377614"/>
                    <a:pt x="359097" y="373109"/>
                    <a:pt x="353592" y="373109"/>
                  </a:cubicBezTo>
                  <a:close/>
                  <a:moveTo>
                    <a:pt x="313169" y="282403"/>
                  </a:moveTo>
                  <a:lnTo>
                    <a:pt x="447018" y="282403"/>
                  </a:lnTo>
                  <a:lnTo>
                    <a:pt x="465069" y="311699"/>
                  </a:lnTo>
                  <a:cubicBezTo>
                    <a:pt x="467506" y="315665"/>
                    <a:pt x="470304" y="319271"/>
                    <a:pt x="473282" y="322696"/>
                  </a:cubicBezTo>
                  <a:lnTo>
                    <a:pt x="313169" y="322696"/>
                  </a:lnTo>
                  <a:close/>
                  <a:moveTo>
                    <a:pt x="161665" y="282403"/>
                  </a:moveTo>
                  <a:lnTo>
                    <a:pt x="292917" y="282403"/>
                  </a:lnTo>
                  <a:lnTo>
                    <a:pt x="292917" y="322696"/>
                  </a:lnTo>
                  <a:lnTo>
                    <a:pt x="161665" y="322696"/>
                  </a:lnTo>
                  <a:close/>
                  <a:moveTo>
                    <a:pt x="191958" y="0"/>
                  </a:moveTo>
                  <a:cubicBezTo>
                    <a:pt x="197553" y="0"/>
                    <a:pt x="202066" y="4505"/>
                    <a:pt x="202066" y="10092"/>
                  </a:cubicBezTo>
                  <a:lnTo>
                    <a:pt x="202066" y="40366"/>
                  </a:lnTo>
                  <a:lnTo>
                    <a:pt x="222281" y="40366"/>
                  </a:lnTo>
                  <a:lnTo>
                    <a:pt x="222281" y="10092"/>
                  </a:lnTo>
                  <a:cubicBezTo>
                    <a:pt x="222281" y="4505"/>
                    <a:pt x="226793" y="0"/>
                    <a:pt x="232389" y="0"/>
                  </a:cubicBezTo>
                  <a:cubicBezTo>
                    <a:pt x="237894" y="0"/>
                    <a:pt x="242406" y="4505"/>
                    <a:pt x="242406" y="10092"/>
                  </a:cubicBezTo>
                  <a:lnTo>
                    <a:pt x="242406" y="40366"/>
                  </a:lnTo>
                  <a:cubicBezTo>
                    <a:pt x="248002" y="40366"/>
                    <a:pt x="252514" y="44871"/>
                    <a:pt x="252514" y="50457"/>
                  </a:cubicBezTo>
                  <a:lnTo>
                    <a:pt x="252514" y="100823"/>
                  </a:lnTo>
                  <a:cubicBezTo>
                    <a:pt x="252514" y="106410"/>
                    <a:pt x="248002" y="110915"/>
                    <a:pt x="242406" y="110915"/>
                  </a:cubicBezTo>
                  <a:lnTo>
                    <a:pt x="221379" y="110915"/>
                  </a:lnTo>
                  <a:cubicBezTo>
                    <a:pt x="216505" y="139477"/>
                    <a:pt x="191597" y="161371"/>
                    <a:pt x="161634" y="161371"/>
                  </a:cubicBezTo>
                  <a:cubicBezTo>
                    <a:pt x="128243" y="161371"/>
                    <a:pt x="101078" y="134251"/>
                    <a:pt x="101078" y="100823"/>
                  </a:cubicBezTo>
                  <a:cubicBezTo>
                    <a:pt x="101078" y="78568"/>
                    <a:pt x="82938" y="60548"/>
                    <a:pt x="60647" y="60548"/>
                  </a:cubicBezTo>
                  <a:cubicBezTo>
                    <a:pt x="38355" y="60548"/>
                    <a:pt x="20216" y="78568"/>
                    <a:pt x="20216" y="100823"/>
                  </a:cubicBezTo>
                  <a:lnTo>
                    <a:pt x="20216" y="231921"/>
                  </a:lnTo>
                  <a:cubicBezTo>
                    <a:pt x="20216" y="265258"/>
                    <a:pt x="47470" y="292469"/>
                    <a:pt x="80862" y="292469"/>
                  </a:cubicBezTo>
                  <a:cubicBezTo>
                    <a:pt x="81314" y="292469"/>
                    <a:pt x="81675" y="292649"/>
                    <a:pt x="82126" y="292649"/>
                  </a:cubicBezTo>
                  <a:lnTo>
                    <a:pt x="105229" y="255167"/>
                  </a:lnTo>
                  <a:cubicBezTo>
                    <a:pt x="117864" y="234624"/>
                    <a:pt x="140697" y="221829"/>
                    <a:pt x="164883" y="221829"/>
                  </a:cubicBezTo>
                  <a:lnTo>
                    <a:pt x="370559" y="221829"/>
                  </a:lnTo>
                  <a:cubicBezTo>
                    <a:pt x="394655" y="221829"/>
                    <a:pt x="417578" y="234624"/>
                    <a:pt x="430213" y="255077"/>
                  </a:cubicBezTo>
                  <a:lnTo>
                    <a:pt x="434545" y="262195"/>
                  </a:lnTo>
                  <a:lnTo>
                    <a:pt x="159920" y="262195"/>
                  </a:lnTo>
                  <a:cubicBezTo>
                    <a:pt x="149722" y="262195"/>
                    <a:pt x="141419" y="270484"/>
                    <a:pt x="141419" y="280575"/>
                  </a:cubicBezTo>
                  <a:lnTo>
                    <a:pt x="141419" y="324455"/>
                  </a:lnTo>
                  <a:cubicBezTo>
                    <a:pt x="141419" y="334546"/>
                    <a:pt x="149722" y="342835"/>
                    <a:pt x="159920" y="342835"/>
                  </a:cubicBezTo>
                  <a:lnTo>
                    <a:pt x="498801" y="342835"/>
                  </a:lnTo>
                  <a:cubicBezTo>
                    <a:pt x="511075" y="349322"/>
                    <a:pt x="524793" y="352926"/>
                    <a:pt x="538962" y="352926"/>
                  </a:cubicBezTo>
                  <a:lnTo>
                    <a:pt x="580566" y="352926"/>
                  </a:lnTo>
                  <a:cubicBezTo>
                    <a:pt x="594645" y="352926"/>
                    <a:pt x="606016" y="364369"/>
                    <a:pt x="606016" y="378335"/>
                  </a:cubicBezTo>
                  <a:lnTo>
                    <a:pt x="606016" y="403383"/>
                  </a:lnTo>
                  <a:lnTo>
                    <a:pt x="555567" y="403383"/>
                  </a:lnTo>
                  <a:cubicBezTo>
                    <a:pt x="549972" y="403383"/>
                    <a:pt x="545460" y="407888"/>
                    <a:pt x="545460" y="413474"/>
                  </a:cubicBezTo>
                  <a:cubicBezTo>
                    <a:pt x="545460" y="418971"/>
                    <a:pt x="549972" y="423476"/>
                    <a:pt x="555567" y="423476"/>
                  </a:cubicBezTo>
                  <a:lnTo>
                    <a:pt x="606016" y="423476"/>
                  </a:lnTo>
                  <a:lnTo>
                    <a:pt x="606016" y="463391"/>
                  </a:lnTo>
                  <a:cubicBezTo>
                    <a:pt x="606016" y="485916"/>
                    <a:pt x="587696" y="504206"/>
                    <a:pt x="565224" y="504206"/>
                  </a:cubicBezTo>
                  <a:lnTo>
                    <a:pt x="554755" y="504206"/>
                  </a:lnTo>
                  <a:cubicBezTo>
                    <a:pt x="549791" y="538355"/>
                    <a:pt x="520371" y="564664"/>
                    <a:pt x="484813" y="564664"/>
                  </a:cubicBezTo>
                  <a:cubicBezTo>
                    <a:pt x="449345" y="564664"/>
                    <a:pt x="419924" y="538355"/>
                    <a:pt x="414961" y="504206"/>
                  </a:cubicBezTo>
                  <a:lnTo>
                    <a:pt x="191145" y="504206"/>
                  </a:lnTo>
                  <a:cubicBezTo>
                    <a:pt x="186182" y="538355"/>
                    <a:pt x="156761" y="564664"/>
                    <a:pt x="121293" y="564664"/>
                  </a:cubicBezTo>
                  <a:cubicBezTo>
                    <a:pt x="85736" y="564664"/>
                    <a:pt x="56315" y="538355"/>
                    <a:pt x="51351" y="504206"/>
                  </a:cubicBezTo>
                  <a:lnTo>
                    <a:pt x="35377" y="504206"/>
                  </a:lnTo>
                  <a:cubicBezTo>
                    <a:pt x="15884" y="504206"/>
                    <a:pt x="90" y="488349"/>
                    <a:pt x="90" y="468977"/>
                  </a:cubicBezTo>
                  <a:lnTo>
                    <a:pt x="0" y="423476"/>
                  </a:lnTo>
                  <a:lnTo>
                    <a:pt x="50539" y="423476"/>
                  </a:lnTo>
                  <a:cubicBezTo>
                    <a:pt x="56134" y="423476"/>
                    <a:pt x="60647" y="418971"/>
                    <a:pt x="60647" y="413474"/>
                  </a:cubicBezTo>
                  <a:cubicBezTo>
                    <a:pt x="60647" y="407888"/>
                    <a:pt x="56134" y="403383"/>
                    <a:pt x="50539" y="403383"/>
                  </a:cubicBezTo>
                  <a:lnTo>
                    <a:pt x="0" y="403383"/>
                  </a:lnTo>
                  <a:lnTo>
                    <a:pt x="0" y="378335"/>
                  </a:lnTo>
                  <a:cubicBezTo>
                    <a:pt x="0" y="371577"/>
                    <a:pt x="2617" y="365180"/>
                    <a:pt x="7400" y="360405"/>
                  </a:cubicBezTo>
                  <a:cubicBezTo>
                    <a:pt x="12274" y="355630"/>
                    <a:pt x="18681" y="352926"/>
                    <a:pt x="25540" y="352926"/>
                  </a:cubicBezTo>
                  <a:cubicBezTo>
                    <a:pt x="37814" y="352926"/>
                    <a:pt x="48824" y="346710"/>
                    <a:pt x="54961" y="336798"/>
                  </a:cubicBezTo>
                  <a:lnTo>
                    <a:pt x="70303" y="311840"/>
                  </a:lnTo>
                  <a:cubicBezTo>
                    <a:pt x="30775" y="306614"/>
                    <a:pt x="90" y="272827"/>
                    <a:pt x="90" y="231921"/>
                  </a:cubicBezTo>
                  <a:lnTo>
                    <a:pt x="90" y="100823"/>
                  </a:lnTo>
                  <a:cubicBezTo>
                    <a:pt x="90" y="67486"/>
                    <a:pt x="27255" y="40366"/>
                    <a:pt x="60647" y="40366"/>
                  </a:cubicBezTo>
                  <a:cubicBezTo>
                    <a:pt x="94039" y="40366"/>
                    <a:pt x="121293" y="67486"/>
                    <a:pt x="121293" y="100823"/>
                  </a:cubicBezTo>
                  <a:cubicBezTo>
                    <a:pt x="121293" y="123078"/>
                    <a:pt x="139343" y="141189"/>
                    <a:pt x="161634" y="141189"/>
                  </a:cubicBezTo>
                  <a:cubicBezTo>
                    <a:pt x="180406" y="141189"/>
                    <a:pt x="196109" y="128304"/>
                    <a:pt x="200622" y="110915"/>
                  </a:cubicBezTo>
                  <a:lnTo>
                    <a:pt x="181850" y="110915"/>
                  </a:lnTo>
                  <a:cubicBezTo>
                    <a:pt x="176255" y="110915"/>
                    <a:pt x="171742" y="106410"/>
                    <a:pt x="171742" y="100823"/>
                  </a:cubicBezTo>
                  <a:lnTo>
                    <a:pt x="171742" y="50457"/>
                  </a:lnTo>
                  <a:cubicBezTo>
                    <a:pt x="171742" y="44871"/>
                    <a:pt x="176255" y="40366"/>
                    <a:pt x="181850" y="40366"/>
                  </a:cubicBezTo>
                  <a:lnTo>
                    <a:pt x="181850" y="10092"/>
                  </a:lnTo>
                  <a:cubicBezTo>
                    <a:pt x="181850" y="4505"/>
                    <a:pt x="186362" y="0"/>
                    <a:pt x="191958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8" name="îs1îḓé">
              <a:extLst>
                <a:ext uri="{FF2B5EF4-FFF2-40B4-BE49-F238E27FC236}">
                  <a16:creationId xmlns:a16="http://schemas.microsoft.com/office/drawing/2014/main" id="{CFFE9857-1AB7-4B79-AA6C-42491C092203}"/>
                </a:ext>
              </a:extLst>
            </p:cNvPr>
            <p:cNvSpPr/>
            <p:nvPr/>
          </p:nvSpPr>
          <p:spPr>
            <a:xfrm>
              <a:off x="5291347" y="2609851"/>
              <a:ext cx="6219615" cy="21922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76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02" y="572"/>
                    <a:pt x="1930" y="1429"/>
                    <a:pt x="2672" y="2532"/>
                  </a:cubicBezTo>
                  <a:cubicBezTo>
                    <a:pt x="4231" y="4696"/>
                    <a:pt x="5085" y="7636"/>
                    <a:pt x="5085" y="10780"/>
                  </a:cubicBezTo>
                  <a:cubicBezTo>
                    <a:pt x="5085" y="13964"/>
                    <a:pt x="4231" y="16904"/>
                    <a:pt x="2672" y="19068"/>
                  </a:cubicBezTo>
                  <a:cubicBezTo>
                    <a:pt x="1930" y="20171"/>
                    <a:pt x="1002" y="21028"/>
                    <a:pt x="0" y="21600"/>
                  </a:cubicBezTo>
                  <a:cubicBezTo>
                    <a:pt x="13769" y="21600"/>
                    <a:pt x="13769" y="21600"/>
                    <a:pt x="13769" y="21600"/>
                  </a:cubicBezTo>
                  <a:cubicBezTo>
                    <a:pt x="18297" y="21600"/>
                    <a:pt x="21600" y="16782"/>
                    <a:pt x="21600" y="10780"/>
                  </a:cubicBezTo>
                  <a:cubicBezTo>
                    <a:pt x="21600" y="4818"/>
                    <a:pt x="18297" y="0"/>
                    <a:pt x="13769" y="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accent1"/>
              </a:solidFill>
              <a:miter lim="400000"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9" name="iṥ1ïḋe">
              <a:extLst>
                <a:ext uri="{FF2B5EF4-FFF2-40B4-BE49-F238E27FC236}">
                  <a16:creationId xmlns:a16="http://schemas.microsoft.com/office/drawing/2014/main" id="{67E8BD50-A0EA-46BD-9BB6-FE7E3A3C6B39}"/>
                </a:ext>
              </a:extLst>
            </p:cNvPr>
            <p:cNvSpPr/>
            <p:nvPr/>
          </p:nvSpPr>
          <p:spPr>
            <a:xfrm>
              <a:off x="7522966" y="3884848"/>
              <a:ext cx="2566868" cy="798912"/>
            </a:xfrm>
            <a:prstGeom prst="rect">
              <a:avLst/>
            </a:prstGeom>
            <a:ln w="12700">
              <a:miter lim="400000"/>
            </a:ln>
          </p:spPr>
          <p:txBody>
            <a:bodyPr wrap="square" lIns="91440" tIns="45720" rIns="91440" bIns="45720" anchor="ctr">
              <a:normAutofit fontScale="92500"/>
            </a:bodyPr>
            <a:lstStyle/>
            <a:p>
              <a:pPr lvl="0" algn="ctr">
                <a:defRPr sz="1800">
                  <a:solidFill>
                    <a:srgbClr val="000000"/>
                  </a:solidFill>
                </a:defRPr>
              </a:pPr>
              <a:r>
                <a:rPr lang="zh-CN" altLang="en-US" sz="3200" b="1" dirty="0">
                  <a:solidFill>
                    <a:schemeClr val="accent1">
                      <a:lumMod val="50000"/>
                    </a:schemeClr>
                  </a:solidFill>
                </a:rPr>
                <a:t>绞榨性肠梗阻</a:t>
              </a:r>
            </a:p>
          </p:txBody>
        </p:sp>
        <p:sp>
          <p:nvSpPr>
            <p:cNvPr id="20" name="ïṡliḋé">
              <a:extLst>
                <a:ext uri="{FF2B5EF4-FFF2-40B4-BE49-F238E27FC236}">
                  <a16:creationId xmlns:a16="http://schemas.microsoft.com/office/drawing/2014/main" id="{E83E6FDF-9BDE-4B9D-A7BB-79C20C610B5D}"/>
                </a:ext>
              </a:extLst>
            </p:cNvPr>
            <p:cNvSpPr/>
            <p:nvPr/>
          </p:nvSpPr>
          <p:spPr bwMode="auto">
            <a:xfrm>
              <a:off x="8541557" y="3250872"/>
              <a:ext cx="529687" cy="476663"/>
            </a:xfrm>
            <a:custGeom>
              <a:avLst/>
              <a:gdLst>
                <a:gd name="connsiteX0" fmla="*/ 225929 w 608344"/>
                <a:gd name="connsiteY0" fmla="*/ 296304 h 547447"/>
                <a:gd name="connsiteX1" fmla="*/ 225929 w 608344"/>
                <a:gd name="connsiteY1" fmla="*/ 341046 h 547447"/>
                <a:gd name="connsiteX2" fmla="*/ 44891 w 608344"/>
                <a:gd name="connsiteY2" fmla="*/ 420403 h 547447"/>
                <a:gd name="connsiteX3" fmla="*/ 287412 w 608344"/>
                <a:gd name="connsiteY3" fmla="*/ 502613 h 547447"/>
                <a:gd name="connsiteX4" fmla="*/ 530026 w 608344"/>
                <a:gd name="connsiteY4" fmla="*/ 420403 h 547447"/>
                <a:gd name="connsiteX5" fmla="*/ 351292 w 608344"/>
                <a:gd name="connsiteY5" fmla="*/ 341322 h 547447"/>
                <a:gd name="connsiteX6" fmla="*/ 351292 w 608344"/>
                <a:gd name="connsiteY6" fmla="*/ 296488 h 547447"/>
                <a:gd name="connsiteX7" fmla="*/ 574825 w 608344"/>
                <a:gd name="connsiteY7" fmla="*/ 420403 h 547447"/>
                <a:gd name="connsiteX8" fmla="*/ 287412 w 608344"/>
                <a:gd name="connsiteY8" fmla="*/ 547447 h 547447"/>
                <a:gd name="connsiteX9" fmla="*/ 0 w 608344"/>
                <a:gd name="connsiteY9" fmla="*/ 420403 h 547447"/>
                <a:gd name="connsiteX10" fmla="*/ 225929 w 608344"/>
                <a:gd name="connsiteY10" fmla="*/ 296304 h 547447"/>
                <a:gd name="connsiteX11" fmla="*/ 288618 w 608344"/>
                <a:gd name="connsiteY11" fmla="*/ 0 h 547447"/>
                <a:gd name="connsiteX12" fmla="*/ 311206 w 608344"/>
                <a:gd name="connsiteY12" fmla="*/ 22551 h 547447"/>
                <a:gd name="connsiteX13" fmla="*/ 311206 w 608344"/>
                <a:gd name="connsiteY13" fmla="*/ 36174 h 547447"/>
                <a:gd name="connsiteX14" fmla="*/ 370947 w 608344"/>
                <a:gd name="connsiteY14" fmla="*/ 21079 h 547447"/>
                <a:gd name="connsiteX15" fmla="*/ 428291 w 608344"/>
                <a:gd name="connsiteY15" fmla="*/ 34978 h 547447"/>
                <a:gd name="connsiteX16" fmla="*/ 486004 w 608344"/>
                <a:gd name="connsiteY16" fmla="*/ 48969 h 547447"/>
                <a:gd name="connsiteX17" fmla="*/ 540766 w 608344"/>
                <a:gd name="connsiteY17" fmla="*/ 36450 h 547447"/>
                <a:gd name="connsiteX18" fmla="*/ 578012 w 608344"/>
                <a:gd name="connsiteY18" fmla="*/ 18409 h 547447"/>
                <a:gd name="connsiteX19" fmla="*/ 587232 w 608344"/>
                <a:gd name="connsiteY19" fmla="*/ 16292 h 547447"/>
                <a:gd name="connsiteX20" fmla="*/ 598479 w 608344"/>
                <a:gd name="connsiteY20" fmla="*/ 19514 h 547447"/>
                <a:gd name="connsiteX21" fmla="*/ 608344 w 608344"/>
                <a:gd name="connsiteY21" fmla="*/ 37371 h 547447"/>
                <a:gd name="connsiteX22" fmla="*/ 608344 w 608344"/>
                <a:gd name="connsiteY22" fmla="*/ 174520 h 547447"/>
                <a:gd name="connsiteX23" fmla="*/ 596451 w 608344"/>
                <a:gd name="connsiteY23" fmla="*/ 193481 h 547447"/>
                <a:gd name="connsiteX24" fmla="*/ 540766 w 608344"/>
                <a:gd name="connsiteY24" fmla="*/ 220451 h 547447"/>
                <a:gd name="connsiteX25" fmla="*/ 486004 w 608344"/>
                <a:gd name="connsiteY25" fmla="*/ 232969 h 547447"/>
                <a:gd name="connsiteX26" fmla="*/ 428291 w 608344"/>
                <a:gd name="connsiteY26" fmla="*/ 218978 h 547447"/>
                <a:gd name="connsiteX27" fmla="*/ 370947 w 608344"/>
                <a:gd name="connsiteY27" fmla="*/ 205079 h 547447"/>
                <a:gd name="connsiteX28" fmla="*/ 311206 w 608344"/>
                <a:gd name="connsiteY28" fmla="*/ 220175 h 547447"/>
                <a:gd name="connsiteX29" fmla="*/ 311206 w 608344"/>
                <a:gd name="connsiteY29" fmla="*/ 426267 h 547447"/>
                <a:gd name="connsiteX30" fmla="*/ 288618 w 608344"/>
                <a:gd name="connsiteY30" fmla="*/ 448726 h 547447"/>
                <a:gd name="connsiteX31" fmla="*/ 266031 w 608344"/>
                <a:gd name="connsiteY31" fmla="*/ 426267 h 547447"/>
                <a:gd name="connsiteX32" fmla="*/ 266031 w 608344"/>
                <a:gd name="connsiteY32" fmla="*/ 22551 h 547447"/>
                <a:gd name="connsiteX33" fmla="*/ 288618 w 608344"/>
                <a:gd name="connsiteY33" fmla="*/ 0 h 547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08344" h="547447">
                  <a:moveTo>
                    <a:pt x="225929" y="296304"/>
                  </a:moveTo>
                  <a:lnTo>
                    <a:pt x="225929" y="341046"/>
                  </a:lnTo>
                  <a:cubicBezTo>
                    <a:pt x="112458" y="351817"/>
                    <a:pt x="44891" y="391035"/>
                    <a:pt x="44891" y="420403"/>
                  </a:cubicBezTo>
                  <a:cubicBezTo>
                    <a:pt x="44891" y="454741"/>
                    <a:pt x="137162" y="502613"/>
                    <a:pt x="287412" y="502613"/>
                  </a:cubicBezTo>
                  <a:cubicBezTo>
                    <a:pt x="437663" y="502613"/>
                    <a:pt x="530026" y="454741"/>
                    <a:pt x="530026" y="420403"/>
                  </a:cubicBezTo>
                  <a:cubicBezTo>
                    <a:pt x="530026" y="391219"/>
                    <a:pt x="463289" y="352369"/>
                    <a:pt x="351292" y="341322"/>
                  </a:cubicBezTo>
                  <a:lnTo>
                    <a:pt x="351292" y="296488"/>
                  </a:lnTo>
                  <a:cubicBezTo>
                    <a:pt x="468543" y="307904"/>
                    <a:pt x="574825" y="350436"/>
                    <a:pt x="574825" y="420403"/>
                  </a:cubicBezTo>
                  <a:cubicBezTo>
                    <a:pt x="574825" y="502889"/>
                    <a:pt x="426786" y="547447"/>
                    <a:pt x="287412" y="547447"/>
                  </a:cubicBezTo>
                  <a:cubicBezTo>
                    <a:pt x="148131" y="547447"/>
                    <a:pt x="0" y="502889"/>
                    <a:pt x="0" y="420403"/>
                  </a:cubicBezTo>
                  <a:cubicBezTo>
                    <a:pt x="0" y="349976"/>
                    <a:pt x="107757" y="307351"/>
                    <a:pt x="225929" y="296304"/>
                  </a:cubicBezTo>
                  <a:close/>
                  <a:moveTo>
                    <a:pt x="288618" y="0"/>
                  </a:moveTo>
                  <a:cubicBezTo>
                    <a:pt x="301064" y="0"/>
                    <a:pt x="311206" y="10033"/>
                    <a:pt x="311206" y="22551"/>
                  </a:cubicBezTo>
                  <a:lnTo>
                    <a:pt x="311206" y="36174"/>
                  </a:lnTo>
                  <a:cubicBezTo>
                    <a:pt x="329829" y="26141"/>
                    <a:pt x="350388" y="21079"/>
                    <a:pt x="370947" y="21079"/>
                  </a:cubicBezTo>
                  <a:cubicBezTo>
                    <a:pt x="390584" y="21079"/>
                    <a:pt x="410313" y="25681"/>
                    <a:pt x="428291" y="34978"/>
                  </a:cubicBezTo>
                  <a:cubicBezTo>
                    <a:pt x="446361" y="44366"/>
                    <a:pt x="466182" y="48969"/>
                    <a:pt x="486004" y="48969"/>
                  </a:cubicBezTo>
                  <a:cubicBezTo>
                    <a:pt x="504719" y="48969"/>
                    <a:pt x="523526" y="44827"/>
                    <a:pt x="540766" y="36450"/>
                  </a:cubicBezTo>
                  <a:lnTo>
                    <a:pt x="578012" y="18409"/>
                  </a:lnTo>
                  <a:cubicBezTo>
                    <a:pt x="580963" y="17029"/>
                    <a:pt x="584097" y="16292"/>
                    <a:pt x="587232" y="16292"/>
                  </a:cubicBezTo>
                  <a:cubicBezTo>
                    <a:pt x="591104" y="16292"/>
                    <a:pt x="594976" y="17397"/>
                    <a:pt x="598479" y="19514"/>
                  </a:cubicBezTo>
                  <a:cubicBezTo>
                    <a:pt x="604564" y="23380"/>
                    <a:pt x="608344" y="30099"/>
                    <a:pt x="608344" y="37371"/>
                  </a:cubicBezTo>
                  <a:lnTo>
                    <a:pt x="608344" y="174520"/>
                  </a:lnTo>
                  <a:cubicBezTo>
                    <a:pt x="608344" y="182620"/>
                    <a:pt x="603734" y="189984"/>
                    <a:pt x="596451" y="193481"/>
                  </a:cubicBezTo>
                  <a:lnTo>
                    <a:pt x="540766" y="220451"/>
                  </a:lnTo>
                  <a:cubicBezTo>
                    <a:pt x="523434" y="228827"/>
                    <a:pt x="504719" y="232969"/>
                    <a:pt x="486004" y="232969"/>
                  </a:cubicBezTo>
                  <a:cubicBezTo>
                    <a:pt x="466182" y="232969"/>
                    <a:pt x="446361" y="228367"/>
                    <a:pt x="428291" y="218978"/>
                  </a:cubicBezTo>
                  <a:cubicBezTo>
                    <a:pt x="410313" y="209774"/>
                    <a:pt x="390584" y="205079"/>
                    <a:pt x="370947" y="205079"/>
                  </a:cubicBezTo>
                  <a:cubicBezTo>
                    <a:pt x="350388" y="205079"/>
                    <a:pt x="329829" y="210142"/>
                    <a:pt x="311206" y="220175"/>
                  </a:cubicBezTo>
                  <a:lnTo>
                    <a:pt x="311206" y="426267"/>
                  </a:lnTo>
                  <a:cubicBezTo>
                    <a:pt x="311206" y="438693"/>
                    <a:pt x="301064" y="448726"/>
                    <a:pt x="288618" y="448726"/>
                  </a:cubicBezTo>
                  <a:cubicBezTo>
                    <a:pt x="276172" y="448726"/>
                    <a:pt x="266031" y="438693"/>
                    <a:pt x="266031" y="426267"/>
                  </a:cubicBezTo>
                  <a:lnTo>
                    <a:pt x="266031" y="22551"/>
                  </a:lnTo>
                  <a:cubicBezTo>
                    <a:pt x="266031" y="10033"/>
                    <a:pt x="276172" y="0"/>
                    <a:pt x="2886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24" name="íṣḻïḓé">
              <a:extLst>
                <a:ext uri="{FF2B5EF4-FFF2-40B4-BE49-F238E27FC236}">
                  <a16:creationId xmlns:a16="http://schemas.microsoft.com/office/drawing/2014/main" id="{3780C94C-F1AC-49CA-AEE2-715FA1C61E82}"/>
                </a:ext>
              </a:extLst>
            </p:cNvPr>
            <p:cNvSpPr txBox="1"/>
            <p:nvPr/>
          </p:nvSpPr>
          <p:spPr>
            <a:xfrm>
              <a:off x="673099" y="1424940"/>
              <a:ext cx="10845800" cy="58192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marL="0" marR="0" lvl="0" indent="0" algn="ct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zh-CN" altLang="en-US" sz="2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按有无肠壁血运障碍分类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45345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2FD0AC1-8D34-4C3F-9F9C-20485C32D1B6}"/>
              </a:ext>
            </a:extLst>
          </p:cNvPr>
          <p:cNvSpPr txBox="1"/>
          <p:nvPr/>
        </p:nvSpPr>
        <p:spPr>
          <a:xfrm>
            <a:off x="669925" y="483969"/>
            <a:ext cx="2591435" cy="646331"/>
          </a:xfrm>
          <a:prstGeom prst="rect">
            <a:avLst/>
          </a:prstGeom>
          <a:solidFill>
            <a:srgbClr val="E1F8F7"/>
          </a:solidFill>
        </p:spPr>
        <p:txBody>
          <a:bodyPr wrap="square" rtlCol="0">
            <a:spAutoFit/>
          </a:bodyPr>
          <a:lstStyle/>
          <a:p>
            <a:r>
              <a:rPr lang="zh-CN" altLang="en-US" sz="3600" b="1" dirty="0"/>
              <a:t>病理生理</a:t>
            </a:r>
          </a:p>
        </p:txBody>
      </p:sp>
      <p:grpSp>
        <p:nvGrpSpPr>
          <p:cNvPr id="4" name="24940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5562651-41C0-4FAC-B432-3308F51F6550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9925" y="1307895"/>
            <a:ext cx="10848974" cy="4584905"/>
            <a:chOff x="669925" y="1307891"/>
            <a:chExt cx="10848981" cy="4584908"/>
          </a:xfrm>
        </p:grpSpPr>
        <p:grpSp>
          <p:nvGrpSpPr>
            <p:cNvPr id="5" name="îṧľïḍé">
              <a:extLst>
                <a:ext uri="{FF2B5EF4-FFF2-40B4-BE49-F238E27FC236}">
                  <a16:creationId xmlns:a16="http://schemas.microsoft.com/office/drawing/2014/main" id="{28DAE136-74E9-435D-8730-7242AB3D6C16}"/>
                </a:ext>
              </a:extLst>
            </p:cNvPr>
            <p:cNvGrpSpPr/>
            <p:nvPr/>
          </p:nvGrpSpPr>
          <p:grpSpPr>
            <a:xfrm>
              <a:off x="7228301" y="1307891"/>
              <a:ext cx="4290605" cy="4561763"/>
              <a:chOff x="6941900" y="1174336"/>
              <a:chExt cx="4577009" cy="4866268"/>
            </a:xfrm>
          </p:grpSpPr>
          <p:grpSp>
            <p:nvGrpSpPr>
              <p:cNvPr id="19" name="íśļíḑè">
                <a:extLst>
                  <a:ext uri="{FF2B5EF4-FFF2-40B4-BE49-F238E27FC236}">
                    <a16:creationId xmlns:a16="http://schemas.microsoft.com/office/drawing/2014/main" id="{E349A565-999F-4FF0-AEFA-511E66AF9CC6}"/>
                  </a:ext>
                </a:extLst>
              </p:cNvPr>
              <p:cNvGrpSpPr/>
              <p:nvPr/>
            </p:nvGrpSpPr>
            <p:grpSpPr>
              <a:xfrm>
                <a:off x="6941900" y="1174336"/>
                <a:ext cx="4577009" cy="3534461"/>
                <a:chOff x="998945" y="673643"/>
                <a:chExt cx="5842282" cy="4511533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31" name="íşļîḑé">
                  <a:extLst>
                    <a:ext uri="{FF2B5EF4-FFF2-40B4-BE49-F238E27FC236}">
                      <a16:creationId xmlns:a16="http://schemas.microsoft.com/office/drawing/2014/main" id="{728CEEA0-4655-4CBB-8BD3-312D46F369F7}"/>
                    </a:ext>
                  </a:extLst>
                </p:cNvPr>
                <p:cNvSpPr/>
                <p:nvPr/>
              </p:nvSpPr>
              <p:spPr>
                <a:xfrm>
                  <a:off x="6168634" y="1667184"/>
                  <a:ext cx="473984" cy="38519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19150"/>
                      </a:moveTo>
                      <a:cubicBezTo>
                        <a:pt x="1961" y="20697"/>
                        <a:pt x="4290" y="21600"/>
                        <a:pt x="6793" y="21600"/>
                      </a:cubicBezTo>
                      <a:cubicBezTo>
                        <a:pt x="14944" y="21600"/>
                        <a:pt x="19401" y="13291"/>
                        <a:pt x="19401" y="6085"/>
                      </a:cubicBezTo>
                      <a:cubicBezTo>
                        <a:pt x="19401" y="5849"/>
                        <a:pt x="19397" y="5614"/>
                        <a:pt x="19388" y="5379"/>
                      </a:cubicBezTo>
                      <a:cubicBezTo>
                        <a:pt x="20254" y="4611"/>
                        <a:pt x="21006" y="3650"/>
                        <a:pt x="21600" y="2557"/>
                      </a:cubicBezTo>
                      <a:cubicBezTo>
                        <a:pt x="20805" y="2991"/>
                        <a:pt x="19951" y="3284"/>
                        <a:pt x="19055" y="3416"/>
                      </a:cubicBezTo>
                      <a:cubicBezTo>
                        <a:pt x="19969" y="2741"/>
                        <a:pt x="20672" y="1672"/>
                        <a:pt x="21003" y="398"/>
                      </a:cubicBezTo>
                      <a:cubicBezTo>
                        <a:pt x="20147" y="1024"/>
                        <a:pt x="19198" y="1477"/>
                        <a:pt x="18189" y="1722"/>
                      </a:cubicBezTo>
                      <a:cubicBezTo>
                        <a:pt x="17381" y="662"/>
                        <a:pt x="16229" y="0"/>
                        <a:pt x="14954" y="0"/>
                      </a:cubicBezTo>
                      <a:cubicBezTo>
                        <a:pt x="12507" y="0"/>
                        <a:pt x="10523" y="2442"/>
                        <a:pt x="10523" y="5453"/>
                      </a:cubicBezTo>
                      <a:cubicBezTo>
                        <a:pt x="10523" y="5880"/>
                        <a:pt x="10562" y="6296"/>
                        <a:pt x="10637" y="6696"/>
                      </a:cubicBezTo>
                      <a:cubicBezTo>
                        <a:pt x="6955" y="6468"/>
                        <a:pt x="3689" y="4297"/>
                        <a:pt x="1503" y="998"/>
                      </a:cubicBezTo>
                      <a:cubicBezTo>
                        <a:pt x="1122" y="1803"/>
                        <a:pt x="904" y="2740"/>
                        <a:pt x="904" y="3740"/>
                      </a:cubicBezTo>
                      <a:cubicBezTo>
                        <a:pt x="904" y="5631"/>
                        <a:pt x="1685" y="7300"/>
                        <a:pt x="2875" y="8278"/>
                      </a:cubicBezTo>
                      <a:cubicBezTo>
                        <a:pt x="2149" y="8250"/>
                        <a:pt x="1465" y="8005"/>
                        <a:pt x="868" y="7596"/>
                      </a:cubicBezTo>
                      <a:cubicBezTo>
                        <a:pt x="867" y="7619"/>
                        <a:pt x="867" y="7641"/>
                        <a:pt x="867" y="7665"/>
                      </a:cubicBezTo>
                      <a:cubicBezTo>
                        <a:pt x="867" y="10307"/>
                        <a:pt x="2395" y="12511"/>
                        <a:pt x="4422" y="13012"/>
                      </a:cubicBezTo>
                      <a:cubicBezTo>
                        <a:pt x="4050" y="13136"/>
                        <a:pt x="3659" y="13203"/>
                        <a:pt x="3255" y="13203"/>
                      </a:cubicBezTo>
                      <a:cubicBezTo>
                        <a:pt x="2969" y="13203"/>
                        <a:pt x="2692" y="13169"/>
                        <a:pt x="2421" y="13105"/>
                      </a:cubicBezTo>
                      <a:cubicBezTo>
                        <a:pt x="2984" y="15271"/>
                        <a:pt x="4621" y="16848"/>
                        <a:pt x="6561" y="16892"/>
                      </a:cubicBezTo>
                      <a:cubicBezTo>
                        <a:pt x="5044" y="18355"/>
                        <a:pt x="3133" y="19226"/>
                        <a:pt x="1057" y="19226"/>
                      </a:cubicBezTo>
                      <a:cubicBezTo>
                        <a:pt x="699" y="19226"/>
                        <a:pt x="346" y="19201"/>
                        <a:pt x="0" y="1915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32" name="ïsḻîḓé">
                  <a:extLst>
                    <a:ext uri="{FF2B5EF4-FFF2-40B4-BE49-F238E27FC236}">
                      <a16:creationId xmlns:a16="http://schemas.microsoft.com/office/drawing/2014/main" id="{87BB7663-991B-48E9-ADA8-FCA2444D1610}"/>
                    </a:ext>
                  </a:extLst>
                </p:cNvPr>
                <p:cNvSpPr/>
                <p:nvPr/>
              </p:nvSpPr>
              <p:spPr>
                <a:xfrm flipH="1">
                  <a:off x="5839380" y="1300290"/>
                  <a:ext cx="428913" cy="42893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286" h="21287" extrusionOk="0">
                      <a:moveTo>
                        <a:pt x="445" y="5642"/>
                      </a:moveTo>
                      <a:lnTo>
                        <a:pt x="9504" y="9703"/>
                      </a:lnTo>
                      <a:lnTo>
                        <a:pt x="6903" y="12304"/>
                      </a:lnTo>
                      <a:lnTo>
                        <a:pt x="2360" y="12304"/>
                      </a:lnTo>
                      <a:cubicBezTo>
                        <a:pt x="2161" y="12304"/>
                        <a:pt x="1970" y="12384"/>
                        <a:pt x="1828" y="12524"/>
                      </a:cubicBezTo>
                      <a:lnTo>
                        <a:pt x="1448" y="12906"/>
                      </a:lnTo>
                      <a:cubicBezTo>
                        <a:pt x="1071" y="13283"/>
                        <a:pt x="1195" y="13920"/>
                        <a:pt x="1683" y="14129"/>
                      </a:cubicBezTo>
                      <a:lnTo>
                        <a:pt x="5516" y="15771"/>
                      </a:lnTo>
                      <a:lnTo>
                        <a:pt x="7158" y="19604"/>
                      </a:lnTo>
                      <a:cubicBezTo>
                        <a:pt x="7367" y="20092"/>
                        <a:pt x="8006" y="20216"/>
                        <a:pt x="8381" y="19839"/>
                      </a:cubicBezTo>
                      <a:lnTo>
                        <a:pt x="8763" y="19457"/>
                      </a:lnTo>
                      <a:cubicBezTo>
                        <a:pt x="8905" y="19315"/>
                        <a:pt x="8982" y="19124"/>
                        <a:pt x="8982" y="18925"/>
                      </a:cubicBezTo>
                      <a:lnTo>
                        <a:pt x="8982" y="14382"/>
                      </a:lnTo>
                      <a:lnTo>
                        <a:pt x="11583" y="11781"/>
                      </a:lnTo>
                      <a:lnTo>
                        <a:pt x="15645" y="20842"/>
                      </a:lnTo>
                      <a:cubicBezTo>
                        <a:pt x="15860" y="21323"/>
                        <a:pt x="16490" y="21439"/>
                        <a:pt x="16864" y="21066"/>
                      </a:cubicBezTo>
                      <a:lnTo>
                        <a:pt x="17567" y="20363"/>
                      </a:lnTo>
                      <a:cubicBezTo>
                        <a:pt x="17731" y="20198"/>
                        <a:pt x="17808" y="19970"/>
                        <a:pt x="17782" y="19741"/>
                      </a:cubicBezTo>
                      <a:lnTo>
                        <a:pt x="16264" y="7100"/>
                      </a:lnTo>
                      <a:lnTo>
                        <a:pt x="19937" y="3428"/>
                      </a:lnTo>
                      <a:cubicBezTo>
                        <a:pt x="20050" y="3314"/>
                        <a:pt x="20141" y="3184"/>
                        <a:pt x="20208" y="3037"/>
                      </a:cubicBezTo>
                      <a:lnTo>
                        <a:pt x="21233" y="784"/>
                      </a:lnTo>
                      <a:cubicBezTo>
                        <a:pt x="21448" y="320"/>
                        <a:pt x="20969" y="-161"/>
                        <a:pt x="20500" y="52"/>
                      </a:cubicBezTo>
                      <a:lnTo>
                        <a:pt x="18248" y="1077"/>
                      </a:lnTo>
                      <a:cubicBezTo>
                        <a:pt x="18104" y="1144"/>
                        <a:pt x="17971" y="1235"/>
                        <a:pt x="17858" y="1348"/>
                      </a:cubicBezTo>
                      <a:lnTo>
                        <a:pt x="14187" y="5021"/>
                      </a:lnTo>
                      <a:lnTo>
                        <a:pt x="1545" y="3505"/>
                      </a:lnTo>
                      <a:cubicBezTo>
                        <a:pt x="1316" y="3479"/>
                        <a:pt x="1086" y="3556"/>
                        <a:pt x="924" y="3720"/>
                      </a:cubicBezTo>
                      <a:lnTo>
                        <a:pt x="221" y="4424"/>
                      </a:lnTo>
                      <a:cubicBezTo>
                        <a:pt x="-152" y="4797"/>
                        <a:pt x="-36" y="5427"/>
                        <a:pt x="445" y="5642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33" name="îšļïḓê">
                  <a:extLst>
                    <a:ext uri="{FF2B5EF4-FFF2-40B4-BE49-F238E27FC236}">
                      <a16:creationId xmlns:a16="http://schemas.microsoft.com/office/drawing/2014/main" id="{BA2576FC-3C3E-4289-BE1A-B8EF78753C6C}"/>
                    </a:ext>
                  </a:extLst>
                </p:cNvPr>
                <p:cNvSpPr/>
                <p:nvPr/>
              </p:nvSpPr>
              <p:spPr>
                <a:xfrm>
                  <a:off x="4448484" y="1777735"/>
                  <a:ext cx="220367" cy="47214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6374" y="3786"/>
                      </a:moveTo>
                      <a:lnTo>
                        <a:pt x="21600" y="3786"/>
                      </a:lnTo>
                      <a:lnTo>
                        <a:pt x="21600" y="0"/>
                      </a:lnTo>
                      <a:lnTo>
                        <a:pt x="14493" y="0"/>
                      </a:lnTo>
                      <a:cubicBezTo>
                        <a:pt x="4432" y="0"/>
                        <a:pt x="4667" y="3640"/>
                        <a:pt x="4667" y="4183"/>
                      </a:cubicBezTo>
                      <a:lnTo>
                        <a:pt x="4667" y="7156"/>
                      </a:lnTo>
                      <a:lnTo>
                        <a:pt x="0" y="7156"/>
                      </a:lnTo>
                      <a:lnTo>
                        <a:pt x="0" y="10793"/>
                      </a:lnTo>
                      <a:lnTo>
                        <a:pt x="4667" y="10793"/>
                      </a:lnTo>
                      <a:lnTo>
                        <a:pt x="4667" y="21600"/>
                      </a:lnTo>
                      <a:lnTo>
                        <a:pt x="14258" y="21600"/>
                      </a:lnTo>
                      <a:lnTo>
                        <a:pt x="14258" y="10794"/>
                      </a:lnTo>
                      <a:lnTo>
                        <a:pt x="20691" y="10794"/>
                      </a:lnTo>
                      <a:cubicBezTo>
                        <a:pt x="20691" y="10794"/>
                        <a:pt x="21297" y="9050"/>
                        <a:pt x="21589" y="7144"/>
                      </a:cubicBezTo>
                      <a:lnTo>
                        <a:pt x="14294" y="7144"/>
                      </a:lnTo>
                      <a:lnTo>
                        <a:pt x="14294" y="4657"/>
                      </a:lnTo>
                      <a:cubicBezTo>
                        <a:pt x="14294" y="4285"/>
                        <a:pt x="15340" y="3786"/>
                        <a:pt x="16374" y="378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lnSpcReduction="1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34" name="íşľiḍè">
                  <a:extLst>
                    <a:ext uri="{FF2B5EF4-FFF2-40B4-BE49-F238E27FC236}">
                      <a16:creationId xmlns:a16="http://schemas.microsoft.com/office/drawing/2014/main" id="{A8A77CD2-E0A3-479B-A720-16530171C210}"/>
                    </a:ext>
                  </a:extLst>
                </p:cNvPr>
                <p:cNvSpPr/>
                <p:nvPr/>
              </p:nvSpPr>
              <p:spPr>
                <a:xfrm flipH="1">
                  <a:off x="5421445" y="1658373"/>
                  <a:ext cx="715551" cy="42355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660" y="8315"/>
                      </a:moveTo>
                      <a:cubicBezTo>
                        <a:pt x="17486" y="3673"/>
                        <a:pt x="15202" y="0"/>
                        <a:pt x="12411" y="0"/>
                      </a:cubicBezTo>
                      <a:cubicBezTo>
                        <a:pt x="9835" y="0"/>
                        <a:pt x="7692" y="3128"/>
                        <a:pt x="7238" y="7255"/>
                      </a:cubicBezTo>
                      <a:cubicBezTo>
                        <a:pt x="7180" y="7250"/>
                        <a:pt x="7119" y="7247"/>
                        <a:pt x="7060" y="7247"/>
                      </a:cubicBezTo>
                      <a:cubicBezTo>
                        <a:pt x="5141" y="7247"/>
                        <a:pt x="3522" y="9394"/>
                        <a:pt x="2994" y="12343"/>
                      </a:cubicBezTo>
                      <a:cubicBezTo>
                        <a:pt x="2913" y="12332"/>
                        <a:pt x="2829" y="12324"/>
                        <a:pt x="2746" y="12324"/>
                      </a:cubicBezTo>
                      <a:cubicBezTo>
                        <a:pt x="1231" y="12324"/>
                        <a:pt x="0" y="14399"/>
                        <a:pt x="0" y="16962"/>
                      </a:cubicBezTo>
                      <a:cubicBezTo>
                        <a:pt x="0" y="19525"/>
                        <a:pt x="1228" y="21600"/>
                        <a:pt x="2743" y="21600"/>
                      </a:cubicBezTo>
                      <a:lnTo>
                        <a:pt x="17669" y="21600"/>
                      </a:lnTo>
                      <a:cubicBezTo>
                        <a:pt x="19841" y="21600"/>
                        <a:pt x="21600" y="18625"/>
                        <a:pt x="21600" y="14960"/>
                      </a:cubicBezTo>
                      <a:cubicBezTo>
                        <a:pt x="21600" y="11294"/>
                        <a:pt x="19843" y="8315"/>
                        <a:pt x="17671" y="8315"/>
                      </a:cubicBezTo>
                      <a:cubicBezTo>
                        <a:pt x="17671" y="8315"/>
                        <a:pt x="17660" y="8315"/>
                        <a:pt x="17660" y="8315"/>
                      </a:cubicBezTo>
                      <a:close/>
                    </a:path>
                  </a:pathLst>
                </a:custGeom>
                <a:solidFill>
                  <a:schemeClr val="tx2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35" name="iŝļíḓè">
                  <a:extLst>
                    <a:ext uri="{FF2B5EF4-FFF2-40B4-BE49-F238E27FC236}">
                      <a16:creationId xmlns:a16="http://schemas.microsoft.com/office/drawing/2014/main" id="{E7CD18BC-1739-4E6D-868E-719FFEB37747}"/>
                    </a:ext>
                  </a:extLst>
                </p:cNvPr>
                <p:cNvSpPr/>
                <p:nvPr/>
              </p:nvSpPr>
              <p:spPr>
                <a:xfrm>
                  <a:off x="4214426" y="2816178"/>
                  <a:ext cx="370872" cy="66888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2656" y="21600"/>
                      </a:moveTo>
                      <a:lnTo>
                        <a:pt x="12656" y="19155"/>
                      </a:lnTo>
                      <a:cubicBezTo>
                        <a:pt x="15552" y="18986"/>
                        <a:pt x="17766" y="18425"/>
                        <a:pt x="19300" y="17472"/>
                      </a:cubicBezTo>
                      <a:cubicBezTo>
                        <a:pt x="20831" y="16521"/>
                        <a:pt x="21600" y="15331"/>
                        <a:pt x="21600" y="13903"/>
                      </a:cubicBezTo>
                      <a:cubicBezTo>
                        <a:pt x="21600" y="12972"/>
                        <a:pt x="21227" y="12160"/>
                        <a:pt x="20487" y="11464"/>
                      </a:cubicBezTo>
                      <a:cubicBezTo>
                        <a:pt x="19740" y="10770"/>
                        <a:pt x="18748" y="10224"/>
                        <a:pt x="17499" y="9830"/>
                      </a:cubicBezTo>
                      <a:cubicBezTo>
                        <a:pt x="16256" y="9435"/>
                        <a:pt x="14537" y="9015"/>
                        <a:pt x="12344" y="8573"/>
                      </a:cubicBezTo>
                      <a:cubicBezTo>
                        <a:pt x="10351" y="8165"/>
                        <a:pt x="9047" y="7826"/>
                        <a:pt x="8442" y="7552"/>
                      </a:cubicBezTo>
                      <a:cubicBezTo>
                        <a:pt x="7833" y="7276"/>
                        <a:pt x="7528" y="6881"/>
                        <a:pt x="7528" y="6366"/>
                      </a:cubicBezTo>
                      <a:cubicBezTo>
                        <a:pt x="7528" y="5862"/>
                        <a:pt x="7845" y="5432"/>
                        <a:pt x="8475" y="5078"/>
                      </a:cubicBezTo>
                      <a:cubicBezTo>
                        <a:pt x="9104" y="4723"/>
                        <a:pt x="9940" y="4546"/>
                        <a:pt x="10982" y="4546"/>
                      </a:cubicBezTo>
                      <a:cubicBezTo>
                        <a:pt x="13061" y="4546"/>
                        <a:pt x="14589" y="5339"/>
                        <a:pt x="15582" y="6925"/>
                      </a:cubicBezTo>
                      <a:lnTo>
                        <a:pt x="20665" y="5769"/>
                      </a:lnTo>
                      <a:cubicBezTo>
                        <a:pt x="19452" y="3455"/>
                        <a:pt x="16781" y="2162"/>
                        <a:pt x="12656" y="1888"/>
                      </a:cubicBezTo>
                      <a:lnTo>
                        <a:pt x="12656" y="0"/>
                      </a:lnTo>
                      <a:lnTo>
                        <a:pt x="8967" y="0"/>
                      </a:lnTo>
                      <a:lnTo>
                        <a:pt x="8967" y="1888"/>
                      </a:lnTo>
                      <a:cubicBezTo>
                        <a:pt x="6236" y="2101"/>
                        <a:pt x="4235" y="2685"/>
                        <a:pt x="2963" y="3640"/>
                      </a:cubicBezTo>
                      <a:cubicBezTo>
                        <a:pt x="1692" y="4598"/>
                        <a:pt x="1053" y="5676"/>
                        <a:pt x="1053" y="6872"/>
                      </a:cubicBezTo>
                      <a:cubicBezTo>
                        <a:pt x="1053" y="7783"/>
                        <a:pt x="1410" y="8585"/>
                        <a:pt x="2122" y="9272"/>
                      </a:cubicBezTo>
                      <a:cubicBezTo>
                        <a:pt x="2834" y="9959"/>
                        <a:pt x="3762" y="10491"/>
                        <a:pt x="4903" y="10871"/>
                      </a:cubicBezTo>
                      <a:cubicBezTo>
                        <a:pt x="6044" y="11256"/>
                        <a:pt x="7631" y="11639"/>
                        <a:pt x="9659" y="12030"/>
                      </a:cubicBezTo>
                      <a:cubicBezTo>
                        <a:pt x="11915" y="12473"/>
                        <a:pt x="13372" y="12838"/>
                        <a:pt x="14027" y="13127"/>
                      </a:cubicBezTo>
                      <a:cubicBezTo>
                        <a:pt x="14680" y="13413"/>
                        <a:pt x="15008" y="13837"/>
                        <a:pt x="15008" y="14397"/>
                      </a:cubicBezTo>
                      <a:cubicBezTo>
                        <a:pt x="15008" y="14937"/>
                        <a:pt x="14680" y="15396"/>
                        <a:pt x="14027" y="15778"/>
                      </a:cubicBezTo>
                      <a:cubicBezTo>
                        <a:pt x="13372" y="16160"/>
                        <a:pt x="12344" y="16350"/>
                        <a:pt x="10954" y="16350"/>
                      </a:cubicBezTo>
                      <a:cubicBezTo>
                        <a:pt x="7985" y="16350"/>
                        <a:pt x="6236" y="15459"/>
                        <a:pt x="5706" y="13677"/>
                      </a:cubicBezTo>
                      <a:lnTo>
                        <a:pt x="0" y="14502"/>
                      </a:lnTo>
                      <a:cubicBezTo>
                        <a:pt x="1152" y="17337"/>
                        <a:pt x="4138" y="18894"/>
                        <a:pt x="8967" y="19168"/>
                      </a:cubicBezTo>
                      <a:lnTo>
                        <a:pt x="8967" y="21600"/>
                      </a:lnTo>
                      <a:cubicBezTo>
                        <a:pt x="8967" y="21600"/>
                        <a:pt x="12656" y="21600"/>
                        <a:pt x="12656" y="21600"/>
                      </a:cubicBezTo>
                      <a:close/>
                    </a:path>
                  </a:pathLst>
                </a:custGeom>
                <a:solidFill>
                  <a:schemeClr val="tx2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36" name="ïṩļïḍé">
                  <a:extLst>
                    <a:ext uri="{FF2B5EF4-FFF2-40B4-BE49-F238E27FC236}">
                      <a16:creationId xmlns:a16="http://schemas.microsoft.com/office/drawing/2014/main" id="{DBEA918C-4E69-4AC0-9067-F98B0A83B4E6}"/>
                    </a:ext>
                  </a:extLst>
                </p:cNvPr>
                <p:cNvSpPr/>
                <p:nvPr/>
              </p:nvSpPr>
              <p:spPr>
                <a:xfrm>
                  <a:off x="5009059" y="1940719"/>
                  <a:ext cx="348901" cy="39879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142" h="21174" extrusionOk="0">
                      <a:moveTo>
                        <a:pt x="6039" y="16153"/>
                      </a:moveTo>
                      <a:cubicBezTo>
                        <a:pt x="5006" y="15759"/>
                        <a:pt x="3576" y="15759"/>
                        <a:pt x="2189" y="16379"/>
                      </a:cubicBezTo>
                      <a:cubicBezTo>
                        <a:pt x="132" y="17311"/>
                        <a:pt x="-451" y="19002"/>
                        <a:pt x="339" y="20077"/>
                      </a:cubicBezTo>
                      <a:cubicBezTo>
                        <a:pt x="1135" y="21149"/>
                        <a:pt x="3303" y="21600"/>
                        <a:pt x="5360" y="20671"/>
                      </a:cubicBezTo>
                      <a:cubicBezTo>
                        <a:pt x="6842" y="20006"/>
                        <a:pt x="7558" y="18940"/>
                        <a:pt x="7551" y="17996"/>
                      </a:cubicBezTo>
                      <a:lnTo>
                        <a:pt x="7551" y="7675"/>
                      </a:lnTo>
                      <a:lnTo>
                        <a:pt x="19630" y="5557"/>
                      </a:lnTo>
                      <a:lnTo>
                        <a:pt x="19630" y="14830"/>
                      </a:lnTo>
                      <a:cubicBezTo>
                        <a:pt x="18598" y="14434"/>
                        <a:pt x="17167" y="14434"/>
                        <a:pt x="15781" y="15054"/>
                      </a:cubicBezTo>
                      <a:cubicBezTo>
                        <a:pt x="13723" y="15987"/>
                        <a:pt x="13141" y="17678"/>
                        <a:pt x="13929" y="18752"/>
                      </a:cubicBezTo>
                      <a:cubicBezTo>
                        <a:pt x="14718" y="19823"/>
                        <a:pt x="16887" y="20277"/>
                        <a:pt x="18952" y="19345"/>
                      </a:cubicBezTo>
                      <a:cubicBezTo>
                        <a:pt x="20434" y="18681"/>
                        <a:pt x="21149" y="17613"/>
                        <a:pt x="21142" y="16672"/>
                      </a:cubicBezTo>
                      <a:lnTo>
                        <a:pt x="21142" y="0"/>
                      </a:lnTo>
                      <a:lnTo>
                        <a:pt x="6039" y="2648"/>
                      </a:lnTo>
                      <a:cubicBezTo>
                        <a:pt x="6039" y="2648"/>
                        <a:pt x="6039" y="16153"/>
                        <a:pt x="6039" y="16153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37" name="ïṡľiḓe">
                  <a:extLst>
                    <a:ext uri="{FF2B5EF4-FFF2-40B4-BE49-F238E27FC236}">
                      <a16:creationId xmlns:a16="http://schemas.microsoft.com/office/drawing/2014/main" id="{C466660A-EA00-4790-8370-2863B4ED9A4B}"/>
                    </a:ext>
                  </a:extLst>
                </p:cNvPr>
                <p:cNvSpPr/>
                <p:nvPr/>
              </p:nvSpPr>
              <p:spPr>
                <a:xfrm flipH="1">
                  <a:off x="4702701" y="3365240"/>
                  <a:ext cx="330202" cy="41826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18248"/>
                      </a:moveTo>
                      <a:cubicBezTo>
                        <a:pt x="21600" y="17196"/>
                        <a:pt x="18978" y="16206"/>
                        <a:pt x="15894" y="15188"/>
                      </a:cubicBezTo>
                      <a:cubicBezTo>
                        <a:pt x="12819" y="14174"/>
                        <a:pt x="11836" y="13319"/>
                        <a:pt x="11836" y="11486"/>
                      </a:cubicBezTo>
                      <a:cubicBezTo>
                        <a:pt x="11836" y="10385"/>
                        <a:pt x="12774" y="10745"/>
                        <a:pt x="13188" y="8729"/>
                      </a:cubicBezTo>
                      <a:cubicBezTo>
                        <a:pt x="13358" y="7894"/>
                        <a:pt x="14188" y="8716"/>
                        <a:pt x="14346" y="6808"/>
                      </a:cubicBezTo>
                      <a:cubicBezTo>
                        <a:pt x="14346" y="6047"/>
                        <a:pt x="13893" y="5859"/>
                        <a:pt x="13893" y="5859"/>
                      </a:cubicBezTo>
                      <a:cubicBezTo>
                        <a:pt x="13893" y="5859"/>
                        <a:pt x="14124" y="4733"/>
                        <a:pt x="14214" y="3867"/>
                      </a:cubicBezTo>
                      <a:cubicBezTo>
                        <a:pt x="14326" y="2788"/>
                        <a:pt x="13524" y="0"/>
                        <a:pt x="9257" y="0"/>
                      </a:cubicBezTo>
                      <a:cubicBezTo>
                        <a:pt x="4988" y="0"/>
                        <a:pt x="4189" y="2788"/>
                        <a:pt x="4301" y="3867"/>
                      </a:cubicBezTo>
                      <a:cubicBezTo>
                        <a:pt x="4390" y="4733"/>
                        <a:pt x="4620" y="5859"/>
                        <a:pt x="4620" y="5859"/>
                      </a:cubicBezTo>
                      <a:cubicBezTo>
                        <a:pt x="4620" y="5859"/>
                        <a:pt x="4168" y="6047"/>
                        <a:pt x="4168" y="6808"/>
                      </a:cubicBezTo>
                      <a:cubicBezTo>
                        <a:pt x="4327" y="8716"/>
                        <a:pt x="5155" y="7894"/>
                        <a:pt x="5328" y="8729"/>
                      </a:cubicBezTo>
                      <a:cubicBezTo>
                        <a:pt x="5739" y="10744"/>
                        <a:pt x="6679" y="10384"/>
                        <a:pt x="6679" y="11486"/>
                      </a:cubicBezTo>
                      <a:cubicBezTo>
                        <a:pt x="6679" y="13319"/>
                        <a:pt x="5694" y="14174"/>
                        <a:pt x="2621" y="15188"/>
                      </a:cubicBezTo>
                      <a:cubicBezTo>
                        <a:pt x="1684" y="15497"/>
                        <a:pt x="0" y="15977"/>
                        <a:pt x="0" y="17130"/>
                      </a:cubicBezTo>
                      <a:lnTo>
                        <a:pt x="0" y="21600"/>
                      </a:lnTo>
                      <a:lnTo>
                        <a:pt x="21600" y="21600"/>
                      </a:lnTo>
                      <a:cubicBezTo>
                        <a:pt x="21600" y="21600"/>
                        <a:pt x="21600" y="18248"/>
                        <a:pt x="21600" y="18248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38" name="îṧḻïḋe">
                  <a:extLst>
                    <a:ext uri="{FF2B5EF4-FFF2-40B4-BE49-F238E27FC236}">
                      <a16:creationId xmlns:a16="http://schemas.microsoft.com/office/drawing/2014/main" id="{C054C433-AD13-41CB-9E53-5C36D949AE4C}"/>
                    </a:ext>
                  </a:extLst>
                </p:cNvPr>
                <p:cNvSpPr/>
                <p:nvPr/>
              </p:nvSpPr>
              <p:spPr>
                <a:xfrm flipH="1">
                  <a:off x="4554915" y="3424921"/>
                  <a:ext cx="203457" cy="35810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21600"/>
                      </a:moveTo>
                      <a:cubicBezTo>
                        <a:pt x="21600" y="21600"/>
                        <a:pt x="21502" y="16173"/>
                        <a:pt x="20919" y="15611"/>
                      </a:cubicBezTo>
                      <a:cubicBezTo>
                        <a:pt x="20048" y="14771"/>
                        <a:pt x="18025" y="14197"/>
                        <a:pt x="14270" y="13304"/>
                      </a:cubicBezTo>
                      <a:cubicBezTo>
                        <a:pt x="10530" y="12416"/>
                        <a:pt x="9334" y="11665"/>
                        <a:pt x="9334" y="10061"/>
                      </a:cubicBezTo>
                      <a:cubicBezTo>
                        <a:pt x="9334" y="9096"/>
                        <a:pt x="10476" y="9412"/>
                        <a:pt x="10978" y="7646"/>
                      </a:cubicBezTo>
                      <a:cubicBezTo>
                        <a:pt x="11186" y="6914"/>
                        <a:pt x="12197" y="7635"/>
                        <a:pt x="12388" y="5963"/>
                      </a:cubicBezTo>
                      <a:cubicBezTo>
                        <a:pt x="12388" y="5297"/>
                        <a:pt x="11838" y="5131"/>
                        <a:pt x="11838" y="5131"/>
                      </a:cubicBezTo>
                      <a:cubicBezTo>
                        <a:pt x="11838" y="5131"/>
                        <a:pt x="12116" y="4145"/>
                        <a:pt x="12225" y="3386"/>
                      </a:cubicBezTo>
                      <a:cubicBezTo>
                        <a:pt x="12363" y="2441"/>
                        <a:pt x="11387" y="0"/>
                        <a:pt x="6194" y="0"/>
                      </a:cubicBezTo>
                      <a:cubicBezTo>
                        <a:pt x="1000" y="0"/>
                        <a:pt x="24" y="2441"/>
                        <a:pt x="162" y="3386"/>
                      </a:cubicBezTo>
                      <a:cubicBezTo>
                        <a:pt x="270" y="4145"/>
                        <a:pt x="549" y="5131"/>
                        <a:pt x="549" y="5131"/>
                      </a:cubicBezTo>
                      <a:cubicBezTo>
                        <a:pt x="549" y="5131"/>
                        <a:pt x="0" y="5297"/>
                        <a:pt x="0" y="5963"/>
                      </a:cubicBezTo>
                      <a:cubicBezTo>
                        <a:pt x="194" y="7635"/>
                        <a:pt x="1201" y="6914"/>
                        <a:pt x="1411" y="7646"/>
                      </a:cubicBezTo>
                      <a:cubicBezTo>
                        <a:pt x="1912" y="9412"/>
                        <a:pt x="3054" y="9096"/>
                        <a:pt x="3054" y="10061"/>
                      </a:cubicBezTo>
                      <a:cubicBezTo>
                        <a:pt x="3054" y="11152"/>
                        <a:pt x="2501" y="11849"/>
                        <a:pt x="968" y="12462"/>
                      </a:cubicBezTo>
                      <a:cubicBezTo>
                        <a:pt x="9143" y="14787"/>
                        <a:pt x="10240" y="15261"/>
                        <a:pt x="10240" y="17339"/>
                      </a:cubicBezTo>
                      <a:lnTo>
                        <a:pt x="10240" y="21600"/>
                      </a:lnTo>
                      <a:cubicBezTo>
                        <a:pt x="10240" y="21600"/>
                        <a:pt x="21600" y="21600"/>
                        <a:pt x="21600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39" name="i$ļïḋé">
                  <a:extLst>
                    <a:ext uri="{FF2B5EF4-FFF2-40B4-BE49-F238E27FC236}">
                      <a16:creationId xmlns:a16="http://schemas.microsoft.com/office/drawing/2014/main" id="{FE3C2C3A-2D77-4684-BBC2-2752E091A097}"/>
                    </a:ext>
                  </a:extLst>
                </p:cNvPr>
                <p:cNvSpPr/>
                <p:nvPr/>
              </p:nvSpPr>
              <p:spPr>
                <a:xfrm flipH="1">
                  <a:off x="5494566" y="2243175"/>
                  <a:ext cx="473671" cy="45720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8958" y="0"/>
                      </a:moveTo>
                      <a:cubicBezTo>
                        <a:pt x="17362" y="0"/>
                        <a:pt x="16381" y="1096"/>
                        <a:pt x="16352" y="2522"/>
                      </a:cubicBezTo>
                      <a:cubicBezTo>
                        <a:pt x="16352" y="3918"/>
                        <a:pt x="17365" y="5034"/>
                        <a:pt x="18994" y="5034"/>
                      </a:cubicBezTo>
                      <a:lnTo>
                        <a:pt x="19021" y="5034"/>
                      </a:lnTo>
                      <a:cubicBezTo>
                        <a:pt x="20588" y="5034"/>
                        <a:pt x="21600" y="3918"/>
                        <a:pt x="21600" y="2522"/>
                      </a:cubicBezTo>
                      <a:cubicBezTo>
                        <a:pt x="21600" y="1096"/>
                        <a:pt x="20554" y="0"/>
                        <a:pt x="18958" y="0"/>
                      </a:cubicBezTo>
                      <a:close/>
                      <a:moveTo>
                        <a:pt x="5375" y="6488"/>
                      </a:moveTo>
                      <a:cubicBezTo>
                        <a:pt x="2303" y="6488"/>
                        <a:pt x="0" y="8567"/>
                        <a:pt x="0" y="13041"/>
                      </a:cubicBezTo>
                      <a:cubicBezTo>
                        <a:pt x="0" y="13041"/>
                        <a:pt x="0" y="21375"/>
                        <a:pt x="0" y="21375"/>
                      </a:cubicBezTo>
                      <a:lnTo>
                        <a:pt x="4669" y="21375"/>
                      </a:lnTo>
                      <a:lnTo>
                        <a:pt x="4669" y="13594"/>
                      </a:lnTo>
                      <a:cubicBezTo>
                        <a:pt x="4669" y="11639"/>
                        <a:pt x="5341" y="10303"/>
                        <a:pt x="7031" y="10303"/>
                      </a:cubicBezTo>
                      <a:cubicBezTo>
                        <a:pt x="8322" y="10303"/>
                        <a:pt x="9094" y="11209"/>
                        <a:pt x="9429" y="12075"/>
                      </a:cubicBezTo>
                      <a:cubicBezTo>
                        <a:pt x="9553" y="12387"/>
                        <a:pt x="9583" y="12812"/>
                        <a:pt x="9583" y="13247"/>
                      </a:cubicBezTo>
                      <a:lnTo>
                        <a:pt x="9583" y="21375"/>
                      </a:lnTo>
                      <a:lnTo>
                        <a:pt x="14252" y="21375"/>
                      </a:lnTo>
                      <a:cubicBezTo>
                        <a:pt x="14252" y="21375"/>
                        <a:pt x="14190" y="8196"/>
                        <a:pt x="14252" y="6834"/>
                      </a:cubicBezTo>
                      <a:lnTo>
                        <a:pt x="9583" y="6834"/>
                      </a:lnTo>
                      <a:lnTo>
                        <a:pt x="9583" y="8888"/>
                      </a:lnTo>
                      <a:cubicBezTo>
                        <a:pt x="9588" y="8902"/>
                        <a:pt x="9601" y="8924"/>
                        <a:pt x="9610" y="8934"/>
                      </a:cubicBezTo>
                      <a:lnTo>
                        <a:pt x="9583" y="8934"/>
                      </a:lnTo>
                      <a:lnTo>
                        <a:pt x="9583" y="8888"/>
                      </a:lnTo>
                      <a:cubicBezTo>
                        <a:pt x="8958" y="7893"/>
                        <a:pt x="7850" y="6488"/>
                        <a:pt x="5375" y="6488"/>
                      </a:cubicBezTo>
                      <a:close/>
                      <a:moveTo>
                        <a:pt x="16650" y="7050"/>
                      </a:moveTo>
                      <a:cubicBezTo>
                        <a:pt x="16650" y="7050"/>
                        <a:pt x="16650" y="21600"/>
                        <a:pt x="16650" y="21600"/>
                      </a:cubicBezTo>
                      <a:lnTo>
                        <a:pt x="21329" y="21600"/>
                      </a:lnTo>
                      <a:lnTo>
                        <a:pt x="21329" y="7050"/>
                      </a:lnTo>
                      <a:lnTo>
                        <a:pt x="16650" y="7050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40" name="íśļíḍê">
                  <a:extLst>
                    <a:ext uri="{FF2B5EF4-FFF2-40B4-BE49-F238E27FC236}">
                      <a16:creationId xmlns:a16="http://schemas.microsoft.com/office/drawing/2014/main" id="{755CAF5D-BC9C-4C21-956A-CBE1E8104A39}"/>
                    </a:ext>
                  </a:extLst>
                </p:cNvPr>
                <p:cNvSpPr/>
                <p:nvPr/>
              </p:nvSpPr>
              <p:spPr>
                <a:xfrm flipH="1">
                  <a:off x="4608266" y="2828115"/>
                  <a:ext cx="382861" cy="43478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443" h="21462" extrusionOk="0">
                      <a:moveTo>
                        <a:pt x="12766" y="12816"/>
                      </a:moveTo>
                      <a:lnTo>
                        <a:pt x="17505" y="8429"/>
                      </a:lnTo>
                      <a:cubicBezTo>
                        <a:pt x="17941" y="8358"/>
                        <a:pt x="18364" y="8236"/>
                        <a:pt x="18765" y="8059"/>
                      </a:cubicBezTo>
                      <a:cubicBezTo>
                        <a:pt x="18854" y="8020"/>
                        <a:pt x="18942" y="7978"/>
                        <a:pt x="19029" y="7935"/>
                      </a:cubicBezTo>
                      <a:cubicBezTo>
                        <a:pt x="20050" y="7416"/>
                        <a:pt x="20810" y="6598"/>
                        <a:pt x="21189" y="5607"/>
                      </a:cubicBezTo>
                      <a:cubicBezTo>
                        <a:pt x="21600" y="4530"/>
                        <a:pt x="21509" y="3377"/>
                        <a:pt x="20935" y="2360"/>
                      </a:cubicBezTo>
                      <a:cubicBezTo>
                        <a:pt x="20361" y="1344"/>
                        <a:pt x="19374" y="585"/>
                        <a:pt x="18152" y="224"/>
                      </a:cubicBezTo>
                      <a:cubicBezTo>
                        <a:pt x="16929" y="-138"/>
                        <a:pt x="15621" y="-58"/>
                        <a:pt x="14468" y="448"/>
                      </a:cubicBezTo>
                      <a:cubicBezTo>
                        <a:pt x="12442" y="1336"/>
                        <a:pt x="11393" y="3317"/>
                        <a:pt x="11932" y="5260"/>
                      </a:cubicBezTo>
                      <a:lnTo>
                        <a:pt x="13051" y="5020"/>
                      </a:lnTo>
                      <a:cubicBezTo>
                        <a:pt x="12639" y="3540"/>
                        <a:pt x="13430" y="2039"/>
                        <a:pt x="14981" y="1355"/>
                      </a:cubicBezTo>
                      <a:cubicBezTo>
                        <a:pt x="15859" y="972"/>
                        <a:pt x="16856" y="910"/>
                        <a:pt x="17785" y="1187"/>
                      </a:cubicBezTo>
                      <a:cubicBezTo>
                        <a:pt x="18713" y="1461"/>
                        <a:pt x="19469" y="2038"/>
                        <a:pt x="19903" y="2812"/>
                      </a:cubicBezTo>
                      <a:cubicBezTo>
                        <a:pt x="20340" y="3586"/>
                        <a:pt x="20410" y="4463"/>
                        <a:pt x="20097" y="5283"/>
                      </a:cubicBezTo>
                      <a:cubicBezTo>
                        <a:pt x="19941" y="5692"/>
                        <a:pt x="19701" y="6061"/>
                        <a:pt x="19390" y="6377"/>
                      </a:cubicBezTo>
                      <a:cubicBezTo>
                        <a:pt x="19372" y="6103"/>
                        <a:pt x="19059" y="5925"/>
                        <a:pt x="18486" y="5925"/>
                      </a:cubicBezTo>
                      <a:lnTo>
                        <a:pt x="6835" y="5925"/>
                      </a:lnTo>
                      <a:lnTo>
                        <a:pt x="4487" y="3936"/>
                      </a:lnTo>
                      <a:cubicBezTo>
                        <a:pt x="4150" y="3650"/>
                        <a:pt x="3564" y="3442"/>
                        <a:pt x="3096" y="3442"/>
                      </a:cubicBezTo>
                      <a:lnTo>
                        <a:pt x="577" y="3442"/>
                      </a:lnTo>
                      <a:cubicBezTo>
                        <a:pt x="258" y="3442"/>
                        <a:pt x="0" y="3668"/>
                        <a:pt x="0" y="3950"/>
                      </a:cubicBezTo>
                      <a:cubicBezTo>
                        <a:pt x="0" y="4231"/>
                        <a:pt x="258" y="4457"/>
                        <a:pt x="577" y="4457"/>
                      </a:cubicBezTo>
                      <a:lnTo>
                        <a:pt x="3096" y="4457"/>
                      </a:lnTo>
                      <a:cubicBezTo>
                        <a:pt x="3267" y="4457"/>
                        <a:pt x="3565" y="4564"/>
                        <a:pt x="3689" y="4667"/>
                      </a:cubicBezTo>
                      <a:lnTo>
                        <a:pt x="5175" y="5925"/>
                      </a:lnTo>
                      <a:lnTo>
                        <a:pt x="3502" y="5925"/>
                      </a:lnTo>
                      <a:cubicBezTo>
                        <a:pt x="2548" y="5925"/>
                        <a:pt x="2341" y="6389"/>
                        <a:pt x="3042" y="6959"/>
                      </a:cubicBezTo>
                      <a:lnTo>
                        <a:pt x="10306" y="12885"/>
                      </a:lnTo>
                      <a:cubicBezTo>
                        <a:pt x="10477" y="13025"/>
                        <a:pt x="10674" y="13128"/>
                        <a:pt x="10882" y="13196"/>
                      </a:cubicBezTo>
                      <a:lnTo>
                        <a:pt x="10882" y="19969"/>
                      </a:lnTo>
                      <a:lnTo>
                        <a:pt x="7511" y="21261"/>
                      </a:lnTo>
                      <a:cubicBezTo>
                        <a:pt x="7222" y="21372"/>
                        <a:pt x="7243" y="21462"/>
                        <a:pt x="7561" y="21462"/>
                      </a:cubicBezTo>
                      <a:lnTo>
                        <a:pt x="15552" y="21462"/>
                      </a:lnTo>
                      <a:cubicBezTo>
                        <a:pt x="15872" y="21462"/>
                        <a:pt x="15891" y="21374"/>
                        <a:pt x="15597" y="21268"/>
                      </a:cubicBezTo>
                      <a:lnTo>
                        <a:pt x="12033" y="19961"/>
                      </a:lnTo>
                      <a:lnTo>
                        <a:pt x="12033" y="13213"/>
                      </a:lnTo>
                      <a:cubicBezTo>
                        <a:pt x="12304" y="13138"/>
                        <a:pt x="12558" y="13008"/>
                        <a:pt x="12766" y="1281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41" name="ïṥľîḓè">
                  <a:extLst>
                    <a:ext uri="{FF2B5EF4-FFF2-40B4-BE49-F238E27FC236}">
                      <a16:creationId xmlns:a16="http://schemas.microsoft.com/office/drawing/2014/main" id="{E10DE8D3-F101-42AC-8592-06D154849F1A}"/>
                    </a:ext>
                  </a:extLst>
                </p:cNvPr>
                <p:cNvSpPr/>
                <p:nvPr/>
              </p:nvSpPr>
              <p:spPr>
                <a:xfrm flipH="1">
                  <a:off x="4649787" y="1562884"/>
                  <a:ext cx="347308" cy="14848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1304" y="5047"/>
                      </a:moveTo>
                      <a:cubicBezTo>
                        <a:pt x="11160" y="5339"/>
                        <a:pt x="10981" y="5487"/>
                        <a:pt x="10800" y="5487"/>
                      </a:cubicBezTo>
                      <a:cubicBezTo>
                        <a:pt x="10620" y="5487"/>
                        <a:pt x="10441" y="5339"/>
                        <a:pt x="10297" y="5046"/>
                      </a:cubicBezTo>
                      <a:lnTo>
                        <a:pt x="7832" y="0"/>
                      </a:lnTo>
                      <a:lnTo>
                        <a:pt x="0" y="20498"/>
                      </a:lnTo>
                      <a:cubicBezTo>
                        <a:pt x="469" y="21187"/>
                        <a:pt x="1020" y="21600"/>
                        <a:pt x="1615" y="21600"/>
                      </a:cubicBezTo>
                      <a:lnTo>
                        <a:pt x="19985" y="21600"/>
                      </a:lnTo>
                      <a:cubicBezTo>
                        <a:pt x="20581" y="21600"/>
                        <a:pt x="21131" y="21187"/>
                        <a:pt x="21600" y="20498"/>
                      </a:cubicBezTo>
                      <a:lnTo>
                        <a:pt x="13767" y="0"/>
                      </a:lnTo>
                      <a:cubicBezTo>
                        <a:pt x="13767" y="0"/>
                        <a:pt x="11304" y="5047"/>
                        <a:pt x="11304" y="5047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42" name="ïṥľïdè">
                  <a:extLst>
                    <a:ext uri="{FF2B5EF4-FFF2-40B4-BE49-F238E27FC236}">
                      <a16:creationId xmlns:a16="http://schemas.microsoft.com/office/drawing/2014/main" id="{CB11F9B4-27CD-4E41-9633-90BDFEB9D319}"/>
                    </a:ext>
                  </a:extLst>
                </p:cNvPr>
                <p:cNvSpPr/>
                <p:nvPr/>
              </p:nvSpPr>
              <p:spPr>
                <a:xfrm flipH="1">
                  <a:off x="4884331" y="1437555"/>
                  <a:ext cx="130668" cy="24675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2289"/>
                      </a:moveTo>
                      <a:lnTo>
                        <a:pt x="0" y="19528"/>
                      </a:lnTo>
                      <a:cubicBezTo>
                        <a:pt x="0" y="20283"/>
                        <a:pt x="399" y="20984"/>
                        <a:pt x="1045" y="21600"/>
                      </a:cubicBezTo>
                      <a:lnTo>
                        <a:pt x="21600" y="9419"/>
                      </a:lnTo>
                      <a:lnTo>
                        <a:pt x="1267" y="0"/>
                      </a:lnTo>
                      <a:cubicBezTo>
                        <a:pt x="477" y="666"/>
                        <a:pt x="0" y="1446"/>
                        <a:pt x="0" y="2289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43" name="íślíḑé">
                  <a:extLst>
                    <a:ext uri="{FF2B5EF4-FFF2-40B4-BE49-F238E27FC236}">
                      <a16:creationId xmlns:a16="http://schemas.microsoft.com/office/drawing/2014/main" id="{BBA86ED3-973D-4E7D-A9C1-CA30E93B9A53}"/>
                    </a:ext>
                  </a:extLst>
                </p:cNvPr>
                <p:cNvSpPr/>
                <p:nvPr/>
              </p:nvSpPr>
              <p:spPr>
                <a:xfrm flipH="1">
                  <a:off x="4621733" y="1437555"/>
                  <a:ext cx="130671" cy="24675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19528"/>
                      </a:moveTo>
                      <a:lnTo>
                        <a:pt x="21600" y="2289"/>
                      </a:lnTo>
                      <a:cubicBezTo>
                        <a:pt x="21600" y="1446"/>
                        <a:pt x="21122" y="666"/>
                        <a:pt x="20333" y="0"/>
                      </a:cubicBezTo>
                      <a:lnTo>
                        <a:pt x="0" y="9421"/>
                      </a:lnTo>
                      <a:lnTo>
                        <a:pt x="20552" y="21600"/>
                      </a:lnTo>
                      <a:cubicBezTo>
                        <a:pt x="21198" y="20984"/>
                        <a:pt x="21600" y="20283"/>
                        <a:pt x="21600" y="19528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44" name="íśľîḋè">
                  <a:extLst>
                    <a:ext uri="{FF2B5EF4-FFF2-40B4-BE49-F238E27FC236}">
                      <a16:creationId xmlns:a16="http://schemas.microsoft.com/office/drawing/2014/main" id="{74232DFD-351A-4C85-A723-3661CD9D38A4}"/>
                    </a:ext>
                  </a:extLst>
                </p:cNvPr>
                <p:cNvSpPr/>
                <p:nvPr/>
              </p:nvSpPr>
              <p:spPr>
                <a:xfrm flipH="1">
                  <a:off x="4648836" y="1413683"/>
                  <a:ext cx="342290" cy="15595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858"/>
                      </a:moveTo>
                      <a:lnTo>
                        <a:pt x="10800" y="21600"/>
                      </a:lnTo>
                      <a:lnTo>
                        <a:pt x="21600" y="858"/>
                      </a:lnTo>
                      <a:cubicBezTo>
                        <a:pt x="21157" y="326"/>
                        <a:pt x="20658" y="0"/>
                        <a:pt x="20119" y="0"/>
                      </a:cubicBezTo>
                      <a:lnTo>
                        <a:pt x="1480" y="0"/>
                      </a:lnTo>
                      <a:cubicBezTo>
                        <a:pt x="940" y="0"/>
                        <a:pt x="441" y="326"/>
                        <a:pt x="0" y="858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45" name="îSliḑe">
                  <a:extLst>
                    <a:ext uri="{FF2B5EF4-FFF2-40B4-BE49-F238E27FC236}">
                      <a16:creationId xmlns:a16="http://schemas.microsoft.com/office/drawing/2014/main" id="{DA1CF82E-A15C-433E-8BF3-D58E0E84B473}"/>
                    </a:ext>
                  </a:extLst>
                </p:cNvPr>
                <p:cNvSpPr/>
                <p:nvPr/>
              </p:nvSpPr>
              <p:spPr>
                <a:xfrm flipH="1">
                  <a:off x="4578463" y="2380509"/>
                  <a:ext cx="400727" cy="37154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94" h="21336" extrusionOk="0">
                      <a:moveTo>
                        <a:pt x="18665" y="6651"/>
                      </a:moveTo>
                      <a:cubicBezTo>
                        <a:pt x="17745" y="5323"/>
                        <a:pt x="16750" y="4642"/>
                        <a:pt x="15709" y="4626"/>
                      </a:cubicBezTo>
                      <a:cubicBezTo>
                        <a:pt x="15697" y="4626"/>
                        <a:pt x="15684" y="4626"/>
                        <a:pt x="15672" y="4626"/>
                      </a:cubicBezTo>
                      <a:cubicBezTo>
                        <a:pt x="14019" y="4626"/>
                        <a:pt x="12762" y="6306"/>
                        <a:pt x="12750" y="6324"/>
                      </a:cubicBezTo>
                      <a:lnTo>
                        <a:pt x="12355" y="5995"/>
                      </a:lnTo>
                      <a:cubicBezTo>
                        <a:pt x="12413" y="5917"/>
                        <a:pt x="13772" y="4093"/>
                        <a:pt x="15671" y="4093"/>
                      </a:cubicBezTo>
                      <a:cubicBezTo>
                        <a:pt x="15685" y="4093"/>
                        <a:pt x="15698" y="4093"/>
                        <a:pt x="15712" y="4093"/>
                      </a:cubicBezTo>
                      <a:cubicBezTo>
                        <a:pt x="16919" y="4110"/>
                        <a:pt x="18048" y="4864"/>
                        <a:pt x="19067" y="6334"/>
                      </a:cubicBezTo>
                      <a:cubicBezTo>
                        <a:pt x="19067" y="6334"/>
                        <a:pt x="18665" y="6651"/>
                        <a:pt x="18665" y="6651"/>
                      </a:cubicBezTo>
                      <a:close/>
                      <a:moveTo>
                        <a:pt x="18665" y="8517"/>
                      </a:moveTo>
                      <a:cubicBezTo>
                        <a:pt x="17745" y="7189"/>
                        <a:pt x="16750" y="6508"/>
                        <a:pt x="15709" y="6491"/>
                      </a:cubicBezTo>
                      <a:cubicBezTo>
                        <a:pt x="15697" y="6491"/>
                        <a:pt x="15684" y="6491"/>
                        <a:pt x="15672" y="6491"/>
                      </a:cubicBezTo>
                      <a:cubicBezTo>
                        <a:pt x="14019" y="6491"/>
                        <a:pt x="12762" y="8172"/>
                        <a:pt x="12750" y="8189"/>
                      </a:cubicBezTo>
                      <a:lnTo>
                        <a:pt x="12355" y="7861"/>
                      </a:lnTo>
                      <a:cubicBezTo>
                        <a:pt x="12413" y="7782"/>
                        <a:pt x="13772" y="5958"/>
                        <a:pt x="15671" y="5958"/>
                      </a:cubicBezTo>
                      <a:cubicBezTo>
                        <a:pt x="15685" y="5958"/>
                        <a:pt x="15698" y="5959"/>
                        <a:pt x="15712" y="5959"/>
                      </a:cubicBezTo>
                      <a:cubicBezTo>
                        <a:pt x="16919" y="5975"/>
                        <a:pt x="18048" y="6729"/>
                        <a:pt x="19067" y="8199"/>
                      </a:cubicBezTo>
                      <a:cubicBezTo>
                        <a:pt x="19067" y="8199"/>
                        <a:pt x="18665" y="8517"/>
                        <a:pt x="18665" y="8517"/>
                      </a:cubicBezTo>
                      <a:close/>
                      <a:moveTo>
                        <a:pt x="18665" y="10382"/>
                      </a:moveTo>
                      <a:cubicBezTo>
                        <a:pt x="17745" y="9054"/>
                        <a:pt x="16750" y="8373"/>
                        <a:pt x="15709" y="8357"/>
                      </a:cubicBezTo>
                      <a:cubicBezTo>
                        <a:pt x="14054" y="8350"/>
                        <a:pt x="12762" y="10037"/>
                        <a:pt x="12750" y="10055"/>
                      </a:cubicBezTo>
                      <a:lnTo>
                        <a:pt x="12355" y="9726"/>
                      </a:lnTo>
                      <a:cubicBezTo>
                        <a:pt x="12413" y="9648"/>
                        <a:pt x="13772" y="7824"/>
                        <a:pt x="15671" y="7824"/>
                      </a:cubicBezTo>
                      <a:cubicBezTo>
                        <a:pt x="15685" y="7824"/>
                        <a:pt x="15698" y="7824"/>
                        <a:pt x="15712" y="7824"/>
                      </a:cubicBezTo>
                      <a:cubicBezTo>
                        <a:pt x="16919" y="7841"/>
                        <a:pt x="18048" y="8595"/>
                        <a:pt x="19067" y="10065"/>
                      </a:cubicBezTo>
                      <a:cubicBezTo>
                        <a:pt x="19067" y="10065"/>
                        <a:pt x="18665" y="10382"/>
                        <a:pt x="18665" y="10382"/>
                      </a:cubicBezTo>
                      <a:close/>
                      <a:moveTo>
                        <a:pt x="8475" y="6651"/>
                      </a:moveTo>
                      <a:cubicBezTo>
                        <a:pt x="7554" y="5323"/>
                        <a:pt x="6559" y="4642"/>
                        <a:pt x="5518" y="4626"/>
                      </a:cubicBezTo>
                      <a:cubicBezTo>
                        <a:pt x="5506" y="4626"/>
                        <a:pt x="5493" y="4626"/>
                        <a:pt x="5480" y="4626"/>
                      </a:cubicBezTo>
                      <a:cubicBezTo>
                        <a:pt x="3828" y="4626"/>
                        <a:pt x="2571" y="6306"/>
                        <a:pt x="2559" y="6324"/>
                      </a:cubicBezTo>
                      <a:lnTo>
                        <a:pt x="2164" y="5995"/>
                      </a:lnTo>
                      <a:cubicBezTo>
                        <a:pt x="2222" y="5917"/>
                        <a:pt x="3581" y="4093"/>
                        <a:pt x="5480" y="4093"/>
                      </a:cubicBezTo>
                      <a:cubicBezTo>
                        <a:pt x="5494" y="4093"/>
                        <a:pt x="5508" y="4093"/>
                        <a:pt x="5522" y="4093"/>
                      </a:cubicBezTo>
                      <a:cubicBezTo>
                        <a:pt x="6729" y="4110"/>
                        <a:pt x="7858" y="4864"/>
                        <a:pt x="8877" y="6334"/>
                      </a:cubicBezTo>
                      <a:cubicBezTo>
                        <a:pt x="8877" y="6334"/>
                        <a:pt x="8475" y="6651"/>
                        <a:pt x="8475" y="6651"/>
                      </a:cubicBezTo>
                      <a:close/>
                      <a:moveTo>
                        <a:pt x="8475" y="8517"/>
                      </a:moveTo>
                      <a:cubicBezTo>
                        <a:pt x="7554" y="7189"/>
                        <a:pt x="6559" y="6508"/>
                        <a:pt x="5518" y="6491"/>
                      </a:cubicBezTo>
                      <a:cubicBezTo>
                        <a:pt x="5506" y="6491"/>
                        <a:pt x="5493" y="6491"/>
                        <a:pt x="5480" y="6491"/>
                      </a:cubicBezTo>
                      <a:cubicBezTo>
                        <a:pt x="3828" y="6491"/>
                        <a:pt x="2571" y="8172"/>
                        <a:pt x="2559" y="8189"/>
                      </a:cubicBezTo>
                      <a:lnTo>
                        <a:pt x="2164" y="7861"/>
                      </a:lnTo>
                      <a:cubicBezTo>
                        <a:pt x="2222" y="7782"/>
                        <a:pt x="3581" y="5958"/>
                        <a:pt x="5480" y="5958"/>
                      </a:cubicBezTo>
                      <a:cubicBezTo>
                        <a:pt x="5494" y="5958"/>
                        <a:pt x="5508" y="5959"/>
                        <a:pt x="5522" y="5959"/>
                      </a:cubicBezTo>
                      <a:cubicBezTo>
                        <a:pt x="6729" y="5975"/>
                        <a:pt x="7858" y="6729"/>
                        <a:pt x="8877" y="8199"/>
                      </a:cubicBezTo>
                      <a:cubicBezTo>
                        <a:pt x="8877" y="8199"/>
                        <a:pt x="8475" y="8517"/>
                        <a:pt x="8475" y="8517"/>
                      </a:cubicBezTo>
                      <a:close/>
                      <a:moveTo>
                        <a:pt x="8475" y="10382"/>
                      </a:moveTo>
                      <a:cubicBezTo>
                        <a:pt x="7554" y="9054"/>
                        <a:pt x="6559" y="8373"/>
                        <a:pt x="5518" y="8357"/>
                      </a:cubicBezTo>
                      <a:cubicBezTo>
                        <a:pt x="5506" y="8357"/>
                        <a:pt x="5493" y="8357"/>
                        <a:pt x="5480" y="8357"/>
                      </a:cubicBezTo>
                      <a:cubicBezTo>
                        <a:pt x="3828" y="8357"/>
                        <a:pt x="2571" y="10037"/>
                        <a:pt x="2559" y="10055"/>
                      </a:cubicBezTo>
                      <a:lnTo>
                        <a:pt x="2164" y="9726"/>
                      </a:lnTo>
                      <a:cubicBezTo>
                        <a:pt x="2222" y="9648"/>
                        <a:pt x="3581" y="7824"/>
                        <a:pt x="5480" y="7824"/>
                      </a:cubicBezTo>
                      <a:cubicBezTo>
                        <a:pt x="5494" y="7824"/>
                        <a:pt x="5508" y="7824"/>
                        <a:pt x="5522" y="7824"/>
                      </a:cubicBezTo>
                      <a:cubicBezTo>
                        <a:pt x="6729" y="7841"/>
                        <a:pt x="7858" y="8595"/>
                        <a:pt x="8877" y="10065"/>
                      </a:cubicBezTo>
                      <a:cubicBezTo>
                        <a:pt x="8877" y="10065"/>
                        <a:pt x="8475" y="10382"/>
                        <a:pt x="8475" y="10382"/>
                      </a:cubicBezTo>
                      <a:close/>
                      <a:moveTo>
                        <a:pt x="20790" y="21336"/>
                      </a:moveTo>
                      <a:cubicBezTo>
                        <a:pt x="20896" y="21336"/>
                        <a:pt x="21001" y="21308"/>
                        <a:pt x="21106" y="21266"/>
                      </a:cubicBezTo>
                      <a:cubicBezTo>
                        <a:pt x="21396" y="21139"/>
                        <a:pt x="21581" y="20830"/>
                        <a:pt x="21581" y="20493"/>
                      </a:cubicBezTo>
                      <a:lnTo>
                        <a:pt x="21581" y="4244"/>
                      </a:lnTo>
                      <a:cubicBezTo>
                        <a:pt x="21594" y="4187"/>
                        <a:pt x="21594" y="4117"/>
                        <a:pt x="21594" y="4061"/>
                      </a:cubicBezTo>
                      <a:cubicBezTo>
                        <a:pt x="21594" y="3780"/>
                        <a:pt x="21527" y="3626"/>
                        <a:pt x="21027" y="3008"/>
                      </a:cubicBezTo>
                      <a:cubicBezTo>
                        <a:pt x="20816" y="2699"/>
                        <a:pt x="20421" y="2250"/>
                        <a:pt x="19920" y="1801"/>
                      </a:cubicBezTo>
                      <a:cubicBezTo>
                        <a:pt x="18338" y="381"/>
                        <a:pt x="16586" y="-222"/>
                        <a:pt x="14912" y="72"/>
                      </a:cubicBezTo>
                      <a:cubicBezTo>
                        <a:pt x="12751" y="451"/>
                        <a:pt x="11486" y="1561"/>
                        <a:pt x="10801" y="2460"/>
                      </a:cubicBezTo>
                      <a:cubicBezTo>
                        <a:pt x="10102" y="1561"/>
                        <a:pt x="8837" y="451"/>
                        <a:pt x="6689" y="72"/>
                      </a:cubicBezTo>
                      <a:cubicBezTo>
                        <a:pt x="6412" y="16"/>
                        <a:pt x="6122" y="2"/>
                        <a:pt x="5846" y="2"/>
                      </a:cubicBezTo>
                      <a:cubicBezTo>
                        <a:pt x="3921" y="2"/>
                        <a:pt x="2076" y="1126"/>
                        <a:pt x="337" y="3345"/>
                      </a:cubicBezTo>
                      <a:lnTo>
                        <a:pt x="324" y="3359"/>
                      </a:lnTo>
                      <a:cubicBezTo>
                        <a:pt x="192" y="3457"/>
                        <a:pt x="99" y="3597"/>
                        <a:pt x="46" y="3766"/>
                      </a:cubicBezTo>
                      <a:cubicBezTo>
                        <a:pt x="-6" y="3921"/>
                        <a:pt x="-6" y="4047"/>
                        <a:pt x="7" y="4160"/>
                      </a:cubicBezTo>
                      <a:lnTo>
                        <a:pt x="7" y="20479"/>
                      </a:lnTo>
                      <a:cubicBezTo>
                        <a:pt x="7" y="20816"/>
                        <a:pt x="192" y="21125"/>
                        <a:pt x="482" y="21251"/>
                      </a:cubicBezTo>
                      <a:cubicBezTo>
                        <a:pt x="772" y="21378"/>
                        <a:pt x="1114" y="21322"/>
                        <a:pt x="1338" y="21083"/>
                      </a:cubicBezTo>
                      <a:cubicBezTo>
                        <a:pt x="1365" y="21041"/>
                        <a:pt x="4436" y="17951"/>
                        <a:pt x="6965" y="17951"/>
                      </a:cubicBezTo>
                      <a:cubicBezTo>
                        <a:pt x="9219" y="17951"/>
                        <a:pt x="10009" y="20605"/>
                        <a:pt x="10036" y="20718"/>
                      </a:cubicBezTo>
                      <a:cubicBezTo>
                        <a:pt x="10036" y="20732"/>
                        <a:pt x="10049" y="20732"/>
                        <a:pt x="10049" y="20746"/>
                      </a:cubicBezTo>
                      <a:cubicBezTo>
                        <a:pt x="10049" y="20760"/>
                        <a:pt x="10062" y="20788"/>
                        <a:pt x="10076" y="20802"/>
                      </a:cubicBezTo>
                      <a:cubicBezTo>
                        <a:pt x="10089" y="20830"/>
                        <a:pt x="10102" y="20859"/>
                        <a:pt x="10115" y="20886"/>
                      </a:cubicBezTo>
                      <a:cubicBezTo>
                        <a:pt x="10129" y="20900"/>
                        <a:pt x="10129" y="20914"/>
                        <a:pt x="10142" y="20929"/>
                      </a:cubicBezTo>
                      <a:cubicBezTo>
                        <a:pt x="10155" y="20956"/>
                        <a:pt x="10181" y="20985"/>
                        <a:pt x="10194" y="21012"/>
                      </a:cubicBezTo>
                      <a:cubicBezTo>
                        <a:pt x="10208" y="21027"/>
                        <a:pt x="10208" y="21041"/>
                        <a:pt x="10221" y="21041"/>
                      </a:cubicBezTo>
                      <a:lnTo>
                        <a:pt x="10313" y="21139"/>
                      </a:lnTo>
                      <a:cubicBezTo>
                        <a:pt x="10339" y="21168"/>
                        <a:pt x="10379" y="21195"/>
                        <a:pt x="10405" y="21209"/>
                      </a:cubicBezTo>
                      <a:cubicBezTo>
                        <a:pt x="10405" y="21209"/>
                        <a:pt x="10419" y="21209"/>
                        <a:pt x="10419" y="21223"/>
                      </a:cubicBezTo>
                      <a:cubicBezTo>
                        <a:pt x="10537" y="21293"/>
                        <a:pt x="10669" y="21336"/>
                        <a:pt x="10801" y="21336"/>
                      </a:cubicBezTo>
                      <a:lnTo>
                        <a:pt x="10906" y="21336"/>
                      </a:lnTo>
                      <a:cubicBezTo>
                        <a:pt x="10919" y="21336"/>
                        <a:pt x="10932" y="21336"/>
                        <a:pt x="10946" y="21322"/>
                      </a:cubicBezTo>
                      <a:cubicBezTo>
                        <a:pt x="10959" y="21322"/>
                        <a:pt x="10972" y="21322"/>
                        <a:pt x="10985" y="21308"/>
                      </a:cubicBezTo>
                      <a:cubicBezTo>
                        <a:pt x="11012" y="21293"/>
                        <a:pt x="11051" y="21293"/>
                        <a:pt x="11077" y="21280"/>
                      </a:cubicBezTo>
                      <a:cubicBezTo>
                        <a:pt x="11091" y="21280"/>
                        <a:pt x="11104" y="21266"/>
                        <a:pt x="11104" y="21266"/>
                      </a:cubicBezTo>
                      <a:cubicBezTo>
                        <a:pt x="11130" y="21251"/>
                        <a:pt x="11170" y="21237"/>
                        <a:pt x="11196" y="21209"/>
                      </a:cubicBezTo>
                      <a:cubicBezTo>
                        <a:pt x="11209" y="21209"/>
                        <a:pt x="11209" y="21196"/>
                        <a:pt x="11222" y="21196"/>
                      </a:cubicBezTo>
                      <a:cubicBezTo>
                        <a:pt x="11249" y="21181"/>
                        <a:pt x="11275" y="21154"/>
                        <a:pt x="11301" y="21125"/>
                      </a:cubicBezTo>
                      <a:lnTo>
                        <a:pt x="11394" y="21027"/>
                      </a:lnTo>
                      <a:cubicBezTo>
                        <a:pt x="11407" y="21012"/>
                        <a:pt x="11407" y="20999"/>
                        <a:pt x="11420" y="20985"/>
                      </a:cubicBezTo>
                      <a:cubicBezTo>
                        <a:pt x="11434" y="20956"/>
                        <a:pt x="11460" y="20929"/>
                        <a:pt x="11472" y="20900"/>
                      </a:cubicBezTo>
                      <a:cubicBezTo>
                        <a:pt x="11486" y="20886"/>
                        <a:pt x="11486" y="20859"/>
                        <a:pt x="11499" y="20844"/>
                      </a:cubicBezTo>
                      <a:cubicBezTo>
                        <a:pt x="11512" y="20816"/>
                        <a:pt x="11525" y="20788"/>
                        <a:pt x="11525" y="20760"/>
                      </a:cubicBezTo>
                      <a:cubicBezTo>
                        <a:pt x="11525" y="20746"/>
                        <a:pt x="11538" y="20746"/>
                        <a:pt x="11538" y="20732"/>
                      </a:cubicBezTo>
                      <a:cubicBezTo>
                        <a:pt x="11565" y="20620"/>
                        <a:pt x="12355" y="17965"/>
                        <a:pt x="14609" y="17965"/>
                      </a:cubicBezTo>
                      <a:cubicBezTo>
                        <a:pt x="17140" y="17965"/>
                        <a:pt x="20223" y="21055"/>
                        <a:pt x="20249" y="21097"/>
                      </a:cubicBezTo>
                      <a:cubicBezTo>
                        <a:pt x="20394" y="21251"/>
                        <a:pt x="20593" y="21336"/>
                        <a:pt x="20790" y="2133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46" name="iŝḻíḋe">
                  <a:extLst>
                    <a:ext uri="{FF2B5EF4-FFF2-40B4-BE49-F238E27FC236}">
                      <a16:creationId xmlns:a16="http://schemas.microsoft.com/office/drawing/2014/main" id="{65E31B8A-BE86-4D75-8BB3-109BB7B21F2E}"/>
                    </a:ext>
                  </a:extLst>
                </p:cNvPr>
                <p:cNvSpPr/>
                <p:nvPr/>
              </p:nvSpPr>
              <p:spPr>
                <a:xfrm flipH="1">
                  <a:off x="5219710" y="3072805"/>
                  <a:ext cx="39979" cy="4899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12799"/>
                      </a:moveTo>
                      <a:lnTo>
                        <a:pt x="21600" y="8800"/>
                      </a:lnTo>
                      <a:cubicBezTo>
                        <a:pt x="21600" y="3925"/>
                        <a:pt x="16749" y="0"/>
                        <a:pt x="10785" y="0"/>
                      </a:cubicBezTo>
                      <a:cubicBezTo>
                        <a:pt x="4821" y="0"/>
                        <a:pt x="0" y="3925"/>
                        <a:pt x="0" y="8800"/>
                      </a:cubicBezTo>
                      <a:lnTo>
                        <a:pt x="0" y="12799"/>
                      </a:lnTo>
                      <a:cubicBezTo>
                        <a:pt x="0" y="17651"/>
                        <a:pt x="4821" y="21600"/>
                        <a:pt x="10785" y="21600"/>
                      </a:cubicBezTo>
                      <a:cubicBezTo>
                        <a:pt x="16749" y="21600"/>
                        <a:pt x="21600" y="17651"/>
                        <a:pt x="21600" y="12799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47" name="îS1îďé">
                  <a:extLst>
                    <a:ext uri="{FF2B5EF4-FFF2-40B4-BE49-F238E27FC236}">
                      <a16:creationId xmlns:a16="http://schemas.microsoft.com/office/drawing/2014/main" id="{6F2A9044-D581-4A67-A697-912ADCAD7B71}"/>
                    </a:ext>
                  </a:extLst>
                </p:cNvPr>
                <p:cNvSpPr/>
                <p:nvPr/>
              </p:nvSpPr>
              <p:spPr>
                <a:xfrm flipH="1">
                  <a:off x="5041674" y="3108613"/>
                  <a:ext cx="391090" cy="12382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8939" y="968"/>
                      </a:moveTo>
                      <a:lnTo>
                        <a:pt x="1339" y="968"/>
                      </a:lnTo>
                      <a:cubicBezTo>
                        <a:pt x="860" y="968"/>
                        <a:pt x="407" y="613"/>
                        <a:pt x="0" y="0"/>
                      </a:cubicBezTo>
                      <a:lnTo>
                        <a:pt x="0" y="15941"/>
                      </a:lnTo>
                      <a:cubicBezTo>
                        <a:pt x="0" y="19050"/>
                        <a:pt x="805" y="21600"/>
                        <a:pt x="1791" y="21600"/>
                      </a:cubicBezTo>
                      <a:lnTo>
                        <a:pt x="19809" y="21600"/>
                      </a:lnTo>
                      <a:cubicBezTo>
                        <a:pt x="20795" y="21600"/>
                        <a:pt x="21600" y="19050"/>
                        <a:pt x="21600" y="15941"/>
                      </a:cubicBezTo>
                      <a:lnTo>
                        <a:pt x="21600" y="7"/>
                      </a:lnTo>
                      <a:cubicBezTo>
                        <a:pt x="21193" y="613"/>
                        <a:pt x="20740" y="968"/>
                        <a:pt x="20261" y="968"/>
                      </a:cubicBezTo>
                      <a:lnTo>
                        <a:pt x="12661" y="968"/>
                      </a:lnTo>
                      <a:cubicBezTo>
                        <a:pt x="12416" y="3495"/>
                        <a:pt x="11680" y="5351"/>
                        <a:pt x="10800" y="5351"/>
                      </a:cubicBezTo>
                      <a:cubicBezTo>
                        <a:pt x="9920" y="5351"/>
                        <a:pt x="9184" y="3495"/>
                        <a:pt x="8939" y="968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48" name="îsliḍê">
                  <a:extLst>
                    <a:ext uri="{FF2B5EF4-FFF2-40B4-BE49-F238E27FC236}">
                      <a16:creationId xmlns:a16="http://schemas.microsoft.com/office/drawing/2014/main" id="{949AF8E0-070D-4ADF-818F-2263818F8018}"/>
                    </a:ext>
                  </a:extLst>
                </p:cNvPr>
                <p:cNvSpPr/>
                <p:nvPr/>
              </p:nvSpPr>
              <p:spPr>
                <a:xfrm flipH="1">
                  <a:off x="5037227" y="2899731"/>
                  <a:ext cx="407473" cy="19173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7573" y="5852"/>
                      </a:moveTo>
                      <a:cubicBezTo>
                        <a:pt x="7794" y="4449"/>
                        <a:pt x="8411" y="3421"/>
                        <a:pt x="9146" y="3421"/>
                      </a:cubicBezTo>
                      <a:lnTo>
                        <a:pt x="12455" y="3421"/>
                      </a:lnTo>
                      <a:cubicBezTo>
                        <a:pt x="13189" y="3421"/>
                        <a:pt x="13807" y="4449"/>
                        <a:pt x="14027" y="5852"/>
                      </a:cubicBezTo>
                      <a:cubicBezTo>
                        <a:pt x="14027" y="5852"/>
                        <a:pt x="7573" y="5852"/>
                        <a:pt x="7573" y="5852"/>
                      </a:cubicBezTo>
                      <a:close/>
                      <a:moveTo>
                        <a:pt x="21600" y="9511"/>
                      </a:moveTo>
                      <a:cubicBezTo>
                        <a:pt x="21600" y="7500"/>
                        <a:pt x="20795" y="5852"/>
                        <a:pt x="19810" y="5852"/>
                      </a:cubicBezTo>
                      <a:lnTo>
                        <a:pt x="15682" y="5852"/>
                      </a:lnTo>
                      <a:cubicBezTo>
                        <a:pt x="15433" y="2543"/>
                        <a:pt x="14081" y="0"/>
                        <a:pt x="12455" y="0"/>
                      </a:cubicBezTo>
                      <a:lnTo>
                        <a:pt x="9146" y="0"/>
                      </a:lnTo>
                      <a:cubicBezTo>
                        <a:pt x="7518" y="0"/>
                        <a:pt x="6167" y="2543"/>
                        <a:pt x="5918" y="5852"/>
                      </a:cubicBezTo>
                      <a:lnTo>
                        <a:pt x="1790" y="5852"/>
                      </a:lnTo>
                      <a:cubicBezTo>
                        <a:pt x="806" y="5852"/>
                        <a:pt x="0" y="7500"/>
                        <a:pt x="0" y="9511"/>
                      </a:cubicBezTo>
                      <a:lnTo>
                        <a:pt x="0" y="17941"/>
                      </a:lnTo>
                      <a:cubicBezTo>
                        <a:pt x="0" y="19964"/>
                        <a:pt x="771" y="21600"/>
                        <a:pt x="1719" y="21600"/>
                      </a:cubicBezTo>
                      <a:lnTo>
                        <a:pt x="8934" y="21600"/>
                      </a:lnTo>
                      <a:cubicBezTo>
                        <a:pt x="8957" y="20547"/>
                        <a:pt x="9171" y="19602"/>
                        <a:pt x="9506" y="18920"/>
                      </a:cubicBezTo>
                      <a:cubicBezTo>
                        <a:pt x="9515" y="18896"/>
                        <a:pt x="9528" y="18883"/>
                        <a:pt x="9538" y="18861"/>
                      </a:cubicBezTo>
                      <a:cubicBezTo>
                        <a:pt x="9614" y="18720"/>
                        <a:pt x="9691" y="18582"/>
                        <a:pt x="9776" y="18460"/>
                      </a:cubicBezTo>
                      <a:cubicBezTo>
                        <a:pt x="9805" y="18419"/>
                        <a:pt x="9841" y="18388"/>
                        <a:pt x="9872" y="18349"/>
                      </a:cubicBezTo>
                      <a:cubicBezTo>
                        <a:pt x="9942" y="18264"/>
                        <a:pt x="10011" y="18174"/>
                        <a:pt x="10084" y="18113"/>
                      </a:cubicBezTo>
                      <a:cubicBezTo>
                        <a:pt x="10143" y="18059"/>
                        <a:pt x="10208" y="18026"/>
                        <a:pt x="10268" y="17992"/>
                      </a:cubicBezTo>
                      <a:cubicBezTo>
                        <a:pt x="10323" y="17956"/>
                        <a:pt x="10374" y="17911"/>
                        <a:pt x="10428" y="17888"/>
                      </a:cubicBezTo>
                      <a:cubicBezTo>
                        <a:pt x="10548" y="17835"/>
                        <a:pt x="10674" y="17809"/>
                        <a:pt x="10800" y="17809"/>
                      </a:cubicBezTo>
                      <a:cubicBezTo>
                        <a:pt x="10929" y="17809"/>
                        <a:pt x="11052" y="17835"/>
                        <a:pt x="11172" y="17888"/>
                      </a:cubicBezTo>
                      <a:cubicBezTo>
                        <a:pt x="11227" y="17911"/>
                        <a:pt x="11277" y="17956"/>
                        <a:pt x="11332" y="17992"/>
                      </a:cubicBezTo>
                      <a:cubicBezTo>
                        <a:pt x="11392" y="18026"/>
                        <a:pt x="11456" y="18059"/>
                        <a:pt x="11514" y="18113"/>
                      </a:cubicBezTo>
                      <a:cubicBezTo>
                        <a:pt x="11590" y="18178"/>
                        <a:pt x="11658" y="18264"/>
                        <a:pt x="11728" y="18349"/>
                      </a:cubicBezTo>
                      <a:cubicBezTo>
                        <a:pt x="11759" y="18388"/>
                        <a:pt x="11793" y="18419"/>
                        <a:pt x="11824" y="18460"/>
                      </a:cubicBezTo>
                      <a:cubicBezTo>
                        <a:pt x="11908" y="18582"/>
                        <a:pt x="11987" y="18720"/>
                        <a:pt x="12060" y="18861"/>
                      </a:cubicBezTo>
                      <a:cubicBezTo>
                        <a:pt x="12070" y="18883"/>
                        <a:pt x="12083" y="18896"/>
                        <a:pt x="12094" y="18920"/>
                      </a:cubicBezTo>
                      <a:cubicBezTo>
                        <a:pt x="12429" y="19606"/>
                        <a:pt x="12641" y="20547"/>
                        <a:pt x="12666" y="21600"/>
                      </a:cubicBezTo>
                      <a:lnTo>
                        <a:pt x="19881" y="21600"/>
                      </a:lnTo>
                      <a:cubicBezTo>
                        <a:pt x="20830" y="21600"/>
                        <a:pt x="21600" y="19964"/>
                        <a:pt x="21600" y="17947"/>
                      </a:cubicBezTo>
                      <a:cubicBezTo>
                        <a:pt x="21600" y="17947"/>
                        <a:pt x="21600" y="9511"/>
                        <a:pt x="21600" y="9511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49" name="iSļïďe">
                  <a:extLst>
                    <a:ext uri="{FF2B5EF4-FFF2-40B4-BE49-F238E27FC236}">
                      <a16:creationId xmlns:a16="http://schemas.microsoft.com/office/drawing/2014/main" id="{0D8640B9-42A1-4DE8-9591-48B85F7A95F1}"/>
                    </a:ext>
                  </a:extLst>
                </p:cNvPr>
                <p:cNvSpPr/>
                <p:nvPr/>
              </p:nvSpPr>
              <p:spPr>
                <a:xfrm flipH="1">
                  <a:off x="4138266" y="4051568"/>
                  <a:ext cx="172501" cy="15950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45" h="20829" extrusionOk="0">
                      <a:moveTo>
                        <a:pt x="20454" y="14769"/>
                      </a:moveTo>
                      <a:cubicBezTo>
                        <a:pt x="19922" y="14495"/>
                        <a:pt x="17314" y="13164"/>
                        <a:pt x="16831" y="12980"/>
                      </a:cubicBezTo>
                      <a:cubicBezTo>
                        <a:pt x="16344" y="12798"/>
                        <a:pt x="15988" y="12706"/>
                        <a:pt x="15638" y="13255"/>
                      </a:cubicBezTo>
                      <a:cubicBezTo>
                        <a:pt x="15283" y="13804"/>
                        <a:pt x="14268" y="15044"/>
                        <a:pt x="13957" y="15411"/>
                      </a:cubicBezTo>
                      <a:cubicBezTo>
                        <a:pt x="13649" y="15780"/>
                        <a:pt x="13340" y="15825"/>
                        <a:pt x="12809" y="15549"/>
                      </a:cubicBezTo>
                      <a:cubicBezTo>
                        <a:pt x="12280" y="15274"/>
                        <a:pt x="10571" y="14692"/>
                        <a:pt x="8545" y="12822"/>
                      </a:cubicBezTo>
                      <a:cubicBezTo>
                        <a:pt x="6971" y="11361"/>
                        <a:pt x="5907" y="9561"/>
                        <a:pt x="5596" y="9012"/>
                      </a:cubicBezTo>
                      <a:cubicBezTo>
                        <a:pt x="5288" y="8463"/>
                        <a:pt x="5567" y="8164"/>
                        <a:pt x="5829" y="7890"/>
                      </a:cubicBezTo>
                      <a:cubicBezTo>
                        <a:pt x="6068" y="7642"/>
                        <a:pt x="6359" y="7248"/>
                        <a:pt x="6626" y="6927"/>
                      </a:cubicBezTo>
                      <a:cubicBezTo>
                        <a:pt x="6890" y="6605"/>
                        <a:pt x="6977" y="6376"/>
                        <a:pt x="7155" y="6008"/>
                      </a:cubicBezTo>
                      <a:cubicBezTo>
                        <a:pt x="7332" y="5642"/>
                        <a:pt x="7244" y="5322"/>
                        <a:pt x="7109" y="5047"/>
                      </a:cubicBezTo>
                      <a:cubicBezTo>
                        <a:pt x="6977" y="4773"/>
                        <a:pt x="5917" y="2065"/>
                        <a:pt x="5475" y="963"/>
                      </a:cubicBezTo>
                      <a:cubicBezTo>
                        <a:pt x="5035" y="-135"/>
                        <a:pt x="4593" y="46"/>
                        <a:pt x="4282" y="46"/>
                      </a:cubicBezTo>
                      <a:cubicBezTo>
                        <a:pt x="3974" y="46"/>
                        <a:pt x="3621" y="0"/>
                        <a:pt x="3267" y="0"/>
                      </a:cubicBezTo>
                      <a:cubicBezTo>
                        <a:pt x="2912" y="0"/>
                        <a:pt x="2339" y="140"/>
                        <a:pt x="1853" y="689"/>
                      </a:cubicBezTo>
                      <a:cubicBezTo>
                        <a:pt x="1368" y="1237"/>
                        <a:pt x="0" y="2571"/>
                        <a:pt x="0" y="5273"/>
                      </a:cubicBezTo>
                      <a:cubicBezTo>
                        <a:pt x="0" y="7981"/>
                        <a:pt x="1897" y="10598"/>
                        <a:pt x="2162" y="10961"/>
                      </a:cubicBezTo>
                      <a:cubicBezTo>
                        <a:pt x="2429" y="11329"/>
                        <a:pt x="5829" y="17063"/>
                        <a:pt x="11218" y="19265"/>
                      </a:cubicBezTo>
                      <a:cubicBezTo>
                        <a:pt x="16607" y="21465"/>
                        <a:pt x="16607" y="20731"/>
                        <a:pt x="17580" y="20639"/>
                      </a:cubicBezTo>
                      <a:cubicBezTo>
                        <a:pt x="18550" y="20550"/>
                        <a:pt x="20716" y="19311"/>
                        <a:pt x="21158" y="18026"/>
                      </a:cubicBezTo>
                      <a:cubicBezTo>
                        <a:pt x="21600" y="16740"/>
                        <a:pt x="21600" y="15640"/>
                        <a:pt x="21469" y="15411"/>
                      </a:cubicBezTo>
                      <a:cubicBezTo>
                        <a:pt x="21335" y="15181"/>
                        <a:pt x="20981" y="15044"/>
                        <a:pt x="20454" y="14769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50" name="îṡlïḓé">
                  <a:extLst>
                    <a:ext uri="{FF2B5EF4-FFF2-40B4-BE49-F238E27FC236}">
                      <a16:creationId xmlns:a16="http://schemas.microsoft.com/office/drawing/2014/main" id="{FD4DD965-7391-413F-830A-8E4C304CDB02}"/>
                    </a:ext>
                  </a:extLst>
                </p:cNvPr>
                <p:cNvSpPr/>
                <p:nvPr/>
              </p:nvSpPr>
              <p:spPr>
                <a:xfrm flipH="1">
                  <a:off x="4053556" y="3956079"/>
                  <a:ext cx="352700" cy="35270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996" y="19367"/>
                      </a:moveTo>
                      <a:cubicBezTo>
                        <a:pt x="9185" y="19367"/>
                        <a:pt x="7498" y="18828"/>
                        <a:pt x="6092" y="17905"/>
                      </a:cubicBezTo>
                      <a:lnTo>
                        <a:pt x="2666" y="18994"/>
                      </a:lnTo>
                      <a:lnTo>
                        <a:pt x="3779" y="15709"/>
                      </a:lnTo>
                      <a:cubicBezTo>
                        <a:pt x="2711" y="14250"/>
                        <a:pt x="2082" y="12457"/>
                        <a:pt x="2082" y="10522"/>
                      </a:cubicBezTo>
                      <a:cubicBezTo>
                        <a:pt x="2082" y="5644"/>
                        <a:pt x="6080" y="1676"/>
                        <a:pt x="10996" y="1676"/>
                      </a:cubicBezTo>
                      <a:cubicBezTo>
                        <a:pt x="15912" y="1676"/>
                        <a:pt x="19910" y="5644"/>
                        <a:pt x="19910" y="10522"/>
                      </a:cubicBezTo>
                      <a:cubicBezTo>
                        <a:pt x="19910" y="15400"/>
                        <a:pt x="15912" y="19367"/>
                        <a:pt x="10996" y="19367"/>
                      </a:cubicBezTo>
                      <a:close/>
                      <a:moveTo>
                        <a:pt x="10996" y="0"/>
                      </a:moveTo>
                      <a:cubicBezTo>
                        <a:pt x="5139" y="0"/>
                        <a:pt x="393" y="4711"/>
                        <a:pt x="393" y="10522"/>
                      </a:cubicBezTo>
                      <a:cubicBezTo>
                        <a:pt x="393" y="12510"/>
                        <a:pt x="948" y="14370"/>
                        <a:pt x="1915" y="15955"/>
                      </a:cubicBezTo>
                      <a:lnTo>
                        <a:pt x="0" y="21600"/>
                      </a:lnTo>
                      <a:lnTo>
                        <a:pt x="5871" y="19734"/>
                      </a:lnTo>
                      <a:cubicBezTo>
                        <a:pt x="7390" y="20569"/>
                        <a:pt x="9137" y="21042"/>
                        <a:pt x="10996" y="21042"/>
                      </a:cubicBezTo>
                      <a:cubicBezTo>
                        <a:pt x="16852" y="21042"/>
                        <a:pt x="21600" y="16332"/>
                        <a:pt x="21600" y="10522"/>
                      </a:cubicBezTo>
                      <a:cubicBezTo>
                        <a:pt x="21600" y="4711"/>
                        <a:pt x="16852" y="0"/>
                        <a:pt x="10996" y="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70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51" name="iṧḻíḓè">
                  <a:extLst>
                    <a:ext uri="{FF2B5EF4-FFF2-40B4-BE49-F238E27FC236}">
                      <a16:creationId xmlns:a16="http://schemas.microsoft.com/office/drawing/2014/main" id="{512CB3AD-018C-45C8-994D-43C982943414}"/>
                    </a:ext>
                  </a:extLst>
                </p:cNvPr>
                <p:cNvSpPr/>
                <p:nvPr/>
              </p:nvSpPr>
              <p:spPr>
                <a:xfrm flipH="1">
                  <a:off x="5070243" y="2410350"/>
                  <a:ext cx="314776" cy="31476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21" y="17493"/>
                      </a:moveTo>
                      <a:cubicBezTo>
                        <a:pt x="14528" y="17493"/>
                        <a:pt x="17535" y="14580"/>
                        <a:pt x="17535" y="10987"/>
                      </a:cubicBezTo>
                      <a:cubicBezTo>
                        <a:pt x="17535" y="10343"/>
                        <a:pt x="17437" y="9721"/>
                        <a:pt x="17258" y="9134"/>
                      </a:cubicBezTo>
                      <a:lnTo>
                        <a:pt x="19159" y="9134"/>
                      </a:lnTo>
                      <a:lnTo>
                        <a:pt x="19159" y="18259"/>
                      </a:lnTo>
                      <a:cubicBezTo>
                        <a:pt x="19159" y="18731"/>
                        <a:pt x="18774" y="19118"/>
                        <a:pt x="18301" y="19118"/>
                      </a:cubicBezTo>
                      <a:lnTo>
                        <a:pt x="3259" y="19118"/>
                      </a:lnTo>
                      <a:cubicBezTo>
                        <a:pt x="2786" y="19118"/>
                        <a:pt x="2401" y="18731"/>
                        <a:pt x="2401" y="18259"/>
                      </a:cubicBezTo>
                      <a:lnTo>
                        <a:pt x="2401" y="9134"/>
                      </a:lnTo>
                      <a:lnTo>
                        <a:pt x="4384" y="9134"/>
                      </a:lnTo>
                      <a:cubicBezTo>
                        <a:pt x="4204" y="9721"/>
                        <a:pt x="4107" y="10343"/>
                        <a:pt x="4107" y="10987"/>
                      </a:cubicBezTo>
                      <a:cubicBezTo>
                        <a:pt x="4107" y="14580"/>
                        <a:pt x="7113" y="17493"/>
                        <a:pt x="10821" y="17493"/>
                      </a:cubicBezTo>
                      <a:close/>
                      <a:moveTo>
                        <a:pt x="10821" y="6549"/>
                      </a:moveTo>
                      <a:cubicBezTo>
                        <a:pt x="13217" y="6549"/>
                        <a:pt x="15159" y="8432"/>
                        <a:pt x="15159" y="10753"/>
                      </a:cubicBezTo>
                      <a:cubicBezTo>
                        <a:pt x="15159" y="13075"/>
                        <a:pt x="13217" y="14957"/>
                        <a:pt x="10821" y="14957"/>
                      </a:cubicBezTo>
                      <a:cubicBezTo>
                        <a:pt x="8426" y="14957"/>
                        <a:pt x="6483" y="13075"/>
                        <a:pt x="6483" y="10753"/>
                      </a:cubicBezTo>
                      <a:cubicBezTo>
                        <a:pt x="6483" y="8432"/>
                        <a:pt x="8426" y="6549"/>
                        <a:pt x="10821" y="6549"/>
                      </a:cubicBezTo>
                      <a:close/>
                      <a:moveTo>
                        <a:pt x="14762" y="3372"/>
                      </a:moveTo>
                      <a:cubicBezTo>
                        <a:pt x="14762" y="2837"/>
                        <a:pt x="15200" y="2400"/>
                        <a:pt x="15735" y="2400"/>
                      </a:cubicBezTo>
                      <a:lnTo>
                        <a:pt x="18177" y="2400"/>
                      </a:lnTo>
                      <a:cubicBezTo>
                        <a:pt x="18711" y="2400"/>
                        <a:pt x="19148" y="2837"/>
                        <a:pt x="19148" y="3372"/>
                      </a:cubicBezTo>
                      <a:lnTo>
                        <a:pt x="19148" y="5700"/>
                      </a:lnTo>
                      <a:cubicBezTo>
                        <a:pt x="19148" y="6235"/>
                        <a:pt x="18711" y="6673"/>
                        <a:pt x="18177" y="6673"/>
                      </a:cubicBezTo>
                      <a:lnTo>
                        <a:pt x="15735" y="6673"/>
                      </a:lnTo>
                      <a:cubicBezTo>
                        <a:pt x="15200" y="6673"/>
                        <a:pt x="14762" y="6235"/>
                        <a:pt x="14762" y="5700"/>
                      </a:cubicBezTo>
                      <a:cubicBezTo>
                        <a:pt x="14762" y="5700"/>
                        <a:pt x="14762" y="3372"/>
                        <a:pt x="14762" y="3372"/>
                      </a:cubicBezTo>
                      <a:close/>
                      <a:moveTo>
                        <a:pt x="0" y="2772"/>
                      </a:moveTo>
                      <a:lnTo>
                        <a:pt x="0" y="18828"/>
                      </a:lnTo>
                      <a:cubicBezTo>
                        <a:pt x="0" y="20472"/>
                        <a:pt x="1247" y="21600"/>
                        <a:pt x="2772" y="21600"/>
                      </a:cubicBezTo>
                      <a:lnTo>
                        <a:pt x="18828" y="21600"/>
                      </a:lnTo>
                      <a:cubicBezTo>
                        <a:pt x="20352" y="21600"/>
                        <a:pt x="21600" y="20472"/>
                        <a:pt x="21600" y="18828"/>
                      </a:cubicBezTo>
                      <a:lnTo>
                        <a:pt x="21600" y="2772"/>
                      </a:lnTo>
                      <a:cubicBezTo>
                        <a:pt x="21600" y="1128"/>
                        <a:pt x="20352" y="0"/>
                        <a:pt x="18828" y="0"/>
                      </a:cubicBezTo>
                      <a:lnTo>
                        <a:pt x="2772" y="0"/>
                      </a:lnTo>
                      <a:cubicBezTo>
                        <a:pt x="1247" y="0"/>
                        <a:pt x="0" y="1128"/>
                        <a:pt x="0" y="2772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52" name="íš1iḓé">
                  <a:extLst>
                    <a:ext uri="{FF2B5EF4-FFF2-40B4-BE49-F238E27FC236}">
                      <a16:creationId xmlns:a16="http://schemas.microsoft.com/office/drawing/2014/main" id="{FA16CB9E-75E5-4179-9099-8B0F64A3B581}"/>
                    </a:ext>
                  </a:extLst>
                </p:cNvPr>
                <p:cNvSpPr/>
                <p:nvPr/>
              </p:nvSpPr>
              <p:spPr>
                <a:xfrm flipH="1">
                  <a:off x="5380360" y="1079471"/>
                  <a:ext cx="380647" cy="38065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52" h="21576" extrusionOk="0">
                      <a:moveTo>
                        <a:pt x="10793" y="7213"/>
                      </a:moveTo>
                      <a:cubicBezTo>
                        <a:pt x="12776" y="7213"/>
                        <a:pt x="14388" y="8827"/>
                        <a:pt x="14388" y="10811"/>
                      </a:cubicBezTo>
                      <a:cubicBezTo>
                        <a:pt x="14388" y="12795"/>
                        <a:pt x="12776" y="14409"/>
                        <a:pt x="10793" y="14409"/>
                      </a:cubicBezTo>
                      <a:cubicBezTo>
                        <a:pt x="8811" y="14409"/>
                        <a:pt x="7199" y="12795"/>
                        <a:pt x="7199" y="10811"/>
                      </a:cubicBezTo>
                      <a:cubicBezTo>
                        <a:pt x="7199" y="8827"/>
                        <a:pt x="8811" y="7213"/>
                        <a:pt x="10793" y="7213"/>
                      </a:cubicBezTo>
                      <a:close/>
                      <a:moveTo>
                        <a:pt x="774" y="12517"/>
                      </a:moveTo>
                      <a:cubicBezTo>
                        <a:pt x="1712" y="12493"/>
                        <a:pt x="2613" y="13074"/>
                        <a:pt x="2992" y="13995"/>
                      </a:cubicBezTo>
                      <a:cubicBezTo>
                        <a:pt x="3368" y="14915"/>
                        <a:pt x="3125" y="15986"/>
                        <a:pt x="2389" y="16663"/>
                      </a:cubicBezTo>
                      <a:cubicBezTo>
                        <a:pt x="2158" y="16875"/>
                        <a:pt x="2129" y="17229"/>
                        <a:pt x="2324" y="17476"/>
                      </a:cubicBezTo>
                      <a:cubicBezTo>
                        <a:pt x="2824" y="18114"/>
                        <a:pt x="3399" y="18695"/>
                        <a:pt x="4028" y="19202"/>
                      </a:cubicBezTo>
                      <a:cubicBezTo>
                        <a:pt x="4275" y="19401"/>
                        <a:pt x="4634" y="19374"/>
                        <a:pt x="4848" y="19137"/>
                      </a:cubicBezTo>
                      <a:cubicBezTo>
                        <a:pt x="5493" y="18424"/>
                        <a:pt x="6647" y="18159"/>
                        <a:pt x="7535" y="18532"/>
                      </a:cubicBezTo>
                      <a:cubicBezTo>
                        <a:pt x="8465" y="18922"/>
                        <a:pt x="9050" y="19863"/>
                        <a:pt x="8993" y="20874"/>
                      </a:cubicBezTo>
                      <a:cubicBezTo>
                        <a:pt x="8974" y="21191"/>
                        <a:pt x="9206" y="21468"/>
                        <a:pt x="9522" y="21504"/>
                      </a:cubicBezTo>
                      <a:cubicBezTo>
                        <a:pt x="9934" y="21552"/>
                        <a:pt x="10348" y="21576"/>
                        <a:pt x="10764" y="21576"/>
                      </a:cubicBezTo>
                      <a:cubicBezTo>
                        <a:pt x="11157" y="21576"/>
                        <a:pt x="11551" y="21554"/>
                        <a:pt x="11946" y="21511"/>
                      </a:cubicBezTo>
                      <a:cubicBezTo>
                        <a:pt x="12258" y="21476"/>
                        <a:pt x="12490" y="21206"/>
                        <a:pt x="12479" y="20893"/>
                      </a:cubicBezTo>
                      <a:cubicBezTo>
                        <a:pt x="12444" y="19893"/>
                        <a:pt x="13037" y="18968"/>
                        <a:pt x="13954" y="18592"/>
                      </a:cubicBezTo>
                      <a:cubicBezTo>
                        <a:pt x="14841" y="18230"/>
                        <a:pt x="15981" y="18495"/>
                        <a:pt x="16623" y="19200"/>
                      </a:cubicBezTo>
                      <a:cubicBezTo>
                        <a:pt x="16836" y="19432"/>
                        <a:pt x="17188" y="19460"/>
                        <a:pt x="17436" y="19268"/>
                      </a:cubicBezTo>
                      <a:cubicBezTo>
                        <a:pt x="18081" y="18762"/>
                        <a:pt x="18666" y="18181"/>
                        <a:pt x="19179" y="17543"/>
                      </a:cubicBezTo>
                      <a:cubicBezTo>
                        <a:pt x="19378" y="17295"/>
                        <a:pt x="19350" y="16936"/>
                        <a:pt x="19115" y="16722"/>
                      </a:cubicBezTo>
                      <a:cubicBezTo>
                        <a:pt x="18365" y="16043"/>
                        <a:pt x="18122" y="14961"/>
                        <a:pt x="18511" y="14032"/>
                      </a:cubicBezTo>
                      <a:cubicBezTo>
                        <a:pt x="18877" y="13157"/>
                        <a:pt x="19763" y="12569"/>
                        <a:pt x="20716" y="12569"/>
                      </a:cubicBezTo>
                      <a:lnTo>
                        <a:pt x="20849" y="12572"/>
                      </a:lnTo>
                      <a:cubicBezTo>
                        <a:pt x="21159" y="12598"/>
                        <a:pt x="21442" y="12359"/>
                        <a:pt x="21480" y="12043"/>
                      </a:cubicBezTo>
                      <a:cubicBezTo>
                        <a:pt x="21575" y="11232"/>
                        <a:pt x="21576" y="10407"/>
                        <a:pt x="21485" y="9590"/>
                      </a:cubicBezTo>
                      <a:cubicBezTo>
                        <a:pt x="21451" y="9287"/>
                        <a:pt x="21097" y="9059"/>
                        <a:pt x="20792" y="9059"/>
                      </a:cubicBezTo>
                      <a:cubicBezTo>
                        <a:pt x="19804" y="9059"/>
                        <a:pt x="18928" y="8479"/>
                        <a:pt x="18561" y="7581"/>
                      </a:cubicBezTo>
                      <a:cubicBezTo>
                        <a:pt x="18185" y="6661"/>
                        <a:pt x="18427" y="5589"/>
                        <a:pt x="19163" y="4913"/>
                      </a:cubicBezTo>
                      <a:cubicBezTo>
                        <a:pt x="19395" y="4701"/>
                        <a:pt x="19423" y="4346"/>
                        <a:pt x="19229" y="4100"/>
                      </a:cubicBezTo>
                      <a:cubicBezTo>
                        <a:pt x="18723" y="3457"/>
                        <a:pt x="18149" y="2877"/>
                        <a:pt x="17522" y="2374"/>
                      </a:cubicBezTo>
                      <a:cubicBezTo>
                        <a:pt x="17276" y="2177"/>
                        <a:pt x="16915" y="2204"/>
                        <a:pt x="16702" y="2440"/>
                      </a:cubicBezTo>
                      <a:cubicBezTo>
                        <a:pt x="16061" y="3152"/>
                        <a:pt x="14906" y="3417"/>
                        <a:pt x="14015" y="3044"/>
                      </a:cubicBezTo>
                      <a:cubicBezTo>
                        <a:pt x="13087" y="2653"/>
                        <a:pt x="12502" y="1712"/>
                        <a:pt x="12559" y="702"/>
                      </a:cubicBezTo>
                      <a:cubicBezTo>
                        <a:pt x="12578" y="385"/>
                        <a:pt x="12347" y="109"/>
                        <a:pt x="12030" y="72"/>
                      </a:cubicBezTo>
                      <a:cubicBezTo>
                        <a:pt x="11225" y="-22"/>
                        <a:pt x="10413" y="-24"/>
                        <a:pt x="9606" y="66"/>
                      </a:cubicBezTo>
                      <a:cubicBezTo>
                        <a:pt x="9294" y="100"/>
                        <a:pt x="9062" y="370"/>
                        <a:pt x="9072" y="683"/>
                      </a:cubicBezTo>
                      <a:cubicBezTo>
                        <a:pt x="9107" y="1683"/>
                        <a:pt x="8516" y="2608"/>
                        <a:pt x="7596" y="2985"/>
                      </a:cubicBezTo>
                      <a:cubicBezTo>
                        <a:pt x="6715" y="3345"/>
                        <a:pt x="5570" y="3082"/>
                        <a:pt x="4929" y="2376"/>
                      </a:cubicBezTo>
                      <a:cubicBezTo>
                        <a:pt x="4717" y="2144"/>
                        <a:pt x="4363" y="2115"/>
                        <a:pt x="4116" y="2308"/>
                      </a:cubicBezTo>
                      <a:cubicBezTo>
                        <a:pt x="3470" y="2816"/>
                        <a:pt x="2882" y="3396"/>
                        <a:pt x="2373" y="4034"/>
                      </a:cubicBezTo>
                      <a:cubicBezTo>
                        <a:pt x="2174" y="4281"/>
                        <a:pt x="2203" y="4640"/>
                        <a:pt x="2437" y="4853"/>
                      </a:cubicBezTo>
                      <a:cubicBezTo>
                        <a:pt x="3187" y="5533"/>
                        <a:pt x="3429" y="6615"/>
                        <a:pt x="3039" y="7545"/>
                      </a:cubicBezTo>
                      <a:cubicBezTo>
                        <a:pt x="2667" y="8432"/>
                        <a:pt x="1747" y="9003"/>
                        <a:pt x="695" y="9003"/>
                      </a:cubicBezTo>
                      <a:cubicBezTo>
                        <a:pt x="353" y="8992"/>
                        <a:pt x="110" y="9222"/>
                        <a:pt x="72" y="9533"/>
                      </a:cubicBezTo>
                      <a:cubicBezTo>
                        <a:pt x="-23" y="10343"/>
                        <a:pt x="-24" y="11169"/>
                        <a:pt x="67" y="11986"/>
                      </a:cubicBezTo>
                      <a:cubicBezTo>
                        <a:pt x="101" y="12291"/>
                        <a:pt x="465" y="12517"/>
                        <a:pt x="774" y="12517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53" name="îšľîde">
                  <a:extLst>
                    <a:ext uri="{FF2B5EF4-FFF2-40B4-BE49-F238E27FC236}">
                      <a16:creationId xmlns:a16="http://schemas.microsoft.com/office/drawing/2014/main" id="{9045A895-0040-4403-A5BB-F51850155ED7}"/>
                    </a:ext>
                  </a:extLst>
                </p:cNvPr>
                <p:cNvSpPr/>
                <p:nvPr/>
              </p:nvSpPr>
              <p:spPr>
                <a:xfrm flipH="1">
                  <a:off x="5334115" y="3723324"/>
                  <a:ext cx="283658" cy="28365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18925" h="18924" extrusionOk="0">
                      <a:moveTo>
                        <a:pt x="15792" y="12669"/>
                      </a:moveTo>
                      <a:cubicBezTo>
                        <a:pt x="14024" y="16159"/>
                        <a:pt x="9746" y="17560"/>
                        <a:pt x="6256" y="15792"/>
                      </a:cubicBezTo>
                      <a:cubicBezTo>
                        <a:pt x="2766" y="14024"/>
                        <a:pt x="1365" y="9747"/>
                        <a:pt x="3133" y="6256"/>
                      </a:cubicBezTo>
                      <a:cubicBezTo>
                        <a:pt x="4901" y="2765"/>
                        <a:pt x="9179" y="1365"/>
                        <a:pt x="12669" y="3133"/>
                      </a:cubicBezTo>
                      <a:cubicBezTo>
                        <a:pt x="16159" y="4901"/>
                        <a:pt x="17560" y="9179"/>
                        <a:pt x="15792" y="12669"/>
                      </a:cubicBezTo>
                      <a:close/>
                      <a:moveTo>
                        <a:pt x="13738" y="1023"/>
                      </a:moveTo>
                      <a:cubicBezTo>
                        <a:pt x="9077" y="-1338"/>
                        <a:pt x="3384" y="527"/>
                        <a:pt x="1023" y="5188"/>
                      </a:cubicBezTo>
                      <a:cubicBezTo>
                        <a:pt x="-1338" y="9848"/>
                        <a:pt x="526" y="15540"/>
                        <a:pt x="5188" y="17902"/>
                      </a:cubicBezTo>
                      <a:cubicBezTo>
                        <a:pt x="9848" y="20262"/>
                        <a:pt x="15541" y="18398"/>
                        <a:pt x="17902" y="13737"/>
                      </a:cubicBezTo>
                      <a:cubicBezTo>
                        <a:pt x="20262" y="9077"/>
                        <a:pt x="18398" y="3384"/>
                        <a:pt x="13738" y="1023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47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54" name="íṥļíďé">
                  <a:extLst>
                    <a:ext uri="{FF2B5EF4-FFF2-40B4-BE49-F238E27FC236}">
                      <a16:creationId xmlns:a16="http://schemas.microsoft.com/office/drawing/2014/main" id="{70402531-2FE0-4004-B867-085895808E02}"/>
                    </a:ext>
                  </a:extLst>
                </p:cNvPr>
                <p:cNvSpPr/>
                <p:nvPr/>
              </p:nvSpPr>
              <p:spPr>
                <a:xfrm flipH="1">
                  <a:off x="5355265" y="4009791"/>
                  <a:ext cx="107338" cy="16309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763" h="21040" extrusionOk="0">
                      <a:moveTo>
                        <a:pt x="13035" y="0"/>
                      </a:moveTo>
                      <a:cubicBezTo>
                        <a:pt x="9045" y="1559"/>
                        <a:pt x="4599" y="2531"/>
                        <a:pt x="0" y="2847"/>
                      </a:cubicBezTo>
                      <a:lnTo>
                        <a:pt x="7389" y="17888"/>
                      </a:lnTo>
                      <a:cubicBezTo>
                        <a:pt x="8568" y="20291"/>
                        <a:pt x="12443" y="21600"/>
                        <a:pt x="16040" y="20810"/>
                      </a:cubicBezTo>
                      <a:cubicBezTo>
                        <a:pt x="19637" y="20029"/>
                        <a:pt x="21600" y="17442"/>
                        <a:pt x="20420" y="15043"/>
                      </a:cubicBezTo>
                      <a:cubicBezTo>
                        <a:pt x="20420" y="15043"/>
                        <a:pt x="13035" y="0"/>
                        <a:pt x="13035" y="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55" name="î$ḻïďê">
                  <a:extLst>
                    <a:ext uri="{FF2B5EF4-FFF2-40B4-BE49-F238E27FC236}">
                      <a16:creationId xmlns:a16="http://schemas.microsoft.com/office/drawing/2014/main" id="{076FDC48-FE2C-4D90-A464-B2032A8936EA}"/>
                    </a:ext>
                  </a:extLst>
                </p:cNvPr>
                <p:cNvSpPr/>
                <p:nvPr/>
              </p:nvSpPr>
              <p:spPr>
                <a:xfrm flipH="1">
                  <a:off x="5957746" y="2082106"/>
                  <a:ext cx="507492" cy="45069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250" h="21489" extrusionOk="0">
                      <a:moveTo>
                        <a:pt x="3484" y="10712"/>
                      </a:moveTo>
                      <a:lnTo>
                        <a:pt x="3484" y="20512"/>
                      </a:lnTo>
                      <a:cubicBezTo>
                        <a:pt x="3484" y="21046"/>
                        <a:pt x="3870" y="21489"/>
                        <a:pt x="4342" y="21489"/>
                      </a:cubicBezTo>
                      <a:lnTo>
                        <a:pt x="7949" y="21489"/>
                      </a:lnTo>
                      <a:lnTo>
                        <a:pt x="7949" y="15043"/>
                      </a:lnTo>
                      <a:cubicBezTo>
                        <a:pt x="7949" y="14509"/>
                        <a:pt x="8335" y="14066"/>
                        <a:pt x="8807" y="14066"/>
                      </a:cubicBezTo>
                      <a:lnTo>
                        <a:pt x="12450" y="14066"/>
                      </a:lnTo>
                      <a:cubicBezTo>
                        <a:pt x="12925" y="14066"/>
                        <a:pt x="13308" y="14499"/>
                        <a:pt x="13308" y="15043"/>
                      </a:cubicBezTo>
                      <a:lnTo>
                        <a:pt x="13308" y="21489"/>
                      </a:lnTo>
                      <a:lnTo>
                        <a:pt x="16915" y="21489"/>
                      </a:lnTo>
                      <a:cubicBezTo>
                        <a:pt x="17390" y="21489"/>
                        <a:pt x="17773" y="21050"/>
                        <a:pt x="17773" y="20512"/>
                      </a:cubicBezTo>
                      <a:lnTo>
                        <a:pt x="17773" y="10709"/>
                      </a:lnTo>
                      <a:lnTo>
                        <a:pt x="20721" y="10709"/>
                      </a:lnTo>
                      <a:cubicBezTo>
                        <a:pt x="21305" y="10709"/>
                        <a:pt x="21424" y="10351"/>
                        <a:pt x="20985" y="9905"/>
                      </a:cubicBezTo>
                      <a:lnTo>
                        <a:pt x="11429" y="335"/>
                      </a:lnTo>
                      <a:cubicBezTo>
                        <a:pt x="10983" y="-111"/>
                        <a:pt x="10262" y="-111"/>
                        <a:pt x="9823" y="335"/>
                      </a:cubicBezTo>
                      <a:lnTo>
                        <a:pt x="269" y="9905"/>
                      </a:lnTo>
                      <a:cubicBezTo>
                        <a:pt x="-176" y="10351"/>
                        <a:pt x="-57" y="10712"/>
                        <a:pt x="536" y="10712"/>
                      </a:cubicBezTo>
                      <a:cubicBezTo>
                        <a:pt x="536" y="10712"/>
                        <a:pt x="3484" y="10712"/>
                        <a:pt x="3484" y="10712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56" name="ïŝlíḑe">
                  <a:extLst>
                    <a:ext uri="{FF2B5EF4-FFF2-40B4-BE49-F238E27FC236}">
                      <a16:creationId xmlns:a16="http://schemas.microsoft.com/office/drawing/2014/main" id="{2F662DC9-AB9F-435F-9704-E801AFEC01F2}"/>
                    </a:ext>
                  </a:extLst>
                </p:cNvPr>
                <p:cNvSpPr/>
                <p:nvPr/>
              </p:nvSpPr>
              <p:spPr>
                <a:xfrm flipH="1">
                  <a:off x="4486169" y="948174"/>
                  <a:ext cx="140906" cy="14099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10636"/>
                      </a:moveTo>
                      <a:cubicBezTo>
                        <a:pt x="3404" y="12773"/>
                        <a:pt x="5795" y="16383"/>
                        <a:pt x="6230" y="20576"/>
                      </a:cubicBezTo>
                      <a:cubicBezTo>
                        <a:pt x="7617" y="21222"/>
                        <a:pt x="9160" y="21600"/>
                        <a:pt x="10793" y="21600"/>
                      </a:cubicBezTo>
                      <a:cubicBezTo>
                        <a:pt x="16763" y="21600"/>
                        <a:pt x="21600" y="16761"/>
                        <a:pt x="21600" y="10798"/>
                      </a:cubicBezTo>
                      <a:cubicBezTo>
                        <a:pt x="21600" y="4834"/>
                        <a:pt x="16763" y="0"/>
                        <a:pt x="10793" y="0"/>
                      </a:cubicBezTo>
                      <a:cubicBezTo>
                        <a:pt x="4882" y="0"/>
                        <a:pt x="85" y="4748"/>
                        <a:pt x="0" y="1063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57" name="ïśľïḓé">
                  <a:extLst>
                    <a:ext uri="{FF2B5EF4-FFF2-40B4-BE49-F238E27FC236}">
                      <a16:creationId xmlns:a16="http://schemas.microsoft.com/office/drawing/2014/main" id="{D6A28BEF-C03B-40EE-AF62-445B086359B5}"/>
                    </a:ext>
                  </a:extLst>
                </p:cNvPr>
                <p:cNvSpPr/>
                <p:nvPr/>
              </p:nvSpPr>
              <p:spPr>
                <a:xfrm flipH="1">
                  <a:off x="4736029" y="1091407"/>
                  <a:ext cx="183481" cy="18522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616" y="19374"/>
                      </a:moveTo>
                      <a:cubicBezTo>
                        <a:pt x="5098" y="20759"/>
                        <a:pt x="9104" y="21402"/>
                        <a:pt x="12582" y="21600"/>
                      </a:cubicBezTo>
                      <a:lnTo>
                        <a:pt x="12582" y="19026"/>
                      </a:lnTo>
                      <a:cubicBezTo>
                        <a:pt x="12582" y="13374"/>
                        <a:pt x="16389" y="8588"/>
                        <a:pt x="21600" y="7057"/>
                      </a:cubicBezTo>
                      <a:cubicBezTo>
                        <a:pt x="19721" y="5273"/>
                        <a:pt x="18532" y="2789"/>
                        <a:pt x="18447" y="38"/>
                      </a:cubicBezTo>
                      <a:cubicBezTo>
                        <a:pt x="18187" y="19"/>
                        <a:pt x="17931" y="0"/>
                        <a:pt x="17664" y="0"/>
                      </a:cubicBezTo>
                      <a:lnTo>
                        <a:pt x="10625" y="0"/>
                      </a:lnTo>
                      <a:cubicBezTo>
                        <a:pt x="4765" y="0"/>
                        <a:pt x="0" y="4720"/>
                        <a:pt x="0" y="10525"/>
                      </a:cubicBezTo>
                      <a:lnTo>
                        <a:pt x="0" y="19056"/>
                      </a:lnTo>
                      <a:lnTo>
                        <a:pt x="22" y="19191"/>
                      </a:lnTo>
                      <a:cubicBezTo>
                        <a:pt x="22" y="19191"/>
                        <a:pt x="616" y="19374"/>
                        <a:pt x="616" y="19374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58" name="ïsľïḍe">
                  <a:extLst>
                    <a:ext uri="{FF2B5EF4-FFF2-40B4-BE49-F238E27FC236}">
                      <a16:creationId xmlns:a16="http://schemas.microsoft.com/office/drawing/2014/main" id="{0F443ABE-6525-4FFE-AD0B-9966EEDA9868}"/>
                    </a:ext>
                  </a:extLst>
                </p:cNvPr>
                <p:cNvSpPr/>
                <p:nvPr/>
              </p:nvSpPr>
              <p:spPr>
                <a:xfrm flipH="1">
                  <a:off x="4724827" y="948174"/>
                  <a:ext cx="140970" cy="14099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1" y="21600"/>
                      </a:moveTo>
                      <a:cubicBezTo>
                        <a:pt x="12913" y="21600"/>
                        <a:pt x="14879" y="20980"/>
                        <a:pt x="16548" y="19931"/>
                      </a:cubicBezTo>
                      <a:cubicBezTo>
                        <a:pt x="17079" y="16478"/>
                        <a:pt x="18929" y="13459"/>
                        <a:pt x="21569" y="11407"/>
                      </a:cubicBezTo>
                      <a:cubicBezTo>
                        <a:pt x="21580" y="11206"/>
                        <a:pt x="21600" y="11003"/>
                        <a:pt x="21600" y="10798"/>
                      </a:cubicBezTo>
                      <a:cubicBezTo>
                        <a:pt x="21600" y="4834"/>
                        <a:pt x="16767" y="0"/>
                        <a:pt x="10801" y="0"/>
                      </a:cubicBezTo>
                      <a:cubicBezTo>
                        <a:pt x="4836" y="0"/>
                        <a:pt x="0" y="4834"/>
                        <a:pt x="0" y="10798"/>
                      </a:cubicBezTo>
                      <a:cubicBezTo>
                        <a:pt x="0" y="16766"/>
                        <a:pt x="4836" y="21600"/>
                        <a:pt x="10801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59" name="îṧliḑè">
                  <a:extLst>
                    <a:ext uri="{FF2B5EF4-FFF2-40B4-BE49-F238E27FC236}">
                      <a16:creationId xmlns:a16="http://schemas.microsoft.com/office/drawing/2014/main" id="{CC4EF644-F903-4F77-BC61-A6436B4A7CE8}"/>
                    </a:ext>
                  </a:extLst>
                </p:cNvPr>
                <p:cNvSpPr/>
                <p:nvPr/>
              </p:nvSpPr>
              <p:spPr>
                <a:xfrm flipH="1">
                  <a:off x="4438736" y="1091407"/>
                  <a:ext cx="176402" cy="18568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548" y="0"/>
                      </a:moveTo>
                      <a:lnTo>
                        <a:pt x="3279" y="0"/>
                      </a:lnTo>
                      <a:cubicBezTo>
                        <a:pt x="3202" y="2764"/>
                        <a:pt x="1961" y="5253"/>
                        <a:pt x="0" y="7039"/>
                      </a:cubicBezTo>
                      <a:cubicBezTo>
                        <a:pt x="5414" y="8570"/>
                        <a:pt x="9375" y="13341"/>
                        <a:pt x="9375" y="18979"/>
                      </a:cubicBezTo>
                      <a:lnTo>
                        <a:pt x="9375" y="21600"/>
                      </a:lnTo>
                      <a:cubicBezTo>
                        <a:pt x="16552" y="21349"/>
                        <a:pt x="20688" y="19419"/>
                        <a:pt x="20959" y="19288"/>
                      </a:cubicBezTo>
                      <a:lnTo>
                        <a:pt x="21539" y="19009"/>
                      </a:lnTo>
                      <a:lnTo>
                        <a:pt x="21600" y="19009"/>
                      </a:lnTo>
                      <a:lnTo>
                        <a:pt x="21600" y="10495"/>
                      </a:lnTo>
                      <a:cubicBezTo>
                        <a:pt x="21600" y="4708"/>
                        <a:pt x="16644" y="0"/>
                        <a:pt x="10548" y="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60" name="iṧḻíḓè">
                  <a:extLst>
                    <a:ext uri="{FF2B5EF4-FFF2-40B4-BE49-F238E27FC236}">
                      <a16:creationId xmlns:a16="http://schemas.microsoft.com/office/drawing/2014/main" id="{CEE520B7-38FA-4999-A72E-CA43032DAF4C}"/>
                    </a:ext>
                  </a:extLst>
                </p:cNvPr>
                <p:cNvSpPr/>
                <p:nvPr/>
              </p:nvSpPr>
              <p:spPr>
                <a:xfrm flipH="1">
                  <a:off x="4553880" y="1163024"/>
                  <a:ext cx="240300" cy="18594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10484"/>
                      </a:moveTo>
                      <a:lnTo>
                        <a:pt x="0" y="18986"/>
                      </a:lnTo>
                      <a:lnTo>
                        <a:pt x="18" y="19115"/>
                      </a:lnTo>
                      <a:lnTo>
                        <a:pt x="471" y="19300"/>
                      </a:lnTo>
                      <a:cubicBezTo>
                        <a:pt x="4738" y="21023"/>
                        <a:pt x="8448" y="21600"/>
                        <a:pt x="11500" y="21600"/>
                      </a:cubicBezTo>
                      <a:cubicBezTo>
                        <a:pt x="17463" y="21600"/>
                        <a:pt x="20921" y="19402"/>
                        <a:pt x="21135" y="19262"/>
                      </a:cubicBezTo>
                      <a:lnTo>
                        <a:pt x="21557" y="18986"/>
                      </a:lnTo>
                      <a:lnTo>
                        <a:pt x="21600" y="18986"/>
                      </a:lnTo>
                      <a:lnTo>
                        <a:pt x="21600" y="10484"/>
                      </a:lnTo>
                      <a:cubicBezTo>
                        <a:pt x="21600" y="4706"/>
                        <a:pt x="17962" y="0"/>
                        <a:pt x="13491" y="0"/>
                      </a:cubicBezTo>
                      <a:lnTo>
                        <a:pt x="8113" y="0"/>
                      </a:lnTo>
                      <a:cubicBezTo>
                        <a:pt x="3642" y="0"/>
                        <a:pt x="0" y="4706"/>
                        <a:pt x="0" y="10484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61" name="íṥḻiḋê">
                  <a:extLst>
                    <a:ext uri="{FF2B5EF4-FFF2-40B4-BE49-F238E27FC236}">
                      <a16:creationId xmlns:a16="http://schemas.microsoft.com/office/drawing/2014/main" id="{6C3BDAB6-B597-4F60-8662-EDF30F390974}"/>
                    </a:ext>
                  </a:extLst>
                </p:cNvPr>
                <p:cNvSpPr/>
                <p:nvPr/>
              </p:nvSpPr>
              <p:spPr>
                <a:xfrm flipH="1">
                  <a:off x="4372772" y="876557"/>
                  <a:ext cx="140909" cy="14096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6230" y="20577"/>
                      </a:moveTo>
                      <a:cubicBezTo>
                        <a:pt x="7617" y="21227"/>
                        <a:pt x="9160" y="21600"/>
                        <a:pt x="10793" y="21600"/>
                      </a:cubicBezTo>
                      <a:cubicBezTo>
                        <a:pt x="16763" y="21600"/>
                        <a:pt x="21600" y="16765"/>
                        <a:pt x="21600" y="10801"/>
                      </a:cubicBezTo>
                      <a:cubicBezTo>
                        <a:pt x="21600" y="4835"/>
                        <a:pt x="16763" y="0"/>
                        <a:pt x="10793" y="0"/>
                      </a:cubicBezTo>
                      <a:cubicBezTo>
                        <a:pt x="4882" y="0"/>
                        <a:pt x="85" y="4750"/>
                        <a:pt x="0" y="10634"/>
                      </a:cubicBezTo>
                      <a:cubicBezTo>
                        <a:pt x="3404" y="12772"/>
                        <a:pt x="5795" y="16382"/>
                        <a:pt x="6230" y="20577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62" name="íSlíďê">
                  <a:extLst>
                    <a:ext uri="{FF2B5EF4-FFF2-40B4-BE49-F238E27FC236}">
                      <a16:creationId xmlns:a16="http://schemas.microsoft.com/office/drawing/2014/main" id="{A08AF23E-12F3-4A49-8978-328245A77700}"/>
                    </a:ext>
                  </a:extLst>
                </p:cNvPr>
                <p:cNvSpPr/>
                <p:nvPr/>
              </p:nvSpPr>
              <p:spPr>
                <a:xfrm flipH="1">
                  <a:off x="4319357" y="1019791"/>
                  <a:ext cx="176420" cy="18569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3279" y="0"/>
                      </a:moveTo>
                      <a:cubicBezTo>
                        <a:pt x="3204" y="2764"/>
                        <a:pt x="1963" y="5252"/>
                        <a:pt x="0" y="7039"/>
                      </a:cubicBezTo>
                      <a:cubicBezTo>
                        <a:pt x="5416" y="8572"/>
                        <a:pt x="9376" y="13345"/>
                        <a:pt x="9376" y="18979"/>
                      </a:cubicBezTo>
                      <a:lnTo>
                        <a:pt x="9376" y="21600"/>
                      </a:lnTo>
                      <a:cubicBezTo>
                        <a:pt x="16550" y="21352"/>
                        <a:pt x="20689" y="19418"/>
                        <a:pt x="20959" y="19288"/>
                      </a:cubicBezTo>
                      <a:lnTo>
                        <a:pt x="21535" y="19013"/>
                      </a:lnTo>
                      <a:lnTo>
                        <a:pt x="21600" y="19013"/>
                      </a:lnTo>
                      <a:lnTo>
                        <a:pt x="21600" y="10500"/>
                      </a:lnTo>
                      <a:cubicBezTo>
                        <a:pt x="21600" y="4712"/>
                        <a:pt x="16640" y="0"/>
                        <a:pt x="10547" y="0"/>
                      </a:cubicBezTo>
                      <a:cubicBezTo>
                        <a:pt x="10547" y="0"/>
                        <a:pt x="3279" y="0"/>
                        <a:pt x="3279" y="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63" name="ïśḷïḋê">
                  <a:extLst>
                    <a:ext uri="{FF2B5EF4-FFF2-40B4-BE49-F238E27FC236}">
                      <a16:creationId xmlns:a16="http://schemas.microsoft.com/office/drawing/2014/main" id="{3CB753C1-4905-43FE-8AA4-D66945A08657}"/>
                    </a:ext>
                  </a:extLst>
                </p:cNvPr>
                <p:cNvSpPr/>
                <p:nvPr/>
              </p:nvSpPr>
              <p:spPr>
                <a:xfrm flipH="1">
                  <a:off x="4623601" y="960110"/>
                  <a:ext cx="104931" cy="5031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8364" y="20133"/>
                      </a:moveTo>
                      <a:cubicBezTo>
                        <a:pt x="18515" y="12986"/>
                        <a:pt x="19703" y="6360"/>
                        <a:pt x="21600" y="888"/>
                      </a:cubicBezTo>
                      <a:cubicBezTo>
                        <a:pt x="20265" y="311"/>
                        <a:pt x="18891" y="0"/>
                        <a:pt x="17474" y="0"/>
                      </a:cubicBezTo>
                      <a:lnTo>
                        <a:pt x="4111" y="0"/>
                      </a:lnTo>
                      <a:cubicBezTo>
                        <a:pt x="2699" y="0"/>
                        <a:pt x="1326" y="311"/>
                        <a:pt x="0" y="877"/>
                      </a:cubicBezTo>
                      <a:cubicBezTo>
                        <a:pt x="2026" y="6730"/>
                        <a:pt x="3230" y="13872"/>
                        <a:pt x="3249" y="21600"/>
                      </a:cubicBezTo>
                      <a:cubicBezTo>
                        <a:pt x="5710" y="18775"/>
                        <a:pt x="8527" y="17178"/>
                        <a:pt x="11520" y="17178"/>
                      </a:cubicBezTo>
                      <a:cubicBezTo>
                        <a:pt x="13952" y="17178"/>
                        <a:pt x="16263" y="18237"/>
                        <a:pt x="18364" y="20133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64" name="iṥḻïḋe">
                  <a:extLst>
                    <a:ext uri="{FF2B5EF4-FFF2-40B4-BE49-F238E27FC236}">
                      <a16:creationId xmlns:a16="http://schemas.microsoft.com/office/drawing/2014/main" id="{791AF0B7-4B2B-449B-A673-A2347B2B2757}"/>
                    </a:ext>
                  </a:extLst>
                </p:cNvPr>
                <p:cNvSpPr/>
                <p:nvPr/>
              </p:nvSpPr>
              <p:spPr>
                <a:xfrm flipH="1">
                  <a:off x="4605422" y="1019791"/>
                  <a:ext cx="141014" cy="140970"/>
                </a:xfrm>
                <a:prstGeom prst="ellipse">
                  <a:avLst/>
                </a:pr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65" name="îṧ1ïḍé">
                  <a:extLst>
                    <a:ext uri="{FF2B5EF4-FFF2-40B4-BE49-F238E27FC236}">
                      <a16:creationId xmlns:a16="http://schemas.microsoft.com/office/drawing/2014/main" id="{6CBA570A-B2EE-4B6A-81F5-9B945E440955}"/>
                    </a:ext>
                  </a:extLst>
                </p:cNvPr>
                <p:cNvSpPr/>
                <p:nvPr/>
              </p:nvSpPr>
              <p:spPr>
                <a:xfrm flipH="1">
                  <a:off x="4599355" y="804940"/>
                  <a:ext cx="153049" cy="153017"/>
                </a:xfrm>
                <a:prstGeom prst="ellipse">
                  <a:avLst/>
                </a:pr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66" name="íṡľïḑe">
                  <a:extLst>
                    <a:ext uri="{FF2B5EF4-FFF2-40B4-BE49-F238E27FC236}">
                      <a16:creationId xmlns:a16="http://schemas.microsoft.com/office/drawing/2014/main" id="{6C5843EE-00F4-4DA6-9173-51E69746B696}"/>
                    </a:ext>
                  </a:extLst>
                </p:cNvPr>
                <p:cNvSpPr/>
                <p:nvPr/>
              </p:nvSpPr>
              <p:spPr>
                <a:xfrm flipH="1">
                  <a:off x="5078260" y="1461427"/>
                  <a:ext cx="444024" cy="40845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5662" y="0"/>
                      </a:moveTo>
                      <a:cubicBezTo>
                        <a:pt x="13822" y="0"/>
                        <a:pt x="11987" y="940"/>
                        <a:pt x="10800" y="2466"/>
                      </a:cubicBezTo>
                      <a:cubicBezTo>
                        <a:pt x="9613" y="940"/>
                        <a:pt x="7779" y="0"/>
                        <a:pt x="5937" y="0"/>
                      </a:cubicBezTo>
                      <a:cubicBezTo>
                        <a:pt x="2595" y="0"/>
                        <a:pt x="0" y="2821"/>
                        <a:pt x="0" y="6454"/>
                      </a:cubicBezTo>
                      <a:cubicBezTo>
                        <a:pt x="0" y="10920"/>
                        <a:pt x="3671" y="14560"/>
                        <a:pt x="9286" y="19960"/>
                      </a:cubicBezTo>
                      <a:lnTo>
                        <a:pt x="10800" y="21600"/>
                      </a:lnTo>
                      <a:lnTo>
                        <a:pt x="12314" y="19960"/>
                      </a:lnTo>
                      <a:cubicBezTo>
                        <a:pt x="17929" y="14560"/>
                        <a:pt x="21600" y="10920"/>
                        <a:pt x="21600" y="6454"/>
                      </a:cubicBezTo>
                      <a:cubicBezTo>
                        <a:pt x="21600" y="2821"/>
                        <a:pt x="19005" y="0"/>
                        <a:pt x="15662" y="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67" name="îšḻíḑè">
                  <a:extLst>
                    <a:ext uri="{FF2B5EF4-FFF2-40B4-BE49-F238E27FC236}">
                      <a16:creationId xmlns:a16="http://schemas.microsoft.com/office/drawing/2014/main" id="{9BF0F316-44BD-4676-91A1-E5712951E771}"/>
                    </a:ext>
                  </a:extLst>
                </p:cNvPr>
                <p:cNvSpPr/>
                <p:nvPr/>
              </p:nvSpPr>
              <p:spPr>
                <a:xfrm flipH="1">
                  <a:off x="6145038" y="2583424"/>
                  <a:ext cx="165032" cy="19316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0"/>
                      </a:moveTo>
                      <a:cubicBezTo>
                        <a:pt x="4834" y="0"/>
                        <a:pt x="0" y="2529"/>
                        <a:pt x="0" y="10800"/>
                      </a:cubicBezTo>
                      <a:cubicBezTo>
                        <a:pt x="0" y="16765"/>
                        <a:pt x="4834" y="21600"/>
                        <a:pt x="10800" y="21600"/>
                      </a:cubicBezTo>
                      <a:cubicBezTo>
                        <a:pt x="16763" y="21600"/>
                        <a:pt x="21600" y="16765"/>
                        <a:pt x="21600" y="10800"/>
                      </a:cubicBezTo>
                      <a:cubicBezTo>
                        <a:pt x="21600" y="2529"/>
                        <a:pt x="16763" y="0"/>
                        <a:pt x="10800" y="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68" name="îṡḷîḋè">
                  <a:extLst>
                    <a:ext uri="{FF2B5EF4-FFF2-40B4-BE49-F238E27FC236}">
                      <a16:creationId xmlns:a16="http://schemas.microsoft.com/office/drawing/2014/main" id="{32B49ADD-7C1B-454C-9664-F663191B63B9}"/>
                    </a:ext>
                  </a:extLst>
                </p:cNvPr>
                <p:cNvSpPr/>
                <p:nvPr/>
              </p:nvSpPr>
              <p:spPr>
                <a:xfrm flipH="1">
                  <a:off x="6043497" y="2780370"/>
                  <a:ext cx="368030" cy="16716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475" h="21565" extrusionOk="0">
                      <a:moveTo>
                        <a:pt x="1216" y="21565"/>
                      </a:moveTo>
                      <a:lnTo>
                        <a:pt x="20260" y="21565"/>
                      </a:lnTo>
                      <a:cubicBezTo>
                        <a:pt x="20674" y="21565"/>
                        <a:pt x="21054" y="21108"/>
                        <a:pt x="21278" y="20344"/>
                      </a:cubicBezTo>
                      <a:cubicBezTo>
                        <a:pt x="21504" y="19579"/>
                        <a:pt x="21538" y="18624"/>
                        <a:pt x="21370" y="17790"/>
                      </a:cubicBezTo>
                      <a:lnTo>
                        <a:pt x="18941" y="5692"/>
                      </a:lnTo>
                      <a:cubicBezTo>
                        <a:pt x="18830" y="5138"/>
                        <a:pt x="18635" y="4679"/>
                        <a:pt x="18392" y="4399"/>
                      </a:cubicBezTo>
                      <a:lnTo>
                        <a:pt x="14622" y="60"/>
                      </a:lnTo>
                      <a:cubicBezTo>
                        <a:pt x="14539" y="-35"/>
                        <a:pt x="14438" y="-17"/>
                        <a:pt x="14364" y="109"/>
                      </a:cubicBezTo>
                      <a:cubicBezTo>
                        <a:pt x="13298" y="1892"/>
                        <a:pt x="12044" y="2834"/>
                        <a:pt x="10738" y="2834"/>
                      </a:cubicBezTo>
                      <a:cubicBezTo>
                        <a:pt x="9432" y="2834"/>
                        <a:pt x="8178" y="1892"/>
                        <a:pt x="7113" y="109"/>
                      </a:cubicBezTo>
                      <a:cubicBezTo>
                        <a:pt x="7037" y="-17"/>
                        <a:pt x="6937" y="-35"/>
                        <a:pt x="6854" y="60"/>
                      </a:cubicBezTo>
                      <a:lnTo>
                        <a:pt x="3084" y="4399"/>
                      </a:lnTo>
                      <a:cubicBezTo>
                        <a:pt x="2841" y="4679"/>
                        <a:pt x="2646" y="5138"/>
                        <a:pt x="2535" y="5692"/>
                      </a:cubicBezTo>
                      <a:lnTo>
                        <a:pt x="106" y="17790"/>
                      </a:lnTo>
                      <a:cubicBezTo>
                        <a:pt x="-62" y="18624"/>
                        <a:pt x="-28" y="19579"/>
                        <a:pt x="197" y="20344"/>
                      </a:cubicBezTo>
                      <a:cubicBezTo>
                        <a:pt x="422" y="21108"/>
                        <a:pt x="803" y="21565"/>
                        <a:pt x="1216" y="21565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69" name="îsľiḋe">
                  <a:extLst>
                    <a:ext uri="{FF2B5EF4-FFF2-40B4-BE49-F238E27FC236}">
                      <a16:creationId xmlns:a16="http://schemas.microsoft.com/office/drawing/2014/main" id="{9E8E168B-E9A2-4E00-854B-48DD51413BE8}"/>
                    </a:ext>
                  </a:extLst>
                </p:cNvPr>
                <p:cNvSpPr/>
                <p:nvPr/>
              </p:nvSpPr>
              <p:spPr>
                <a:xfrm flipH="1">
                  <a:off x="4940036" y="918334"/>
                  <a:ext cx="415143" cy="41514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2298"/>
                      </a:moveTo>
                      <a:cubicBezTo>
                        <a:pt x="15488" y="2298"/>
                        <a:pt x="19303" y="6111"/>
                        <a:pt x="19303" y="10800"/>
                      </a:cubicBezTo>
                      <a:cubicBezTo>
                        <a:pt x="19303" y="15488"/>
                        <a:pt x="15488" y="19302"/>
                        <a:pt x="10800" y="19302"/>
                      </a:cubicBezTo>
                      <a:cubicBezTo>
                        <a:pt x="6113" y="19302"/>
                        <a:pt x="2298" y="15488"/>
                        <a:pt x="2298" y="10800"/>
                      </a:cubicBezTo>
                      <a:cubicBezTo>
                        <a:pt x="2298" y="6111"/>
                        <a:pt x="6113" y="2298"/>
                        <a:pt x="10800" y="2298"/>
                      </a:cubicBezTo>
                      <a:close/>
                      <a:moveTo>
                        <a:pt x="10800" y="21600"/>
                      </a:moveTo>
                      <a:cubicBezTo>
                        <a:pt x="16755" y="21600"/>
                        <a:pt x="21600" y="16755"/>
                        <a:pt x="21600" y="10800"/>
                      </a:cubicBezTo>
                      <a:cubicBezTo>
                        <a:pt x="21600" y="4845"/>
                        <a:pt x="16755" y="0"/>
                        <a:pt x="10800" y="0"/>
                      </a:cubicBezTo>
                      <a:cubicBezTo>
                        <a:pt x="4845" y="0"/>
                        <a:pt x="0" y="4845"/>
                        <a:pt x="0" y="10800"/>
                      </a:cubicBezTo>
                      <a:cubicBezTo>
                        <a:pt x="0" y="16755"/>
                        <a:pt x="4845" y="21600"/>
                        <a:pt x="10800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70" name="îṩlïḍè">
                  <a:extLst>
                    <a:ext uri="{FF2B5EF4-FFF2-40B4-BE49-F238E27FC236}">
                      <a16:creationId xmlns:a16="http://schemas.microsoft.com/office/drawing/2014/main" id="{1190D640-8D1B-4854-8B0A-5BEDAE0744B9}"/>
                    </a:ext>
                  </a:extLst>
                </p:cNvPr>
                <p:cNvSpPr/>
                <p:nvPr/>
              </p:nvSpPr>
              <p:spPr>
                <a:xfrm flipH="1">
                  <a:off x="5019643" y="989950"/>
                  <a:ext cx="144557" cy="16342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553" y="21600"/>
                      </a:moveTo>
                      <a:lnTo>
                        <a:pt x="19044" y="21600"/>
                      </a:lnTo>
                      <a:cubicBezTo>
                        <a:pt x="20457" y="21600"/>
                        <a:pt x="21600" y="20592"/>
                        <a:pt x="21600" y="19342"/>
                      </a:cubicBezTo>
                      <a:cubicBezTo>
                        <a:pt x="21600" y="18096"/>
                        <a:pt x="20457" y="17084"/>
                        <a:pt x="19044" y="17084"/>
                      </a:cubicBezTo>
                      <a:lnTo>
                        <a:pt x="5106" y="17084"/>
                      </a:lnTo>
                      <a:lnTo>
                        <a:pt x="5106" y="2259"/>
                      </a:lnTo>
                      <a:cubicBezTo>
                        <a:pt x="5106" y="1012"/>
                        <a:pt x="3966" y="0"/>
                        <a:pt x="2553" y="0"/>
                      </a:cubicBezTo>
                      <a:cubicBezTo>
                        <a:pt x="1143" y="0"/>
                        <a:pt x="0" y="1012"/>
                        <a:pt x="0" y="2259"/>
                      </a:cubicBezTo>
                      <a:lnTo>
                        <a:pt x="0" y="19342"/>
                      </a:lnTo>
                      <a:cubicBezTo>
                        <a:pt x="0" y="20592"/>
                        <a:pt x="1143" y="21600"/>
                        <a:pt x="2553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71" name="ïṩḷîďé">
                  <a:extLst>
                    <a:ext uri="{FF2B5EF4-FFF2-40B4-BE49-F238E27FC236}">
                      <a16:creationId xmlns:a16="http://schemas.microsoft.com/office/drawing/2014/main" id="{25ED9F62-B4FC-4153-A9D8-4A1A166196A8}"/>
                    </a:ext>
                  </a:extLst>
                </p:cNvPr>
                <p:cNvSpPr/>
                <p:nvPr/>
              </p:nvSpPr>
              <p:spPr>
                <a:xfrm flipH="1">
                  <a:off x="6515028" y="2207435"/>
                  <a:ext cx="260550" cy="36238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734" y="7508"/>
                      </a:moveTo>
                      <a:cubicBezTo>
                        <a:pt x="2734" y="4453"/>
                        <a:pt x="6351" y="1966"/>
                        <a:pt x="10800" y="1963"/>
                      </a:cubicBezTo>
                      <a:cubicBezTo>
                        <a:pt x="15252" y="1963"/>
                        <a:pt x="18870" y="4450"/>
                        <a:pt x="18870" y="7508"/>
                      </a:cubicBezTo>
                      <a:cubicBezTo>
                        <a:pt x="18870" y="9590"/>
                        <a:pt x="17727" y="10793"/>
                        <a:pt x="16708" y="11865"/>
                      </a:cubicBezTo>
                      <a:cubicBezTo>
                        <a:pt x="15911" y="12706"/>
                        <a:pt x="15159" y="13498"/>
                        <a:pt x="15159" y="14559"/>
                      </a:cubicBezTo>
                      <a:cubicBezTo>
                        <a:pt x="15159" y="15026"/>
                        <a:pt x="14573" y="15400"/>
                        <a:pt x="14137" y="15618"/>
                      </a:cubicBezTo>
                      <a:lnTo>
                        <a:pt x="7462" y="15618"/>
                      </a:lnTo>
                      <a:cubicBezTo>
                        <a:pt x="7026" y="15400"/>
                        <a:pt x="6440" y="15026"/>
                        <a:pt x="6440" y="14559"/>
                      </a:cubicBezTo>
                      <a:cubicBezTo>
                        <a:pt x="6440" y="13498"/>
                        <a:pt x="5688" y="12706"/>
                        <a:pt x="4880" y="11855"/>
                      </a:cubicBezTo>
                      <a:cubicBezTo>
                        <a:pt x="3873" y="10791"/>
                        <a:pt x="2734" y="9587"/>
                        <a:pt x="2734" y="7508"/>
                      </a:cubicBezTo>
                      <a:close/>
                      <a:moveTo>
                        <a:pt x="5876" y="19126"/>
                      </a:moveTo>
                      <a:lnTo>
                        <a:pt x="5876" y="19129"/>
                      </a:lnTo>
                      <a:cubicBezTo>
                        <a:pt x="5897" y="19529"/>
                        <a:pt x="6189" y="20348"/>
                        <a:pt x="8110" y="20808"/>
                      </a:cubicBezTo>
                      <a:cubicBezTo>
                        <a:pt x="8336" y="21046"/>
                        <a:pt x="8631" y="21258"/>
                        <a:pt x="8993" y="21433"/>
                      </a:cubicBezTo>
                      <a:cubicBezTo>
                        <a:pt x="9217" y="21541"/>
                        <a:pt x="9482" y="21600"/>
                        <a:pt x="9755" y="21600"/>
                      </a:cubicBezTo>
                      <a:lnTo>
                        <a:pt x="11842" y="21600"/>
                      </a:lnTo>
                      <a:cubicBezTo>
                        <a:pt x="12116" y="21600"/>
                        <a:pt x="12382" y="21541"/>
                        <a:pt x="12607" y="21433"/>
                      </a:cubicBezTo>
                      <a:cubicBezTo>
                        <a:pt x="12969" y="21258"/>
                        <a:pt x="13263" y="21046"/>
                        <a:pt x="13493" y="20808"/>
                      </a:cubicBezTo>
                      <a:cubicBezTo>
                        <a:pt x="15424" y="20346"/>
                        <a:pt x="15708" y="19513"/>
                        <a:pt x="15723" y="19126"/>
                      </a:cubicBezTo>
                      <a:cubicBezTo>
                        <a:pt x="15723" y="19126"/>
                        <a:pt x="15841" y="17718"/>
                        <a:pt x="15875" y="17140"/>
                      </a:cubicBezTo>
                      <a:cubicBezTo>
                        <a:pt x="17166" y="16453"/>
                        <a:pt x="17889" y="15532"/>
                        <a:pt x="17889" y="14559"/>
                      </a:cubicBezTo>
                      <a:cubicBezTo>
                        <a:pt x="17889" y="14127"/>
                        <a:pt x="18280" y="13694"/>
                        <a:pt x="18973" y="12963"/>
                      </a:cubicBezTo>
                      <a:cubicBezTo>
                        <a:pt x="20080" y="11796"/>
                        <a:pt x="21600" y="10197"/>
                        <a:pt x="21600" y="7508"/>
                      </a:cubicBezTo>
                      <a:cubicBezTo>
                        <a:pt x="21600" y="3368"/>
                        <a:pt x="16753" y="0"/>
                        <a:pt x="10800" y="0"/>
                      </a:cubicBezTo>
                      <a:cubicBezTo>
                        <a:pt x="4846" y="0"/>
                        <a:pt x="0" y="3368"/>
                        <a:pt x="0" y="7508"/>
                      </a:cubicBezTo>
                      <a:cubicBezTo>
                        <a:pt x="0" y="10194"/>
                        <a:pt x="1516" y="11793"/>
                        <a:pt x="2633" y="12971"/>
                      </a:cubicBezTo>
                      <a:cubicBezTo>
                        <a:pt x="3320" y="13694"/>
                        <a:pt x="3711" y="14124"/>
                        <a:pt x="3711" y="14559"/>
                      </a:cubicBezTo>
                      <a:cubicBezTo>
                        <a:pt x="3711" y="15532"/>
                        <a:pt x="4435" y="16450"/>
                        <a:pt x="5725" y="17140"/>
                      </a:cubicBezTo>
                      <a:cubicBezTo>
                        <a:pt x="5758" y="17718"/>
                        <a:pt x="5876" y="19126"/>
                        <a:pt x="5876" y="1912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72" name="íṧḷîḍè">
                  <a:extLst>
                    <a:ext uri="{FF2B5EF4-FFF2-40B4-BE49-F238E27FC236}">
                      <a16:creationId xmlns:a16="http://schemas.microsoft.com/office/drawing/2014/main" id="{29398ACB-648A-49F4-9943-61D68EF33548}"/>
                    </a:ext>
                  </a:extLst>
                </p:cNvPr>
                <p:cNvSpPr/>
                <p:nvPr/>
              </p:nvSpPr>
              <p:spPr>
                <a:xfrm flipH="1">
                  <a:off x="6639757" y="2141787"/>
                  <a:ext cx="16459" cy="4113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21600"/>
                      </a:moveTo>
                      <a:cubicBezTo>
                        <a:pt x="16739" y="21600"/>
                        <a:pt x="21600" y="19689"/>
                        <a:pt x="21600" y="17287"/>
                      </a:cubicBezTo>
                      <a:lnTo>
                        <a:pt x="21600" y="4324"/>
                      </a:lnTo>
                      <a:cubicBezTo>
                        <a:pt x="21600" y="1939"/>
                        <a:pt x="16739" y="0"/>
                        <a:pt x="10800" y="0"/>
                      </a:cubicBezTo>
                      <a:cubicBezTo>
                        <a:pt x="4838" y="0"/>
                        <a:pt x="0" y="1939"/>
                        <a:pt x="0" y="4324"/>
                      </a:cubicBezTo>
                      <a:lnTo>
                        <a:pt x="0" y="17287"/>
                      </a:lnTo>
                      <a:cubicBezTo>
                        <a:pt x="0" y="19689"/>
                        <a:pt x="4838" y="21600"/>
                        <a:pt x="10800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73" name="ïŝ1îḋê">
                  <a:extLst>
                    <a:ext uri="{FF2B5EF4-FFF2-40B4-BE49-F238E27FC236}">
                      <a16:creationId xmlns:a16="http://schemas.microsoft.com/office/drawing/2014/main" id="{D5BB8DFF-3205-4F95-AABD-793AAA36968E}"/>
                    </a:ext>
                  </a:extLst>
                </p:cNvPr>
                <p:cNvSpPr/>
                <p:nvPr/>
              </p:nvSpPr>
              <p:spPr>
                <a:xfrm flipH="1">
                  <a:off x="6722889" y="2165659"/>
                  <a:ext cx="28817" cy="3790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19988" h="20955" extrusionOk="0">
                      <a:moveTo>
                        <a:pt x="9312" y="18672"/>
                      </a:moveTo>
                      <a:cubicBezTo>
                        <a:pt x="10399" y="20112"/>
                        <a:pt x="12309" y="20955"/>
                        <a:pt x="14284" y="20955"/>
                      </a:cubicBezTo>
                      <a:cubicBezTo>
                        <a:pt x="15238" y="20955"/>
                        <a:pt x="16229" y="20757"/>
                        <a:pt x="17130" y="20336"/>
                      </a:cubicBezTo>
                      <a:cubicBezTo>
                        <a:pt x="19871" y="19083"/>
                        <a:pt x="20793" y="16305"/>
                        <a:pt x="19226" y="14113"/>
                      </a:cubicBezTo>
                      <a:lnTo>
                        <a:pt x="10642" y="2279"/>
                      </a:lnTo>
                      <a:cubicBezTo>
                        <a:pt x="9069" y="94"/>
                        <a:pt x="5584" y="-645"/>
                        <a:pt x="2835" y="613"/>
                      </a:cubicBezTo>
                      <a:cubicBezTo>
                        <a:pt x="113" y="1870"/>
                        <a:pt x="-807" y="4670"/>
                        <a:pt x="772" y="6837"/>
                      </a:cubicBezTo>
                      <a:cubicBezTo>
                        <a:pt x="772" y="6837"/>
                        <a:pt x="9312" y="18672"/>
                        <a:pt x="9312" y="18672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74" name="íSļîḍe">
                  <a:extLst>
                    <a:ext uri="{FF2B5EF4-FFF2-40B4-BE49-F238E27FC236}">
                      <a16:creationId xmlns:a16="http://schemas.microsoft.com/office/drawing/2014/main" id="{942401D5-9D7D-4E5E-B084-8626075D870A}"/>
                    </a:ext>
                  </a:extLst>
                </p:cNvPr>
                <p:cNvSpPr/>
                <p:nvPr/>
              </p:nvSpPr>
              <p:spPr>
                <a:xfrm flipH="1">
                  <a:off x="6779469" y="2237276"/>
                  <a:ext cx="37886" cy="2882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347" h="20760" extrusionOk="0">
                      <a:moveTo>
                        <a:pt x="2217" y="11085"/>
                      </a:moveTo>
                      <a:lnTo>
                        <a:pt x="13709" y="19964"/>
                      </a:lnTo>
                      <a:cubicBezTo>
                        <a:pt x="14398" y="20508"/>
                        <a:pt x="15170" y="20760"/>
                        <a:pt x="15902" y="20760"/>
                      </a:cubicBezTo>
                      <a:cubicBezTo>
                        <a:pt x="17436" y="20760"/>
                        <a:pt x="18917" y="19710"/>
                        <a:pt x="19757" y="17783"/>
                      </a:cubicBezTo>
                      <a:cubicBezTo>
                        <a:pt x="20970" y="14964"/>
                        <a:pt x="20258" y="11343"/>
                        <a:pt x="18134" y="9677"/>
                      </a:cubicBezTo>
                      <a:lnTo>
                        <a:pt x="6637" y="795"/>
                      </a:lnTo>
                      <a:cubicBezTo>
                        <a:pt x="4533" y="-840"/>
                        <a:pt x="1816" y="126"/>
                        <a:pt x="588" y="2972"/>
                      </a:cubicBezTo>
                      <a:cubicBezTo>
                        <a:pt x="-630" y="5797"/>
                        <a:pt x="109" y="9418"/>
                        <a:pt x="2217" y="11085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75" name="í$1íḋe">
                  <a:extLst>
                    <a:ext uri="{FF2B5EF4-FFF2-40B4-BE49-F238E27FC236}">
                      <a16:creationId xmlns:a16="http://schemas.microsoft.com/office/drawing/2014/main" id="{326D91A5-061B-4637-AAE9-D72CCCBB30A0}"/>
                    </a:ext>
                  </a:extLst>
                </p:cNvPr>
                <p:cNvSpPr/>
                <p:nvPr/>
              </p:nvSpPr>
              <p:spPr>
                <a:xfrm flipH="1">
                  <a:off x="6800091" y="2326797"/>
                  <a:ext cx="41136" cy="1647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10792"/>
                      </a:moveTo>
                      <a:cubicBezTo>
                        <a:pt x="21600" y="4848"/>
                        <a:pt x="19693" y="0"/>
                        <a:pt x="17289" y="0"/>
                      </a:cubicBezTo>
                      <a:lnTo>
                        <a:pt x="4326" y="0"/>
                      </a:lnTo>
                      <a:cubicBezTo>
                        <a:pt x="1940" y="0"/>
                        <a:pt x="0" y="4848"/>
                        <a:pt x="0" y="10792"/>
                      </a:cubicBezTo>
                      <a:cubicBezTo>
                        <a:pt x="0" y="16756"/>
                        <a:pt x="1940" y="21600"/>
                        <a:pt x="4326" y="21600"/>
                      </a:cubicBezTo>
                      <a:lnTo>
                        <a:pt x="17289" y="21600"/>
                      </a:lnTo>
                      <a:cubicBezTo>
                        <a:pt x="19693" y="21600"/>
                        <a:pt x="21600" y="16756"/>
                        <a:pt x="21600" y="10792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76" name="ïṧľíḑe">
                  <a:extLst>
                    <a:ext uri="{FF2B5EF4-FFF2-40B4-BE49-F238E27FC236}">
                      <a16:creationId xmlns:a16="http://schemas.microsoft.com/office/drawing/2014/main" id="{A4CA399F-F86A-4C0F-AD9E-AE6B09737549}"/>
                    </a:ext>
                  </a:extLst>
                </p:cNvPr>
                <p:cNvSpPr/>
                <p:nvPr/>
              </p:nvSpPr>
              <p:spPr>
                <a:xfrm flipH="1">
                  <a:off x="6779473" y="2410350"/>
                  <a:ext cx="37882" cy="2882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345" h="20760" extrusionOk="0">
                      <a:moveTo>
                        <a:pt x="13713" y="793"/>
                      </a:moveTo>
                      <a:lnTo>
                        <a:pt x="2221" y="9701"/>
                      </a:lnTo>
                      <a:cubicBezTo>
                        <a:pt x="92" y="11338"/>
                        <a:pt x="-626" y="14961"/>
                        <a:pt x="592" y="17784"/>
                      </a:cubicBezTo>
                      <a:cubicBezTo>
                        <a:pt x="1404" y="19704"/>
                        <a:pt x="2908" y="20760"/>
                        <a:pt x="4414" y="20760"/>
                      </a:cubicBezTo>
                      <a:cubicBezTo>
                        <a:pt x="5181" y="20760"/>
                        <a:pt x="5947" y="20502"/>
                        <a:pt x="6641" y="19960"/>
                      </a:cubicBezTo>
                      <a:lnTo>
                        <a:pt x="18138" y="11082"/>
                      </a:lnTo>
                      <a:cubicBezTo>
                        <a:pt x="20232" y="9415"/>
                        <a:pt x="20974" y="5795"/>
                        <a:pt x="19761" y="2974"/>
                      </a:cubicBezTo>
                      <a:cubicBezTo>
                        <a:pt x="18539" y="128"/>
                        <a:pt x="15847" y="-840"/>
                        <a:pt x="13713" y="793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77" name="îsľiḋè">
                  <a:extLst>
                    <a:ext uri="{FF2B5EF4-FFF2-40B4-BE49-F238E27FC236}">
                      <a16:creationId xmlns:a16="http://schemas.microsoft.com/office/drawing/2014/main" id="{29FA0C2F-B791-41BB-9F06-467DB934AE38}"/>
                    </a:ext>
                  </a:extLst>
                </p:cNvPr>
                <p:cNvSpPr/>
                <p:nvPr/>
              </p:nvSpPr>
              <p:spPr>
                <a:xfrm flipH="1">
                  <a:off x="6481073" y="2410350"/>
                  <a:ext cx="37878" cy="2882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345" h="20760" extrusionOk="0">
                      <a:moveTo>
                        <a:pt x="2210" y="11082"/>
                      </a:moveTo>
                      <a:lnTo>
                        <a:pt x="13703" y="19960"/>
                      </a:lnTo>
                      <a:cubicBezTo>
                        <a:pt x="14395" y="20502"/>
                        <a:pt x="15164" y="20760"/>
                        <a:pt x="15901" y="20760"/>
                      </a:cubicBezTo>
                      <a:cubicBezTo>
                        <a:pt x="17435" y="20760"/>
                        <a:pt x="18915" y="19704"/>
                        <a:pt x="19751" y="17813"/>
                      </a:cubicBezTo>
                      <a:cubicBezTo>
                        <a:pt x="20969" y="14961"/>
                        <a:pt x="20257" y="11338"/>
                        <a:pt x="18123" y="9701"/>
                      </a:cubicBezTo>
                      <a:lnTo>
                        <a:pt x="6630" y="793"/>
                      </a:lnTo>
                      <a:cubicBezTo>
                        <a:pt x="4531" y="-840"/>
                        <a:pt x="1828" y="128"/>
                        <a:pt x="587" y="2974"/>
                      </a:cubicBezTo>
                      <a:cubicBezTo>
                        <a:pt x="-631" y="5795"/>
                        <a:pt x="111" y="9415"/>
                        <a:pt x="2210" y="11082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78" name="îşḷidé">
                  <a:extLst>
                    <a:ext uri="{FF2B5EF4-FFF2-40B4-BE49-F238E27FC236}">
                      <a16:creationId xmlns:a16="http://schemas.microsoft.com/office/drawing/2014/main" id="{555B1D43-1F54-40AB-BC23-519AFBE3C395}"/>
                    </a:ext>
                  </a:extLst>
                </p:cNvPr>
                <p:cNvSpPr/>
                <p:nvPr/>
              </p:nvSpPr>
              <p:spPr>
                <a:xfrm flipH="1">
                  <a:off x="6453923" y="2326797"/>
                  <a:ext cx="41157" cy="1647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10792"/>
                      </a:moveTo>
                      <a:cubicBezTo>
                        <a:pt x="21600" y="4848"/>
                        <a:pt x="19665" y="0"/>
                        <a:pt x="17286" y="0"/>
                      </a:cubicBezTo>
                      <a:lnTo>
                        <a:pt x="4324" y="0"/>
                      </a:lnTo>
                      <a:cubicBezTo>
                        <a:pt x="1939" y="0"/>
                        <a:pt x="0" y="4848"/>
                        <a:pt x="0" y="10792"/>
                      </a:cubicBezTo>
                      <a:cubicBezTo>
                        <a:pt x="0" y="16756"/>
                        <a:pt x="1939" y="21600"/>
                        <a:pt x="4324" y="21600"/>
                      </a:cubicBezTo>
                      <a:lnTo>
                        <a:pt x="17286" y="21600"/>
                      </a:lnTo>
                      <a:cubicBezTo>
                        <a:pt x="19665" y="21600"/>
                        <a:pt x="21600" y="16756"/>
                        <a:pt x="21600" y="10792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79" name="iSlíḍè">
                  <a:extLst>
                    <a:ext uri="{FF2B5EF4-FFF2-40B4-BE49-F238E27FC236}">
                      <a16:creationId xmlns:a16="http://schemas.microsoft.com/office/drawing/2014/main" id="{5395FA2C-510B-42EE-8F00-D809E580E364}"/>
                    </a:ext>
                  </a:extLst>
                </p:cNvPr>
                <p:cNvSpPr/>
                <p:nvPr/>
              </p:nvSpPr>
              <p:spPr>
                <a:xfrm flipH="1">
                  <a:off x="6481073" y="2237276"/>
                  <a:ext cx="37878" cy="2882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345" h="20760" extrusionOk="0">
                      <a:moveTo>
                        <a:pt x="4437" y="20760"/>
                      </a:moveTo>
                      <a:cubicBezTo>
                        <a:pt x="5174" y="20760"/>
                        <a:pt x="5941" y="20508"/>
                        <a:pt x="6630" y="19964"/>
                      </a:cubicBezTo>
                      <a:lnTo>
                        <a:pt x="18123" y="11085"/>
                      </a:lnTo>
                      <a:cubicBezTo>
                        <a:pt x="20257" y="9448"/>
                        <a:pt x="20969" y="5797"/>
                        <a:pt x="19751" y="2972"/>
                      </a:cubicBezTo>
                      <a:cubicBezTo>
                        <a:pt x="18534" y="126"/>
                        <a:pt x="15832" y="-840"/>
                        <a:pt x="13703" y="795"/>
                      </a:cubicBezTo>
                      <a:lnTo>
                        <a:pt x="2210" y="9677"/>
                      </a:lnTo>
                      <a:cubicBezTo>
                        <a:pt x="111" y="11343"/>
                        <a:pt x="-631" y="14964"/>
                        <a:pt x="587" y="17783"/>
                      </a:cubicBezTo>
                      <a:cubicBezTo>
                        <a:pt x="1427" y="19671"/>
                        <a:pt x="2906" y="20760"/>
                        <a:pt x="4437" y="2076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80" name="ïs1îḋê">
                  <a:extLst>
                    <a:ext uri="{FF2B5EF4-FFF2-40B4-BE49-F238E27FC236}">
                      <a16:creationId xmlns:a16="http://schemas.microsoft.com/office/drawing/2014/main" id="{39D2DC27-22A5-4A5A-841B-26528DDD5D23}"/>
                    </a:ext>
                  </a:extLst>
                </p:cNvPr>
                <p:cNvSpPr/>
                <p:nvPr/>
              </p:nvSpPr>
              <p:spPr>
                <a:xfrm flipH="1">
                  <a:off x="6549819" y="2165659"/>
                  <a:ext cx="28813" cy="3784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19986" h="20954" extrusionOk="0">
                      <a:moveTo>
                        <a:pt x="9345" y="2283"/>
                      </a:moveTo>
                      <a:lnTo>
                        <a:pt x="767" y="14134"/>
                      </a:lnTo>
                      <a:cubicBezTo>
                        <a:pt x="-806" y="16305"/>
                        <a:pt x="114" y="19089"/>
                        <a:pt x="2863" y="20344"/>
                      </a:cubicBezTo>
                      <a:cubicBezTo>
                        <a:pt x="3744" y="20765"/>
                        <a:pt x="4743" y="20954"/>
                        <a:pt x="5701" y="20954"/>
                      </a:cubicBezTo>
                      <a:cubicBezTo>
                        <a:pt x="7678" y="20954"/>
                        <a:pt x="9588" y="20142"/>
                        <a:pt x="10675" y="18700"/>
                      </a:cubicBezTo>
                      <a:lnTo>
                        <a:pt x="19221" y="6847"/>
                      </a:lnTo>
                      <a:cubicBezTo>
                        <a:pt x="20794" y="4677"/>
                        <a:pt x="19866" y="1873"/>
                        <a:pt x="17117" y="614"/>
                      </a:cubicBezTo>
                      <a:cubicBezTo>
                        <a:pt x="14401" y="-646"/>
                        <a:pt x="10918" y="95"/>
                        <a:pt x="9345" y="2283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81" name="îşļîḑé">
                  <a:extLst>
                    <a:ext uri="{FF2B5EF4-FFF2-40B4-BE49-F238E27FC236}">
                      <a16:creationId xmlns:a16="http://schemas.microsoft.com/office/drawing/2014/main" id="{8C8E4041-E0DC-40D0-B75F-0BFE9D7DD04C}"/>
                    </a:ext>
                  </a:extLst>
                </p:cNvPr>
                <p:cNvSpPr/>
                <p:nvPr/>
              </p:nvSpPr>
              <p:spPr>
                <a:xfrm flipH="1">
                  <a:off x="6628471" y="2267116"/>
                  <a:ext cx="39682" cy="12826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4795" y="20034"/>
                      </a:moveTo>
                      <a:cubicBezTo>
                        <a:pt x="5327" y="21262"/>
                        <a:pt x="7243" y="21600"/>
                        <a:pt x="10799" y="21600"/>
                      </a:cubicBezTo>
                      <a:cubicBezTo>
                        <a:pt x="14337" y="21600"/>
                        <a:pt x="16273" y="21262"/>
                        <a:pt x="16805" y="20034"/>
                      </a:cubicBezTo>
                      <a:lnTo>
                        <a:pt x="21043" y="10144"/>
                      </a:lnTo>
                      <a:cubicBezTo>
                        <a:pt x="21308" y="9469"/>
                        <a:pt x="21600" y="8789"/>
                        <a:pt x="21600" y="8159"/>
                      </a:cubicBezTo>
                      <a:lnTo>
                        <a:pt x="21600" y="3251"/>
                      </a:lnTo>
                      <a:cubicBezTo>
                        <a:pt x="21600" y="1092"/>
                        <a:pt x="17626" y="0"/>
                        <a:pt x="10799" y="0"/>
                      </a:cubicBezTo>
                      <a:cubicBezTo>
                        <a:pt x="3972" y="0"/>
                        <a:pt x="0" y="1092"/>
                        <a:pt x="0" y="3251"/>
                      </a:cubicBezTo>
                      <a:lnTo>
                        <a:pt x="0" y="8159"/>
                      </a:lnTo>
                      <a:cubicBezTo>
                        <a:pt x="0" y="8789"/>
                        <a:pt x="271" y="9469"/>
                        <a:pt x="562" y="10144"/>
                      </a:cubicBezTo>
                      <a:cubicBezTo>
                        <a:pt x="562" y="10144"/>
                        <a:pt x="4795" y="20034"/>
                        <a:pt x="4795" y="20034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82" name="iṩ1ïde">
                  <a:extLst>
                    <a:ext uri="{FF2B5EF4-FFF2-40B4-BE49-F238E27FC236}">
                      <a16:creationId xmlns:a16="http://schemas.microsoft.com/office/drawing/2014/main" id="{23208836-C44D-4ED5-B99C-4E0FA11FD858}"/>
                    </a:ext>
                  </a:extLst>
                </p:cNvPr>
                <p:cNvSpPr/>
                <p:nvPr/>
              </p:nvSpPr>
              <p:spPr>
                <a:xfrm flipH="1">
                  <a:off x="6626967" y="2410350"/>
                  <a:ext cx="41186" cy="4115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2" y="21600"/>
                      </a:moveTo>
                      <a:cubicBezTo>
                        <a:pt x="16734" y="21600"/>
                        <a:pt x="21600" y="16719"/>
                        <a:pt x="21600" y="10789"/>
                      </a:cubicBezTo>
                      <a:cubicBezTo>
                        <a:pt x="21600" y="4855"/>
                        <a:pt x="16734" y="0"/>
                        <a:pt x="10802" y="0"/>
                      </a:cubicBezTo>
                      <a:cubicBezTo>
                        <a:pt x="4883" y="0"/>
                        <a:pt x="0" y="4855"/>
                        <a:pt x="0" y="10789"/>
                      </a:cubicBezTo>
                      <a:cubicBezTo>
                        <a:pt x="0" y="16719"/>
                        <a:pt x="4883" y="21600"/>
                        <a:pt x="10802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83" name="í$ḷidè">
                  <a:extLst>
                    <a:ext uri="{FF2B5EF4-FFF2-40B4-BE49-F238E27FC236}">
                      <a16:creationId xmlns:a16="http://schemas.microsoft.com/office/drawing/2014/main" id="{BA364592-3BAF-4CD5-A51A-597057B2AD52}"/>
                    </a:ext>
                  </a:extLst>
                </p:cNvPr>
                <p:cNvSpPr/>
                <p:nvPr/>
              </p:nvSpPr>
              <p:spPr>
                <a:xfrm flipH="1">
                  <a:off x="5490116" y="3198135"/>
                  <a:ext cx="533487" cy="44530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268" y="16701"/>
                      </a:moveTo>
                      <a:cubicBezTo>
                        <a:pt x="1194" y="16701"/>
                        <a:pt x="1162" y="16662"/>
                        <a:pt x="1162" y="16574"/>
                      </a:cubicBezTo>
                      <a:lnTo>
                        <a:pt x="1162" y="1404"/>
                      </a:lnTo>
                      <a:lnTo>
                        <a:pt x="20428" y="1404"/>
                      </a:lnTo>
                      <a:lnTo>
                        <a:pt x="20428" y="1531"/>
                      </a:lnTo>
                      <a:lnTo>
                        <a:pt x="20428" y="16574"/>
                      </a:lnTo>
                      <a:cubicBezTo>
                        <a:pt x="20428" y="16662"/>
                        <a:pt x="20396" y="16701"/>
                        <a:pt x="20321" y="16701"/>
                      </a:cubicBezTo>
                      <a:cubicBezTo>
                        <a:pt x="20321" y="16701"/>
                        <a:pt x="1268" y="16701"/>
                        <a:pt x="1268" y="16701"/>
                      </a:cubicBezTo>
                      <a:close/>
                      <a:moveTo>
                        <a:pt x="20321" y="18105"/>
                      </a:moveTo>
                      <a:cubicBezTo>
                        <a:pt x="20818" y="18105"/>
                        <a:pt x="21181" y="17845"/>
                        <a:pt x="21420" y="17332"/>
                      </a:cubicBezTo>
                      <a:cubicBezTo>
                        <a:pt x="21530" y="17100"/>
                        <a:pt x="21600" y="16850"/>
                        <a:pt x="21600" y="16574"/>
                      </a:cubicBezTo>
                      <a:lnTo>
                        <a:pt x="21600" y="1404"/>
                      </a:lnTo>
                      <a:cubicBezTo>
                        <a:pt x="21526" y="683"/>
                        <a:pt x="21030" y="90"/>
                        <a:pt x="20428" y="38"/>
                      </a:cubicBezTo>
                      <a:lnTo>
                        <a:pt x="20428" y="0"/>
                      </a:lnTo>
                      <a:lnTo>
                        <a:pt x="1162" y="0"/>
                      </a:lnTo>
                      <a:lnTo>
                        <a:pt x="1162" y="38"/>
                      </a:lnTo>
                      <a:cubicBezTo>
                        <a:pt x="540" y="90"/>
                        <a:pt x="74" y="683"/>
                        <a:pt x="0" y="1404"/>
                      </a:cubicBezTo>
                      <a:lnTo>
                        <a:pt x="0" y="16574"/>
                      </a:lnTo>
                      <a:cubicBezTo>
                        <a:pt x="0" y="16865"/>
                        <a:pt x="64" y="17111"/>
                        <a:pt x="169" y="17332"/>
                      </a:cubicBezTo>
                      <a:cubicBezTo>
                        <a:pt x="413" y="17845"/>
                        <a:pt x="772" y="18105"/>
                        <a:pt x="1268" y="18105"/>
                      </a:cubicBezTo>
                      <a:lnTo>
                        <a:pt x="8222" y="18105"/>
                      </a:lnTo>
                      <a:lnTo>
                        <a:pt x="8222" y="20206"/>
                      </a:lnTo>
                      <a:lnTo>
                        <a:pt x="6900" y="20206"/>
                      </a:lnTo>
                      <a:cubicBezTo>
                        <a:pt x="6573" y="20206"/>
                        <a:pt x="6320" y="20512"/>
                        <a:pt x="6320" y="20902"/>
                      </a:cubicBezTo>
                      <a:cubicBezTo>
                        <a:pt x="6320" y="21294"/>
                        <a:pt x="6573" y="21600"/>
                        <a:pt x="6900" y="21600"/>
                      </a:cubicBezTo>
                      <a:lnTo>
                        <a:pt x="14689" y="21600"/>
                      </a:lnTo>
                      <a:cubicBezTo>
                        <a:pt x="15016" y="21600"/>
                        <a:pt x="15280" y="21294"/>
                        <a:pt x="15280" y="20902"/>
                      </a:cubicBezTo>
                      <a:cubicBezTo>
                        <a:pt x="15280" y="20512"/>
                        <a:pt x="15016" y="20206"/>
                        <a:pt x="14689" y="20206"/>
                      </a:cubicBezTo>
                      <a:lnTo>
                        <a:pt x="13368" y="20206"/>
                      </a:lnTo>
                      <a:lnTo>
                        <a:pt x="13368" y="18105"/>
                      </a:lnTo>
                      <a:cubicBezTo>
                        <a:pt x="13368" y="18105"/>
                        <a:pt x="20321" y="18105"/>
                        <a:pt x="20321" y="18105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84" name="íś1îdè">
                  <a:extLst>
                    <a:ext uri="{FF2B5EF4-FFF2-40B4-BE49-F238E27FC236}">
                      <a16:creationId xmlns:a16="http://schemas.microsoft.com/office/drawing/2014/main" id="{C93A3A7B-E3FE-455E-8519-8215A1C7F5A8}"/>
                    </a:ext>
                  </a:extLst>
                </p:cNvPr>
                <p:cNvSpPr/>
                <p:nvPr/>
              </p:nvSpPr>
              <p:spPr>
                <a:xfrm flipH="1">
                  <a:off x="5639681" y="2828115"/>
                  <a:ext cx="234719" cy="23476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799" y="21600"/>
                      </a:moveTo>
                      <a:cubicBezTo>
                        <a:pt x="16756" y="21600"/>
                        <a:pt x="21600" y="16757"/>
                        <a:pt x="21600" y="10802"/>
                      </a:cubicBezTo>
                      <a:cubicBezTo>
                        <a:pt x="21600" y="4848"/>
                        <a:pt x="16756" y="0"/>
                        <a:pt x="10799" y="0"/>
                      </a:cubicBezTo>
                      <a:cubicBezTo>
                        <a:pt x="4844" y="0"/>
                        <a:pt x="0" y="4848"/>
                        <a:pt x="0" y="10802"/>
                      </a:cubicBezTo>
                      <a:cubicBezTo>
                        <a:pt x="0" y="16757"/>
                        <a:pt x="4844" y="21600"/>
                        <a:pt x="10799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3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85" name="ïṣľïḑé">
                  <a:extLst>
                    <a:ext uri="{FF2B5EF4-FFF2-40B4-BE49-F238E27FC236}">
                      <a16:creationId xmlns:a16="http://schemas.microsoft.com/office/drawing/2014/main" id="{4A7BE724-F3DB-4A04-A258-4B9569F7B85E}"/>
                    </a:ext>
                  </a:extLst>
                </p:cNvPr>
                <p:cNvSpPr/>
                <p:nvPr/>
              </p:nvSpPr>
              <p:spPr>
                <a:xfrm flipH="1">
                  <a:off x="5606484" y="2798274"/>
                  <a:ext cx="297757" cy="29775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799" y="1652"/>
                      </a:moveTo>
                      <a:cubicBezTo>
                        <a:pt x="15843" y="1652"/>
                        <a:pt x="19943" y="5756"/>
                        <a:pt x="19943" y="10800"/>
                      </a:cubicBezTo>
                      <a:cubicBezTo>
                        <a:pt x="19943" y="15843"/>
                        <a:pt x="15843" y="19945"/>
                        <a:pt x="10799" y="19945"/>
                      </a:cubicBezTo>
                      <a:cubicBezTo>
                        <a:pt x="5757" y="19945"/>
                        <a:pt x="1655" y="15843"/>
                        <a:pt x="1655" y="10800"/>
                      </a:cubicBezTo>
                      <a:cubicBezTo>
                        <a:pt x="1655" y="5756"/>
                        <a:pt x="5757" y="1652"/>
                        <a:pt x="10799" y="1652"/>
                      </a:cubicBezTo>
                      <a:close/>
                      <a:moveTo>
                        <a:pt x="10799" y="21600"/>
                      </a:moveTo>
                      <a:cubicBezTo>
                        <a:pt x="16766" y="21600"/>
                        <a:pt x="21600" y="16764"/>
                        <a:pt x="21600" y="10800"/>
                      </a:cubicBezTo>
                      <a:cubicBezTo>
                        <a:pt x="21600" y="4833"/>
                        <a:pt x="16766" y="0"/>
                        <a:pt x="10799" y="0"/>
                      </a:cubicBezTo>
                      <a:cubicBezTo>
                        <a:pt x="4833" y="0"/>
                        <a:pt x="0" y="4833"/>
                        <a:pt x="0" y="10800"/>
                      </a:cubicBezTo>
                      <a:cubicBezTo>
                        <a:pt x="0" y="16764"/>
                        <a:pt x="4833" y="21600"/>
                        <a:pt x="10799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5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86" name="ïSḷîḑè">
                  <a:extLst>
                    <a:ext uri="{FF2B5EF4-FFF2-40B4-BE49-F238E27FC236}">
                      <a16:creationId xmlns:a16="http://schemas.microsoft.com/office/drawing/2014/main" id="{6E314D72-1ED2-4ECE-A7B3-62691F4A8FD4}"/>
                    </a:ext>
                  </a:extLst>
                </p:cNvPr>
                <p:cNvSpPr/>
                <p:nvPr/>
              </p:nvSpPr>
              <p:spPr>
                <a:xfrm flipH="1">
                  <a:off x="5525795" y="2762466"/>
                  <a:ext cx="74075" cy="36018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615" h="21597" extrusionOk="0">
                      <a:moveTo>
                        <a:pt x="12849" y="97"/>
                      </a:moveTo>
                      <a:cubicBezTo>
                        <a:pt x="12495" y="137"/>
                        <a:pt x="12190" y="191"/>
                        <a:pt x="11918" y="252"/>
                      </a:cubicBezTo>
                      <a:cubicBezTo>
                        <a:pt x="9264" y="720"/>
                        <a:pt x="798" y="2632"/>
                        <a:pt x="90" y="5219"/>
                      </a:cubicBezTo>
                      <a:cubicBezTo>
                        <a:pt x="-985" y="9164"/>
                        <a:pt x="7915" y="10761"/>
                        <a:pt x="10938" y="12223"/>
                      </a:cubicBezTo>
                      <a:lnTo>
                        <a:pt x="8520" y="20816"/>
                      </a:lnTo>
                      <a:cubicBezTo>
                        <a:pt x="8520" y="21249"/>
                        <a:pt x="12567" y="21597"/>
                        <a:pt x="14562" y="21597"/>
                      </a:cubicBezTo>
                      <a:cubicBezTo>
                        <a:pt x="16567" y="21600"/>
                        <a:pt x="20615" y="21249"/>
                        <a:pt x="20615" y="20816"/>
                      </a:cubicBezTo>
                      <a:lnTo>
                        <a:pt x="18198" y="782"/>
                      </a:lnTo>
                      <a:cubicBezTo>
                        <a:pt x="18198" y="351"/>
                        <a:pt x="16567" y="0"/>
                        <a:pt x="14575" y="0"/>
                      </a:cubicBezTo>
                      <a:cubicBezTo>
                        <a:pt x="14031" y="0"/>
                        <a:pt x="13536" y="26"/>
                        <a:pt x="13074" y="72"/>
                      </a:cubicBezTo>
                      <a:lnTo>
                        <a:pt x="13074" y="64"/>
                      </a:lnTo>
                      <a:cubicBezTo>
                        <a:pt x="13074" y="64"/>
                        <a:pt x="12979" y="79"/>
                        <a:pt x="12849" y="97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87" name="ïşľiďé">
                  <a:extLst>
                    <a:ext uri="{FF2B5EF4-FFF2-40B4-BE49-F238E27FC236}">
                      <a16:creationId xmlns:a16="http://schemas.microsoft.com/office/drawing/2014/main" id="{91C23880-9DBB-445C-B537-1CD54C0DFE4F}"/>
                    </a:ext>
                  </a:extLst>
                </p:cNvPr>
                <p:cNvSpPr/>
                <p:nvPr/>
              </p:nvSpPr>
              <p:spPr>
                <a:xfrm flipH="1">
                  <a:off x="5903581" y="2768434"/>
                  <a:ext cx="125989" cy="35941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983" y="8303"/>
                      </a:moveTo>
                      <a:cubicBezTo>
                        <a:pt x="20042" y="7861"/>
                        <a:pt x="21600" y="6892"/>
                        <a:pt x="21600" y="6046"/>
                      </a:cubicBezTo>
                      <a:lnTo>
                        <a:pt x="21600" y="783"/>
                      </a:lnTo>
                      <a:cubicBezTo>
                        <a:pt x="21600" y="352"/>
                        <a:pt x="20593" y="0"/>
                        <a:pt x="19356" y="0"/>
                      </a:cubicBezTo>
                      <a:cubicBezTo>
                        <a:pt x="18127" y="0"/>
                        <a:pt x="17126" y="352"/>
                        <a:pt x="17126" y="783"/>
                      </a:cubicBezTo>
                      <a:lnTo>
                        <a:pt x="17126" y="5524"/>
                      </a:lnTo>
                      <a:lnTo>
                        <a:pt x="15889" y="5524"/>
                      </a:lnTo>
                      <a:lnTo>
                        <a:pt x="15889" y="783"/>
                      </a:lnTo>
                      <a:cubicBezTo>
                        <a:pt x="15889" y="352"/>
                        <a:pt x="14885" y="0"/>
                        <a:pt x="13649" y="0"/>
                      </a:cubicBezTo>
                      <a:cubicBezTo>
                        <a:pt x="12420" y="0"/>
                        <a:pt x="11417" y="352"/>
                        <a:pt x="11417" y="783"/>
                      </a:cubicBezTo>
                      <a:lnTo>
                        <a:pt x="11417" y="5524"/>
                      </a:lnTo>
                      <a:lnTo>
                        <a:pt x="10173" y="5524"/>
                      </a:lnTo>
                      <a:lnTo>
                        <a:pt x="10173" y="783"/>
                      </a:lnTo>
                      <a:cubicBezTo>
                        <a:pt x="10173" y="352"/>
                        <a:pt x="9170" y="0"/>
                        <a:pt x="7943" y="0"/>
                      </a:cubicBezTo>
                      <a:cubicBezTo>
                        <a:pt x="6706" y="0"/>
                        <a:pt x="5709" y="352"/>
                        <a:pt x="5709" y="783"/>
                      </a:cubicBezTo>
                      <a:lnTo>
                        <a:pt x="5709" y="5524"/>
                      </a:lnTo>
                      <a:lnTo>
                        <a:pt x="4463" y="5524"/>
                      </a:lnTo>
                      <a:lnTo>
                        <a:pt x="4463" y="953"/>
                      </a:lnTo>
                      <a:cubicBezTo>
                        <a:pt x="4463" y="520"/>
                        <a:pt x="3468" y="169"/>
                        <a:pt x="2233" y="169"/>
                      </a:cubicBezTo>
                      <a:cubicBezTo>
                        <a:pt x="1003" y="169"/>
                        <a:pt x="0" y="520"/>
                        <a:pt x="0" y="953"/>
                      </a:cubicBezTo>
                      <a:lnTo>
                        <a:pt x="0" y="6133"/>
                      </a:lnTo>
                      <a:cubicBezTo>
                        <a:pt x="0" y="7004"/>
                        <a:pt x="1678" y="7955"/>
                        <a:pt x="3898" y="8346"/>
                      </a:cubicBezTo>
                      <a:lnTo>
                        <a:pt x="7751" y="9021"/>
                      </a:lnTo>
                      <a:cubicBezTo>
                        <a:pt x="8196" y="9097"/>
                        <a:pt x="8676" y="9153"/>
                        <a:pt x="9184" y="9197"/>
                      </a:cubicBezTo>
                      <a:lnTo>
                        <a:pt x="7693" y="20943"/>
                      </a:lnTo>
                      <a:cubicBezTo>
                        <a:pt x="7693" y="21304"/>
                        <a:pt x="10189" y="21600"/>
                        <a:pt x="11417" y="21600"/>
                      </a:cubicBezTo>
                      <a:cubicBezTo>
                        <a:pt x="12654" y="21600"/>
                        <a:pt x="15141" y="21308"/>
                        <a:pt x="15141" y="20943"/>
                      </a:cubicBezTo>
                      <a:lnTo>
                        <a:pt x="13649" y="9136"/>
                      </a:lnTo>
                      <a:cubicBezTo>
                        <a:pt x="14171" y="9077"/>
                        <a:pt x="14682" y="9009"/>
                        <a:pt x="15125" y="8912"/>
                      </a:cubicBezTo>
                      <a:cubicBezTo>
                        <a:pt x="15125" y="8912"/>
                        <a:pt x="17983" y="8303"/>
                        <a:pt x="17983" y="8303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88" name="í$1iďe">
                  <a:extLst>
                    <a:ext uri="{FF2B5EF4-FFF2-40B4-BE49-F238E27FC236}">
                      <a16:creationId xmlns:a16="http://schemas.microsoft.com/office/drawing/2014/main" id="{6891A8ED-37F2-4E12-B8A0-A01D26CBA16E}"/>
                    </a:ext>
                  </a:extLst>
                </p:cNvPr>
                <p:cNvSpPr/>
                <p:nvPr/>
              </p:nvSpPr>
              <p:spPr>
                <a:xfrm flipH="1">
                  <a:off x="4166032" y="2261148"/>
                  <a:ext cx="323777" cy="42125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5911" y="8723"/>
                      </a:moveTo>
                      <a:lnTo>
                        <a:pt x="5689" y="8723"/>
                      </a:lnTo>
                      <a:lnTo>
                        <a:pt x="5689" y="6753"/>
                      </a:lnTo>
                      <a:cubicBezTo>
                        <a:pt x="5689" y="4583"/>
                        <a:pt x="7984" y="2789"/>
                        <a:pt x="10800" y="2789"/>
                      </a:cubicBezTo>
                      <a:cubicBezTo>
                        <a:pt x="13616" y="2789"/>
                        <a:pt x="15911" y="4583"/>
                        <a:pt x="15911" y="6753"/>
                      </a:cubicBezTo>
                      <a:cubicBezTo>
                        <a:pt x="15911" y="6753"/>
                        <a:pt x="15911" y="8723"/>
                        <a:pt x="15911" y="8723"/>
                      </a:cubicBezTo>
                      <a:close/>
                      <a:moveTo>
                        <a:pt x="12537" y="15149"/>
                      </a:moveTo>
                      <a:lnTo>
                        <a:pt x="12537" y="18134"/>
                      </a:lnTo>
                      <a:cubicBezTo>
                        <a:pt x="12537" y="18476"/>
                        <a:pt x="12164" y="18765"/>
                        <a:pt x="11719" y="18765"/>
                      </a:cubicBezTo>
                      <a:lnTo>
                        <a:pt x="9881" y="18765"/>
                      </a:lnTo>
                      <a:cubicBezTo>
                        <a:pt x="9436" y="18765"/>
                        <a:pt x="9063" y="18476"/>
                        <a:pt x="9063" y="18134"/>
                      </a:cubicBezTo>
                      <a:lnTo>
                        <a:pt x="9063" y="15149"/>
                      </a:lnTo>
                      <a:cubicBezTo>
                        <a:pt x="8632" y="14822"/>
                        <a:pt x="8381" y="14371"/>
                        <a:pt x="8381" y="13871"/>
                      </a:cubicBezTo>
                      <a:cubicBezTo>
                        <a:pt x="8381" y="12924"/>
                        <a:pt x="9333" y="12111"/>
                        <a:pt x="10544" y="12073"/>
                      </a:cubicBezTo>
                      <a:cubicBezTo>
                        <a:pt x="10672" y="12069"/>
                        <a:pt x="10929" y="12069"/>
                        <a:pt x="11057" y="12073"/>
                      </a:cubicBezTo>
                      <a:cubicBezTo>
                        <a:pt x="12268" y="12111"/>
                        <a:pt x="13219" y="12924"/>
                        <a:pt x="13219" y="13871"/>
                      </a:cubicBezTo>
                      <a:cubicBezTo>
                        <a:pt x="13219" y="14371"/>
                        <a:pt x="12968" y="14822"/>
                        <a:pt x="12537" y="15149"/>
                      </a:cubicBezTo>
                      <a:close/>
                      <a:moveTo>
                        <a:pt x="21600" y="20099"/>
                      </a:moveTo>
                      <a:lnTo>
                        <a:pt x="21600" y="10219"/>
                      </a:lnTo>
                      <a:cubicBezTo>
                        <a:pt x="21600" y="9392"/>
                        <a:pt x="20912" y="8723"/>
                        <a:pt x="20068" y="8723"/>
                      </a:cubicBezTo>
                      <a:lnTo>
                        <a:pt x="19520" y="8723"/>
                      </a:lnTo>
                      <a:lnTo>
                        <a:pt x="19520" y="6753"/>
                      </a:lnTo>
                      <a:cubicBezTo>
                        <a:pt x="19520" y="3110"/>
                        <a:pt x="15758" y="67"/>
                        <a:pt x="11057" y="2"/>
                      </a:cubicBezTo>
                      <a:cubicBezTo>
                        <a:pt x="10929" y="0"/>
                        <a:pt x="10672" y="0"/>
                        <a:pt x="10544" y="2"/>
                      </a:cubicBezTo>
                      <a:cubicBezTo>
                        <a:pt x="5842" y="67"/>
                        <a:pt x="2081" y="3110"/>
                        <a:pt x="2081" y="6753"/>
                      </a:cubicBezTo>
                      <a:lnTo>
                        <a:pt x="2081" y="8723"/>
                      </a:lnTo>
                      <a:lnTo>
                        <a:pt x="1532" y="8723"/>
                      </a:lnTo>
                      <a:cubicBezTo>
                        <a:pt x="689" y="8723"/>
                        <a:pt x="0" y="9392"/>
                        <a:pt x="0" y="10219"/>
                      </a:cubicBezTo>
                      <a:lnTo>
                        <a:pt x="0" y="20099"/>
                      </a:lnTo>
                      <a:cubicBezTo>
                        <a:pt x="0" y="20924"/>
                        <a:pt x="689" y="21600"/>
                        <a:pt x="1532" y="21600"/>
                      </a:cubicBezTo>
                      <a:lnTo>
                        <a:pt x="20068" y="21600"/>
                      </a:lnTo>
                      <a:cubicBezTo>
                        <a:pt x="20912" y="21600"/>
                        <a:pt x="21600" y="20924"/>
                        <a:pt x="21600" y="20099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 dirty="0"/>
                </a:p>
              </p:txBody>
            </p:sp>
            <p:sp>
              <p:nvSpPr>
                <p:cNvPr id="89" name="ïšḻîde">
                  <a:extLst>
                    <a:ext uri="{FF2B5EF4-FFF2-40B4-BE49-F238E27FC236}">
                      <a16:creationId xmlns:a16="http://schemas.microsoft.com/office/drawing/2014/main" id="{44559E43-EBFC-41BC-834E-DB2C9ABB4750}"/>
                    </a:ext>
                  </a:extLst>
                </p:cNvPr>
                <p:cNvSpPr/>
                <p:nvPr/>
              </p:nvSpPr>
              <p:spPr>
                <a:xfrm flipH="1">
                  <a:off x="4054625" y="3472665"/>
                  <a:ext cx="459056" cy="41009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10" h="21478" extrusionOk="0">
                      <a:moveTo>
                        <a:pt x="20852" y="36"/>
                      </a:moveTo>
                      <a:lnTo>
                        <a:pt x="866" y="8596"/>
                      </a:lnTo>
                      <a:cubicBezTo>
                        <a:pt x="404" y="8795"/>
                        <a:pt x="74" y="9260"/>
                        <a:pt x="12" y="9810"/>
                      </a:cubicBezTo>
                      <a:cubicBezTo>
                        <a:pt x="-54" y="10360"/>
                        <a:pt x="154" y="10907"/>
                        <a:pt x="556" y="11232"/>
                      </a:cubicBezTo>
                      <a:lnTo>
                        <a:pt x="4945" y="14802"/>
                      </a:lnTo>
                      <a:lnTo>
                        <a:pt x="20542" y="1088"/>
                      </a:lnTo>
                      <a:lnTo>
                        <a:pt x="6750" y="16274"/>
                      </a:lnTo>
                      <a:lnTo>
                        <a:pt x="12755" y="21155"/>
                      </a:lnTo>
                      <a:cubicBezTo>
                        <a:pt x="13135" y="21462"/>
                        <a:pt x="13626" y="21560"/>
                        <a:pt x="14082" y="21406"/>
                      </a:cubicBezTo>
                      <a:cubicBezTo>
                        <a:pt x="14535" y="21250"/>
                        <a:pt x="14895" y="20867"/>
                        <a:pt x="15060" y="20372"/>
                      </a:cubicBezTo>
                      <a:lnTo>
                        <a:pt x="21479" y="727"/>
                      </a:lnTo>
                      <a:cubicBezTo>
                        <a:pt x="21546" y="528"/>
                        <a:pt x="21499" y="303"/>
                        <a:pt x="21364" y="155"/>
                      </a:cubicBezTo>
                      <a:cubicBezTo>
                        <a:pt x="21229" y="6"/>
                        <a:pt x="21030" y="-40"/>
                        <a:pt x="20852" y="3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90" name="ïSḻíḓê">
                  <a:extLst>
                    <a:ext uri="{FF2B5EF4-FFF2-40B4-BE49-F238E27FC236}">
                      <a16:creationId xmlns:a16="http://schemas.microsoft.com/office/drawing/2014/main" id="{BDCA7997-A8C2-4A3D-8214-43E5D0021C35}"/>
                    </a:ext>
                  </a:extLst>
                </p:cNvPr>
                <p:cNvSpPr/>
                <p:nvPr/>
              </p:nvSpPr>
              <p:spPr>
                <a:xfrm flipH="1">
                  <a:off x="4319391" y="3777036"/>
                  <a:ext cx="110738" cy="12223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425" h="21407" extrusionOk="0">
                      <a:moveTo>
                        <a:pt x="6216" y="21087"/>
                      </a:moveTo>
                      <a:cubicBezTo>
                        <a:pt x="7539" y="21600"/>
                        <a:pt x="9083" y="21494"/>
                        <a:pt x="10292" y="20780"/>
                      </a:cubicBezTo>
                      <a:cubicBezTo>
                        <a:pt x="15192" y="17911"/>
                        <a:pt x="21600" y="14128"/>
                        <a:pt x="21422" y="13905"/>
                      </a:cubicBezTo>
                      <a:lnTo>
                        <a:pt x="0" y="0"/>
                      </a:lnTo>
                      <a:lnTo>
                        <a:pt x="150" y="772"/>
                      </a:lnTo>
                      <a:lnTo>
                        <a:pt x="3670" y="18170"/>
                      </a:lnTo>
                      <a:cubicBezTo>
                        <a:pt x="3926" y="19473"/>
                        <a:pt x="4882" y="20558"/>
                        <a:pt x="6216" y="21087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91" name="i$ḻîďê">
                  <a:extLst>
                    <a:ext uri="{FF2B5EF4-FFF2-40B4-BE49-F238E27FC236}">
                      <a16:creationId xmlns:a16="http://schemas.microsoft.com/office/drawing/2014/main" id="{8664062D-007C-40E0-9D60-B8A980E58C4D}"/>
                    </a:ext>
                  </a:extLst>
                </p:cNvPr>
                <p:cNvSpPr/>
                <p:nvPr/>
              </p:nvSpPr>
              <p:spPr>
                <a:xfrm flipH="1">
                  <a:off x="6415790" y="2619232"/>
                  <a:ext cx="294140" cy="42697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7072" y="8199"/>
                      </a:moveTo>
                      <a:cubicBezTo>
                        <a:pt x="6959" y="7988"/>
                        <a:pt x="6968" y="7564"/>
                        <a:pt x="6968" y="7526"/>
                      </a:cubicBezTo>
                      <a:lnTo>
                        <a:pt x="6968" y="6931"/>
                      </a:lnTo>
                      <a:cubicBezTo>
                        <a:pt x="6968" y="5242"/>
                        <a:pt x="9049" y="4473"/>
                        <a:pt x="10861" y="4473"/>
                      </a:cubicBezTo>
                      <a:cubicBezTo>
                        <a:pt x="13089" y="4473"/>
                        <a:pt x="14814" y="5702"/>
                        <a:pt x="14814" y="7239"/>
                      </a:cubicBezTo>
                      <a:cubicBezTo>
                        <a:pt x="14814" y="8775"/>
                        <a:pt x="12970" y="10003"/>
                        <a:pt x="10741" y="10003"/>
                      </a:cubicBezTo>
                      <a:cubicBezTo>
                        <a:pt x="9347" y="10003"/>
                        <a:pt x="7823" y="9524"/>
                        <a:pt x="7072" y="8199"/>
                      </a:cubicBezTo>
                      <a:close/>
                      <a:moveTo>
                        <a:pt x="14535" y="17183"/>
                      </a:moveTo>
                      <a:cubicBezTo>
                        <a:pt x="14870" y="16761"/>
                        <a:pt x="15258" y="16339"/>
                        <a:pt x="15591" y="15937"/>
                      </a:cubicBezTo>
                      <a:cubicBezTo>
                        <a:pt x="15815" y="15667"/>
                        <a:pt x="16242" y="15398"/>
                        <a:pt x="16435" y="15149"/>
                      </a:cubicBezTo>
                      <a:cubicBezTo>
                        <a:pt x="18414" y="12653"/>
                        <a:pt x="21600" y="10138"/>
                        <a:pt x="21600" y="7661"/>
                      </a:cubicBezTo>
                      <a:lnTo>
                        <a:pt x="21600" y="6643"/>
                      </a:lnTo>
                      <a:cubicBezTo>
                        <a:pt x="21600" y="6375"/>
                        <a:pt x="21117" y="5434"/>
                        <a:pt x="21090" y="5377"/>
                      </a:cubicBezTo>
                      <a:cubicBezTo>
                        <a:pt x="20976" y="5089"/>
                        <a:pt x="20752" y="4781"/>
                        <a:pt x="20582" y="4512"/>
                      </a:cubicBezTo>
                      <a:cubicBezTo>
                        <a:pt x="18577" y="1191"/>
                        <a:pt x="14194" y="0"/>
                        <a:pt x="10654" y="0"/>
                      </a:cubicBezTo>
                      <a:cubicBezTo>
                        <a:pt x="5916" y="0"/>
                        <a:pt x="698" y="2189"/>
                        <a:pt x="0" y="6701"/>
                      </a:cubicBezTo>
                      <a:lnTo>
                        <a:pt x="0" y="7622"/>
                      </a:lnTo>
                      <a:cubicBezTo>
                        <a:pt x="0" y="7661"/>
                        <a:pt x="19" y="8006"/>
                        <a:pt x="45" y="8180"/>
                      </a:cubicBezTo>
                      <a:cubicBezTo>
                        <a:pt x="437" y="10329"/>
                        <a:pt x="2900" y="12614"/>
                        <a:pt x="4740" y="14764"/>
                      </a:cubicBezTo>
                      <a:cubicBezTo>
                        <a:pt x="6717" y="17068"/>
                        <a:pt x="8771" y="19334"/>
                        <a:pt x="10805" y="21600"/>
                      </a:cubicBezTo>
                      <a:cubicBezTo>
                        <a:pt x="12060" y="20121"/>
                        <a:pt x="13310" y="18623"/>
                        <a:pt x="14535" y="17183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92" name="íṧļíde">
                  <a:extLst>
                    <a:ext uri="{FF2B5EF4-FFF2-40B4-BE49-F238E27FC236}">
                      <a16:creationId xmlns:a16="http://schemas.microsoft.com/office/drawing/2014/main" id="{A6AF1D94-66ED-4C24-9094-DA5FB7568169}"/>
                    </a:ext>
                  </a:extLst>
                </p:cNvPr>
                <p:cNvSpPr/>
                <p:nvPr/>
              </p:nvSpPr>
              <p:spPr>
                <a:xfrm flipH="1">
                  <a:off x="3974318" y="739378"/>
                  <a:ext cx="330399" cy="33039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6" y="0"/>
                      </a:moveTo>
                      <a:cubicBezTo>
                        <a:pt x="4850" y="0"/>
                        <a:pt x="0" y="4838"/>
                        <a:pt x="0" y="10794"/>
                      </a:cubicBezTo>
                      <a:cubicBezTo>
                        <a:pt x="0" y="16749"/>
                        <a:pt x="4850" y="21600"/>
                        <a:pt x="10806" y="21600"/>
                      </a:cubicBezTo>
                      <a:cubicBezTo>
                        <a:pt x="16761" y="21600"/>
                        <a:pt x="21600" y="16749"/>
                        <a:pt x="21600" y="10794"/>
                      </a:cubicBezTo>
                      <a:cubicBezTo>
                        <a:pt x="21600" y="4838"/>
                        <a:pt x="16761" y="0"/>
                        <a:pt x="10806" y="0"/>
                      </a:cubicBezTo>
                      <a:close/>
                      <a:moveTo>
                        <a:pt x="10806" y="1051"/>
                      </a:moveTo>
                      <a:cubicBezTo>
                        <a:pt x="16179" y="1051"/>
                        <a:pt x="20549" y="5418"/>
                        <a:pt x="20549" y="10794"/>
                      </a:cubicBezTo>
                      <a:cubicBezTo>
                        <a:pt x="20549" y="16167"/>
                        <a:pt x="16179" y="20536"/>
                        <a:pt x="10806" y="20536"/>
                      </a:cubicBezTo>
                      <a:cubicBezTo>
                        <a:pt x="5431" y="20536"/>
                        <a:pt x="1064" y="16167"/>
                        <a:pt x="1064" y="10794"/>
                      </a:cubicBezTo>
                      <a:cubicBezTo>
                        <a:pt x="1064" y="5418"/>
                        <a:pt x="5431" y="1051"/>
                        <a:pt x="10806" y="1051"/>
                      </a:cubicBezTo>
                      <a:close/>
                      <a:moveTo>
                        <a:pt x="10988" y="3114"/>
                      </a:moveTo>
                      <a:cubicBezTo>
                        <a:pt x="10079" y="3114"/>
                        <a:pt x="9341" y="3852"/>
                        <a:pt x="9341" y="4761"/>
                      </a:cubicBezTo>
                      <a:cubicBezTo>
                        <a:pt x="9341" y="5670"/>
                        <a:pt x="10079" y="6409"/>
                        <a:pt x="10988" y="6409"/>
                      </a:cubicBezTo>
                      <a:cubicBezTo>
                        <a:pt x="11897" y="6409"/>
                        <a:pt x="12636" y="5670"/>
                        <a:pt x="12636" y="4761"/>
                      </a:cubicBezTo>
                      <a:cubicBezTo>
                        <a:pt x="12636" y="3852"/>
                        <a:pt x="11897" y="3114"/>
                        <a:pt x="10988" y="3114"/>
                      </a:cubicBezTo>
                      <a:close/>
                      <a:moveTo>
                        <a:pt x="9730" y="7408"/>
                      </a:moveTo>
                      <a:cubicBezTo>
                        <a:pt x="9671" y="7408"/>
                        <a:pt x="9613" y="7452"/>
                        <a:pt x="9613" y="7511"/>
                      </a:cubicBezTo>
                      <a:lnTo>
                        <a:pt x="9613" y="16709"/>
                      </a:lnTo>
                      <a:lnTo>
                        <a:pt x="8043" y="16709"/>
                      </a:lnTo>
                      <a:cubicBezTo>
                        <a:pt x="7983" y="16709"/>
                        <a:pt x="7926" y="16753"/>
                        <a:pt x="7926" y="16813"/>
                      </a:cubicBezTo>
                      <a:lnTo>
                        <a:pt x="7926" y="18240"/>
                      </a:lnTo>
                      <a:cubicBezTo>
                        <a:pt x="7926" y="18300"/>
                        <a:pt x="7983" y="18357"/>
                        <a:pt x="8043" y="18357"/>
                      </a:cubicBezTo>
                      <a:lnTo>
                        <a:pt x="13284" y="18357"/>
                      </a:lnTo>
                      <a:cubicBezTo>
                        <a:pt x="13343" y="18357"/>
                        <a:pt x="13401" y="18300"/>
                        <a:pt x="13401" y="18240"/>
                      </a:cubicBezTo>
                      <a:lnTo>
                        <a:pt x="13401" y="16813"/>
                      </a:lnTo>
                      <a:cubicBezTo>
                        <a:pt x="13401" y="16753"/>
                        <a:pt x="13343" y="16709"/>
                        <a:pt x="13284" y="16709"/>
                      </a:cubicBezTo>
                      <a:lnTo>
                        <a:pt x="11779" y="16709"/>
                      </a:lnTo>
                      <a:lnTo>
                        <a:pt x="11779" y="9081"/>
                      </a:lnTo>
                      <a:lnTo>
                        <a:pt x="13310" y="9081"/>
                      </a:lnTo>
                      <a:cubicBezTo>
                        <a:pt x="13369" y="9081"/>
                        <a:pt x="13414" y="9036"/>
                        <a:pt x="13414" y="8977"/>
                      </a:cubicBezTo>
                      <a:lnTo>
                        <a:pt x="13414" y="7511"/>
                      </a:lnTo>
                      <a:cubicBezTo>
                        <a:pt x="13414" y="7451"/>
                        <a:pt x="13369" y="7408"/>
                        <a:pt x="13310" y="7408"/>
                      </a:cubicBezTo>
                      <a:lnTo>
                        <a:pt x="9730" y="7408"/>
                      </a:lnTo>
                      <a:close/>
                    </a:path>
                  </a:pathLst>
                </a:custGeom>
                <a:solidFill>
                  <a:schemeClr val="tx2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 dirty="0"/>
                </a:p>
              </p:txBody>
            </p:sp>
            <p:sp>
              <p:nvSpPr>
                <p:cNvPr id="93" name="ï$ľídê">
                  <a:extLst>
                    <a:ext uri="{FF2B5EF4-FFF2-40B4-BE49-F238E27FC236}">
                      <a16:creationId xmlns:a16="http://schemas.microsoft.com/office/drawing/2014/main" id="{4CDCB101-1059-46EF-90D1-4E0F16C1948E}"/>
                    </a:ext>
                  </a:extLst>
                </p:cNvPr>
                <p:cNvSpPr/>
                <p:nvPr/>
              </p:nvSpPr>
              <p:spPr>
                <a:xfrm flipH="1">
                  <a:off x="5030257" y="3311528"/>
                  <a:ext cx="426378" cy="34110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412" h="21600" extrusionOk="0">
                      <a:moveTo>
                        <a:pt x="17221" y="14920"/>
                      </a:moveTo>
                      <a:lnTo>
                        <a:pt x="16074" y="14920"/>
                      </a:lnTo>
                      <a:cubicBezTo>
                        <a:pt x="15211" y="14920"/>
                        <a:pt x="14955" y="14657"/>
                        <a:pt x="14955" y="14081"/>
                      </a:cubicBezTo>
                      <a:cubicBezTo>
                        <a:pt x="14955" y="13458"/>
                        <a:pt x="15695" y="13148"/>
                        <a:pt x="16357" y="12775"/>
                      </a:cubicBezTo>
                      <a:cubicBezTo>
                        <a:pt x="16964" y="12434"/>
                        <a:pt x="17886" y="11935"/>
                        <a:pt x="18351" y="11935"/>
                      </a:cubicBezTo>
                      <a:cubicBezTo>
                        <a:pt x="18828" y="11935"/>
                        <a:pt x="19269" y="11971"/>
                        <a:pt x="19269" y="12931"/>
                      </a:cubicBezTo>
                      <a:lnTo>
                        <a:pt x="19269" y="13926"/>
                      </a:lnTo>
                      <a:lnTo>
                        <a:pt x="19271" y="13926"/>
                      </a:lnTo>
                      <a:cubicBezTo>
                        <a:pt x="19271" y="14748"/>
                        <a:pt x="18247" y="14920"/>
                        <a:pt x="17221" y="14920"/>
                      </a:cubicBezTo>
                      <a:close/>
                      <a:moveTo>
                        <a:pt x="3742" y="8463"/>
                      </a:moveTo>
                      <a:cubicBezTo>
                        <a:pt x="4303" y="5512"/>
                        <a:pt x="4918" y="3845"/>
                        <a:pt x="5053" y="3380"/>
                      </a:cubicBezTo>
                      <a:cubicBezTo>
                        <a:pt x="5160" y="3043"/>
                        <a:pt x="5266" y="1998"/>
                        <a:pt x="10707" y="1998"/>
                      </a:cubicBezTo>
                      <a:cubicBezTo>
                        <a:pt x="16147" y="1998"/>
                        <a:pt x="16275" y="3189"/>
                        <a:pt x="16289" y="3203"/>
                      </a:cubicBezTo>
                      <a:cubicBezTo>
                        <a:pt x="16457" y="3836"/>
                        <a:pt x="17121" y="5741"/>
                        <a:pt x="17653" y="8462"/>
                      </a:cubicBezTo>
                      <a:cubicBezTo>
                        <a:pt x="17653" y="8462"/>
                        <a:pt x="15355" y="9448"/>
                        <a:pt x="10706" y="9448"/>
                      </a:cubicBezTo>
                      <a:cubicBezTo>
                        <a:pt x="6054" y="9448"/>
                        <a:pt x="3742" y="8463"/>
                        <a:pt x="3742" y="8463"/>
                      </a:cubicBezTo>
                      <a:close/>
                      <a:moveTo>
                        <a:pt x="5337" y="14920"/>
                      </a:moveTo>
                      <a:lnTo>
                        <a:pt x="4191" y="14920"/>
                      </a:lnTo>
                      <a:cubicBezTo>
                        <a:pt x="3166" y="14920"/>
                        <a:pt x="2142" y="14747"/>
                        <a:pt x="2142" y="13926"/>
                      </a:cubicBezTo>
                      <a:lnTo>
                        <a:pt x="2142" y="12932"/>
                      </a:lnTo>
                      <a:cubicBezTo>
                        <a:pt x="2142" y="11971"/>
                        <a:pt x="2584" y="11938"/>
                        <a:pt x="3061" y="11938"/>
                      </a:cubicBezTo>
                      <a:cubicBezTo>
                        <a:pt x="3525" y="11938"/>
                        <a:pt x="4447" y="12433"/>
                        <a:pt x="5055" y="12776"/>
                      </a:cubicBezTo>
                      <a:cubicBezTo>
                        <a:pt x="5717" y="13149"/>
                        <a:pt x="6457" y="13462"/>
                        <a:pt x="6457" y="14081"/>
                      </a:cubicBezTo>
                      <a:cubicBezTo>
                        <a:pt x="6457" y="14657"/>
                        <a:pt x="6202" y="14920"/>
                        <a:pt x="5337" y="14920"/>
                      </a:cubicBezTo>
                      <a:close/>
                      <a:moveTo>
                        <a:pt x="21371" y="9899"/>
                      </a:moveTo>
                      <a:lnTo>
                        <a:pt x="21128" y="9001"/>
                      </a:lnTo>
                      <a:cubicBezTo>
                        <a:pt x="20992" y="8502"/>
                        <a:pt x="20563" y="8101"/>
                        <a:pt x="20168" y="8101"/>
                      </a:cubicBezTo>
                      <a:lnTo>
                        <a:pt x="19283" y="8101"/>
                      </a:lnTo>
                      <a:cubicBezTo>
                        <a:pt x="18618" y="5749"/>
                        <a:pt x="17806" y="2910"/>
                        <a:pt x="17570" y="2244"/>
                      </a:cubicBezTo>
                      <a:cubicBezTo>
                        <a:pt x="17202" y="1210"/>
                        <a:pt x="16027" y="744"/>
                        <a:pt x="15382" y="517"/>
                      </a:cubicBezTo>
                      <a:cubicBezTo>
                        <a:pt x="15382" y="517"/>
                        <a:pt x="14303" y="0"/>
                        <a:pt x="10706" y="0"/>
                      </a:cubicBezTo>
                      <a:cubicBezTo>
                        <a:pt x="7109" y="0"/>
                        <a:pt x="6029" y="517"/>
                        <a:pt x="6029" y="517"/>
                      </a:cubicBezTo>
                      <a:cubicBezTo>
                        <a:pt x="5274" y="836"/>
                        <a:pt x="4223" y="1286"/>
                        <a:pt x="3805" y="2291"/>
                      </a:cubicBezTo>
                      <a:cubicBezTo>
                        <a:pt x="3609" y="2763"/>
                        <a:pt x="2784" y="5683"/>
                        <a:pt x="2112" y="8100"/>
                      </a:cubicBezTo>
                      <a:lnTo>
                        <a:pt x="1244" y="8100"/>
                      </a:lnTo>
                      <a:cubicBezTo>
                        <a:pt x="850" y="8100"/>
                        <a:pt x="421" y="8502"/>
                        <a:pt x="285" y="9001"/>
                      </a:cubicBezTo>
                      <a:lnTo>
                        <a:pt x="41" y="9899"/>
                      </a:lnTo>
                      <a:cubicBezTo>
                        <a:pt x="-94" y="10397"/>
                        <a:pt x="115" y="10798"/>
                        <a:pt x="510" y="10798"/>
                      </a:cubicBezTo>
                      <a:lnTo>
                        <a:pt x="1366" y="10798"/>
                      </a:lnTo>
                      <a:cubicBezTo>
                        <a:pt x="1256" y="11203"/>
                        <a:pt x="1189" y="11449"/>
                        <a:pt x="1189" y="11449"/>
                      </a:cubicBezTo>
                      <a:cubicBezTo>
                        <a:pt x="1120" y="11595"/>
                        <a:pt x="1071" y="12270"/>
                        <a:pt x="1071" y="12450"/>
                      </a:cubicBezTo>
                      <a:lnTo>
                        <a:pt x="1071" y="20647"/>
                      </a:lnTo>
                      <a:cubicBezTo>
                        <a:pt x="1071" y="21174"/>
                        <a:pt x="1409" y="21600"/>
                        <a:pt x="1826" y="21600"/>
                      </a:cubicBezTo>
                      <a:lnTo>
                        <a:pt x="4597" y="21600"/>
                      </a:lnTo>
                      <a:cubicBezTo>
                        <a:pt x="5015" y="21600"/>
                        <a:pt x="5353" y="21174"/>
                        <a:pt x="5353" y="20647"/>
                      </a:cubicBezTo>
                      <a:lnTo>
                        <a:pt x="5353" y="18899"/>
                      </a:lnTo>
                      <a:lnTo>
                        <a:pt x="16059" y="18899"/>
                      </a:lnTo>
                      <a:lnTo>
                        <a:pt x="16059" y="20647"/>
                      </a:lnTo>
                      <a:cubicBezTo>
                        <a:pt x="16059" y="21174"/>
                        <a:pt x="16397" y="21600"/>
                        <a:pt x="16815" y="21600"/>
                      </a:cubicBezTo>
                      <a:lnTo>
                        <a:pt x="19585" y="21600"/>
                      </a:lnTo>
                      <a:cubicBezTo>
                        <a:pt x="20003" y="21600"/>
                        <a:pt x="20342" y="21174"/>
                        <a:pt x="20342" y="20647"/>
                      </a:cubicBezTo>
                      <a:lnTo>
                        <a:pt x="20342" y="12448"/>
                      </a:lnTo>
                      <a:cubicBezTo>
                        <a:pt x="20342" y="12268"/>
                        <a:pt x="20292" y="11595"/>
                        <a:pt x="20223" y="11449"/>
                      </a:cubicBezTo>
                      <a:cubicBezTo>
                        <a:pt x="20223" y="11449"/>
                        <a:pt x="20154" y="11203"/>
                        <a:pt x="20042" y="10798"/>
                      </a:cubicBezTo>
                      <a:lnTo>
                        <a:pt x="20902" y="10798"/>
                      </a:lnTo>
                      <a:cubicBezTo>
                        <a:pt x="21296" y="10798"/>
                        <a:pt x="21506" y="10396"/>
                        <a:pt x="21371" y="9899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70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94" name="iṣļidé">
                  <a:extLst>
                    <a:ext uri="{FF2B5EF4-FFF2-40B4-BE49-F238E27FC236}">
                      <a16:creationId xmlns:a16="http://schemas.microsoft.com/office/drawing/2014/main" id="{BF6763CB-3C72-43E5-B01F-5BF1014F6E41}"/>
                    </a:ext>
                  </a:extLst>
                </p:cNvPr>
                <p:cNvSpPr/>
                <p:nvPr/>
              </p:nvSpPr>
              <p:spPr>
                <a:xfrm flipH="1">
                  <a:off x="6098393" y="3019029"/>
                  <a:ext cx="384771" cy="38477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907" y="0"/>
                      </a:moveTo>
                      <a:cubicBezTo>
                        <a:pt x="1303" y="0"/>
                        <a:pt x="0" y="1314"/>
                        <a:pt x="0" y="2919"/>
                      </a:cubicBezTo>
                      <a:lnTo>
                        <a:pt x="0" y="18693"/>
                      </a:lnTo>
                      <a:cubicBezTo>
                        <a:pt x="0" y="20297"/>
                        <a:pt x="1303" y="21600"/>
                        <a:pt x="2907" y="21600"/>
                      </a:cubicBezTo>
                      <a:lnTo>
                        <a:pt x="18693" y="21600"/>
                      </a:lnTo>
                      <a:cubicBezTo>
                        <a:pt x="20297" y="21600"/>
                        <a:pt x="21600" y="20297"/>
                        <a:pt x="21600" y="18693"/>
                      </a:cubicBezTo>
                      <a:lnTo>
                        <a:pt x="21600" y="2919"/>
                      </a:lnTo>
                      <a:cubicBezTo>
                        <a:pt x="21600" y="1314"/>
                        <a:pt x="20297" y="0"/>
                        <a:pt x="18693" y="0"/>
                      </a:cubicBezTo>
                      <a:lnTo>
                        <a:pt x="2907" y="0"/>
                      </a:lnTo>
                      <a:close/>
                      <a:moveTo>
                        <a:pt x="10237" y="3320"/>
                      </a:moveTo>
                      <a:lnTo>
                        <a:pt x="15529" y="3320"/>
                      </a:lnTo>
                      <a:cubicBezTo>
                        <a:pt x="15846" y="3320"/>
                        <a:pt x="16108" y="3571"/>
                        <a:pt x="16108" y="3888"/>
                      </a:cubicBezTo>
                      <a:cubicBezTo>
                        <a:pt x="16108" y="3888"/>
                        <a:pt x="16108" y="17712"/>
                        <a:pt x="16108" y="17712"/>
                      </a:cubicBezTo>
                      <a:cubicBezTo>
                        <a:pt x="16108" y="18029"/>
                        <a:pt x="15847" y="18291"/>
                        <a:pt x="15529" y="18291"/>
                      </a:cubicBezTo>
                      <a:lnTo>
                        <a:pt x="13791" y="18291"/>
                      </a:lnTo>
                      <a:cubicBezTo>
                        <a:pt x="13474" y="18292"/>
                        <a:pt x="13223" y="18029"/>
                        <a:pt x="13223" y="17712"/>
                      </a:cubicBezTo>
                      <a:lnTo>
                        <a:pt x="13223" y="12800"/>
                      </a:lnTo>
                      <a:lnTo>
                        <a:pt x="10237" y="12800"/>
                      </a:lnTo>
                      <a:cubicBezTo>
                        <a:pt x="7622" y="12800"/>
                        <a:pt x="5492" y="10680"/>
                        <a:pt x="5492" y="8065"/>
                      </a:cubicBezTo>
                      <a:cubicBezTo>
                        <a:pt x="5492" y="5451"/>
                        <a:pt x="7622" y="3320"/>
                        <a:pt x="10237" y="3320"/>
                      </a:cubicBezTo>
                      <a:close/>
                      <a:moveTo>
                        <a:pt x="10237" y="6038"/>
                      </a:moveTo>
                      <a:cubicBezTo>
                        <a:pt x="9214" y="6038"/>
                        <a:pt x="8377" y="6864"/>
                        <a:pt x="8377" y="7887"/>
                      </a:cubicBezTo>
                      <a:cubicBezTo>
                        <a:pt x="8377" y="8910"/>
                        <a:pt x="9214" y="9747"/>
                        <a:pt x="10237" y="9747"/>
                      </a:cubicBezTo>
                      <a:lnTo>
                        <a:pt x="13223" y="9747"/>
                      </a:lnTo>
                      <a:lnTo>
                        <a:pt x="13223" y="6038"/>
                      </a:lnTo>
                      <a:lnTo>
                        <a:pt x="10237" y="6038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95" name="îṡḻïďé">
                  <a:extLst>
                    <a:ext uri="{FF2B5EF4-FFF2-40B4-BE49-F238E27FC236}">
                      <a16:creationId xmlns:a16="http://schemas.microsoft.com/office/drawing/2014/main" id="{BAC43464-C3C4-4255-B337-31B90658C9A2}"/>
                    </a:ext>
                  </a:extLst>
                </p:cNvPr>
                <p:cNvSpPr/>
                <p:nvPr/>
              </p:nvSpPr>
              <p:spPr>
                <a:xfrm flipH="1">
                  <a:off x="4875254" y="3812845"/>
                  <a:ext cx="163617" cy="14325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40" h="21505" extrusionOk="0">
                      <a:moveTo>
                        <a:pt x="20367" y="8874"/>
                      </a:moveTo>
                      <a:lnTo>
                        <a:pt x="13971" y="8612"/>
                      </a:lnTo>
                      <a:lnTo>
                        <a:pt x="12433" y="5925"/>
                      </a:lnTo>
                      <a:cubicBezTo>
                        <a:pt x="12251" y="5607"/>
                        <a:pt x="11965" y="5389"/>
                        <a:pt x="11639" y="5320"/>
                      </a:cubicBezTo>
                      <a:lnTo>
                        <a:pt x="4807" y="3866"/>
                      </a:lnTo>
                      <a:lnTo>
                        <a:pt x="3325" y="729"/>
                      </a:lnTo>
                      <a:cubicBezTo>
                        <a:pt x="3069" y="190"/>
                        <a:pt x="2535" y="-95"/>
                        <a:pt x="2007" y="29"/>
                      </a:cubicBezTo>
                      <a:cubicBezTo>
                        <a:pt x="1479" y="157"/>
                        <a:pt x="1088" y="663"/>
                        <a:pt x="1046" y="1274"/>
                      </a:cubicBezTo>
                      <a:lnTo>
                        <a:pt x="0" y="16054"/>
                      </a:lnTo>
                      <a:lnTo>
                        <a:pt x="14515" y="21505"/>
                      </a:lnTo>
                      <a:lnTo>
                        <a:pt x="14415" y="17274"/>
                      </a:lnTo>
                      <a:lnTo>
                        <a:pt x="16468" y="16953"/>
                      </a:lnTo>
                      <a:cubicBezTo>
                        <a:pt x="18371" y="16657"/>
                        <a:pt x="19976" y="15202"/>
                        <a:pt x="20659" y="13154"/>
                      </a:cubicBezTo>
                      <a:lnTo>
                        <a:pt x="21459" y="10750"/>
                      </a:lnTo>
                      <a:cubicBezTo>
                        <a:pt x="21600" y="10333"/>
                        <a:pt x="21554" y="9862"/>
                        <a:pt x="21337" y="9492"/>
                      </a:cubicBezTo>
                      <a:cubicBezTo>
                        <a:pt x="21120" y="9121"/>
                        <a:pt x="20761" y="8888"/>
                        <a:pt x="20367" y="8874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96" name="íŝlîdé">
                  <a:extLst>
                    <a:ext uri="{FF2B5EF4-FFF2-40B4-BE49-F238E27FC236}">
                      <a16:creationId xmlns:a16="http://schemas.microsoft.com/office/drawing/2014/main" id="{AF92D5C4-696E-443F-9E7B-B42C76CA30F9}"/>
                    </a:ext>
                  </a:extLst>
                </p:cNvPr>
                <p:cNvSpPr/>
                <p:nvPr/>
              </p:nvSpPr>
              <p:spPr>
                <a:xfrm flipH="1">
                  <a:off x="4925191" y="3938174"/>
                  <a:ext cx="346435" cy="27036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34" h="21600" extrusionOk="0">
                      <a:moveTo>
                        <a:pt x="20250" y="19016"/>
                      </a:moveTo>
                      <a:lnTo>
                        <a:pt x="20206" y="10658"/>
                      </a:lnTo>
                      <a:cubicBezTo>
                        <a:pt x="20203" y="10196"/>
                        <a:pt x="20298" y="9755"/>
                        <a:pt x="20481" y="9386"/>
                      </a:cubicBezTo>
                      <a:cubicBezTo>
                        <a:pt x="21154" y="8021"/>
                        <a:pt x="21492" y="6447"/>
                        <a:pt x="21457" y="4831"/>
                      </a:cubicBezTo>
                      <a:lnTo>
                        <a:pt x="21421" y="3057"/>
                      </a:lnTo>
                      <a:lnTo>
                        <a:pt x="14199" y="0"/>
                      </a:lnTo>
                      <a:cubicBezTo>
                        <a:pt x="14105" y="189"/>
                        <a:pt x="13991" y="361"/>
                        <a:pt x="13859" y="513"/>
                      </a:cubicBezTo>
                      <a:cubicBezTo>
                        <a:pt x="13185" y="1288"/>
                        <a:pt x="12130" y="2587"/>
                        <a:pt x="10938" y="4369"/>
                      </a:cubicBezTo>
                      <a:cubicBezTo>
                        <a:pt x="10527" y="4982"/>
                        <a:pt x="10099" y="5678"/>
                        <a:pt x="9665" y="6439"/>
                      </a:cubicBezTo>
                      <a:cubicBezTo>
                        <a:pt x="7815" y="9685"/>
                        <a:pt x="6679" y="13496"/>
                        <a:pt x="6379" y="17464"/>
                      </a:cubicBezTo>
                      <a:cubicBezTo>
                        <a:pt x="6331" y="18100"/>
                        <a:pt x="6301" y="18666"/>
                        <a:pt x="6283" y="19147"/>
                      </a:cubicBezTo>
                      <a:cubicBezTo>
                        <a:pt x="5332" y="18696"/>
                        <a:pt x="3656" y="17561"/>
                        <a:pt x="3403" y="15078"/>
                      </a:cubicBezTo>
                      <a:cubicBezTo>
                        <a:pt x="3047" y="11578"/>
                        <a:pt x="4991" y="9923"/>
                        <a:pt x="5071" y="9855"/>
                      </a:cubicBezTo>
                      <a:cubicBezTo>
                        <a:pt x="5319" y="9657"/>
                        <a:pt x="5409" y="9249"/>
                        <a:pt x="5282" y="8912"/>
                      </a:cubicBezTo>
                      <a:cubicBezTo>
                        <a:pt x="5154" y="8573"/>
                        <a:pt x="4850" y="8412"/>
                        <a:pt x="4575" y="8538"/>
                      </a:cubicBezTo>
                      <a:lnTo>
                        <a:pt x="4194" y="8711"/>
                      </a:lnTo>
                      <a:lnTo>
                        <a:pt x="4194" y="8575"/>
                      </a:lnTo>
                      <a:cubicBezTo>
                        <a:pt x="4194" y="8240"/>
                        <a:pt x="4018" y="7947"/>
                        <a:pt x="3766" y="7862"/>
                      </a:cubicBezTo>
                      <a:cubicBezTo>
                        <a:pt x="3513" y="7778"/>
                        <a:pt x="3248" y="7921"/>
                        <a:pt x="3121" y="8212"/>
                      </a:cubicBezTo>
                      <a:lnTo>
                        <a:pt x="2830" y="8873"/>
                      </a:lnTo>
                      <a:lnTo>
                        <a:pt x="2760" y="8691"/>
                      </a:lnTo>
                      <a:cubicBezTo>
                        <a:pt x="2654" y="8414"/>
                        <a:pt x="2422" y="8250"/>
                        <a:pt x="2184" y="8284"/>
                      </a:cubicBezTo>
                      <a:cubicBezTo>
                        <a:pt x="1944" y="8318"/>
                        <a:pt x="1746" y="8541"/>
                        <a:pt x="1689" y="8841"/>
                      </a:cubicBezTo>
                      <a:lnTo>
                        <a:pt x="1284" y="10966"/>
                      </a:lnTo>
                      <a:lnTo>
                        <a:pt x="1107" y="10936"/>
                      </a:lnTo>
                      <a:cubicBezTo>
                        <a:pt x="912" y="10904"/>
                        <a:pt x="720" y="11000"/>
                        <a:pt x="593" y="11193"/>
                      </a:cubicBezTo>
                      <a:cubicBezTo>
                        <a:pt x="467" y="11384"/>
                        <a:pt x="426" y="11646"/>
                        <a:pt x="484" y="11886"/>
                      </a:cubicBezTo>
                      <a:lnTo>
                        <a:pt x="642" y="12534"/>
                      </a:lnTo>
                      <a:cubicBezTo>
                        <a:pt x="346" y="12666"/>
                        <a:pt x="137" y="12880"/>
                        <a:pt x="137" y="13316"/>
                      </a:cubicBezTo>
                      <a:cubicBezTo>
                        <a:pt x="137" y="13447"/>
                        <a:pt x="137" y="13529"/>
                        <a:pt x="507" y="14933"/>
                      </a:cubicBezTo>
                      <a:cubicBezTo>
                        <a:pt x="440" y="15049"/>
                        <a:pt x="314" y="15221"/>
                        <a:pt x="202" y="15345"/>
                      </a:cubicBezTo>
                      <a:cubicBezTo>
                        <a:pt x="-27" y="15597"/>
                        <a:pt x="-66" y="16031"/>
                        <a:pt x="110" y="16342"/>
                      </a:cubicBezTo>
                      <a:lnTo>
                        <a:pt x="562" y="17134"/>
                      </a:lnTo>
                      <a:cubicBezTo>
                        <a:pt x="548" y="17159"/>
                        <a:pt x="535" y="17187"/>
                        <a:pt x="523" y="17215"/>
                      </a:cubicBezTo>
                      <a:cubicBezTo>
                        <a:pt x="424" y="17460"/>
                        <a:pt x="439" y="17754"/>
                        <a:pt x="562" y="17979"/>
                      </a:cubicBezTo>
                      <a:lnTo>
                        <a:pt x="593" y="18035"/>
                      </a:lnTo>
                      <a:cubicBezTo>
                        <a:pt x="1158" y="19072"/>
                        <a:pt x="1856" y="19910"/>
                        <a:pt x="2671" y="20528"/>
                      </a:cubicBezTo>
                      <a:cubicBezTo>
                        <a:pt x="3121" y="20868"/>
                        <a:pt x="3499" y="21085"/>
                        <a:pt x="3829" y="21187"/>
                      </a:cubicBezTo>
                      <a:cubicBezTo>
                        <a:pt x="5141" y="21596"/>
                        <a:pt x="6760" y="21600"/>
                        <a:pt x="6829" y="21600"/>
                      </a:cubicBezTo>
                      <a:cubicBezTo>
                        <a:pt x="6829" y="21600"/>
                        <a:pt x="6829" y="21600"/>
                        <a:pt x="6830" y="21600"/>
                      </a:cubicBezTo>
                      <a:cubicBezTo>
                        <a:pt x="6830" y="21600"/>
                        <a:pt x="6830" y="21600"/>
                        <a:pt x="6831" y="21600"/>
                      </a:cubicBezTo>
                      <a:lnTo>
                        <a:pt x="16152" y="21600"/>
                      </a:lnTo>
                      <a:cubicBezTo>
                        <a:pt x="16153" y="21600"/>
                        <a:pt x="16154" y="21600"/>
                        <a:pt x="16155" y="21600"/>
                      </a:cubicBezTo>
                      <a:cubicBezTo>
                        <a:pt x="16471" y="21600"/>
                        <a:pt x="16728" y="21270"/>
                        <a:pt x="16728" y="20864"/>
                      </a:cubicBezTo>
                      <a:cubicBezTo>
                        <a:pt x="16728" y="20836"/>
                        <a:pt x="16727" y="20809"/>
                        <a:pt x="16725" y="20781"/>
                      </a:cubicBezTo>
                      <a:cubicBezTo>
                        <a:pt x="16694" y="19712"/>
                        <a:pt x="16062" y="18810"/>
                        <a:pt x="15231" y="18664"/>
                      </a:cubicBezTo>
                      <a:lnTo>
                        <a:pt x="14818" y="18593"/>
                      </a:lnTo>
                      <a:lnTo>
                        <a:pt x="17368" y="15595"/>
                      </a:lnTo>
                      <a:cubicBezTo>
                        <a:pt x="17403" y="15554"/>
                        <a:pt x="17434" y="15509"/>
                        <a:pt x="17460" y="15457"/>
                      </a:cubicBezTo>
                      <a:lnTo>
                        <a:pt x="17516" y="15349"/>
                      </a:lnTo>
                      <a:lnTo>
                        <a:pt x="17918" y="19958"/>
                      </a:lnTo>
                      <a:cubicBezTo>
                        <a:pt x="17999" y="20895"/>
                        <a:pt x="18613" y="21600"/>
                        <a:pt x="19346" y="21600"/>
                      </a:cubicBezTo>
                      <a:lnTo>
                        <a:pt x="20961" y="21600"/>
                      </a:lnTo>
                      <a:cubicBezTo>
                        <a:pt x="21278" y="21600"/>
                        <a:pt x="21534" y="21270"/>
                        <a:pt x="21534" y="20864"/>
                      </a:cubicBezTo>
                      <a:lnTo>
                        <a:pt x="21534" y="20828"/>
                      </a:lnTo>
                      <a:cubicBezTo>
                        <a:pt x="21534" y="19883"/>
                        <a:pt x="20970" y="19103"/>
                        <a:pt x="20250" y="1901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97" name="îşliďe">
                  <a:extLst>
                    <a:ext uri="{FF2B5EF4-FFF2-40B4-BE49-F238E27FC236}">
                      <a16:creationId xmlns:a16="http://schemas.microsoft.com/office/drawing/2014/main" id="{C4F85005-8D87-4731-9EDF-7BEA1571C12D}"/>
                    </a:ext>
                  </a:extLst>
                </p:cNvPr>
                <p:cNvSpPr/>
                <p:nvPr/>
              </p:nvSpPr>
              <p:spPr>
                <a:xfrm flipH="1">
                  <a:off x="2046058" y="1962745"/>
                  <a:ext cx="396704" cy="32251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80" h="21600" extrusionOk="0">
                      <a:moveTo>
                        <a:pt x="0" y="675"/>
                      </a:moveTo>
                      <a:cubicBezTo>
                        <a:pt x="0" y="1049"/>
                        <a:pt x="244" y="1351"/>
                        <a:pt x="547" y="1351"/>
                      </a:cubicBezTo>
                      <a:lnTo>
                        <a:pt x="2641" y="1351"/>
                      </a:lnTo>
                      <a:lnTo>
                        <a:pt x="5764" y="16976"/>
                      </a:lnTo>
                      <a:lnTo>
                        <a:pt x="6233" y="19697"/>
                      </a:lnTo>
                      <a:cubicBezTo>
                        <a:pt x="6423" y="20800"/>
                        <a:pt x="7226" y="21600"/>
                        <a:pt x="8142" y="21600"/>
                      </a:cubicBezTo>
                      <a:lnTo>
                        <a:pt x="18710" y="21600"/>
                      </a:lnTo>
                      <a:cubicBezTo>
                        <a:pt x="19012" y="21600"/>
                        <a:pt x="19259" y="21297"/>
                        <a:pt x="19259" y="20924"/>
                      </a:cubicBezTo>
                      <a:cubicBezTo>
                        <a:pt x="19259" y="20551"/>
                        <a:pt x="19012" y="20249"/>
                        <a:pt x="18710" y="20249"/>
                      </a:cubicBezTo>
                      <a:lnTo>
                        <a:pt x="8142" y="20249"/>
                      </a:lnTo>
                      <a:cubicBezTo>
                        <a:pt x="7741" y="20249"/>
                        <a:pt x="7390" y="19899"/>
                        <a:pt x="7306" y="19416"/>
                      </a:cubicBezTo>
                      <a:lnTo>
                        <a:pt x="6977" y="17500"/>
                      </a:lnTo>
                      <a:lnTo>
                        <a:pt x="19517" y="17500"/>
                      </a:lnTo>
                      <a:cubicBezTo>
                        <a:pt x="19782" y="17500"/>
                        <a:pt x="20009" y="17268"/>
                        <a:pt x="20057" y="16946"/>
                      </a:cubicBezTo>
                      <a:lnTo>
                        <a:pt x="21571" y="6761"/>
                      </a:lnTo>
                      <a:cubicBezTo>
                        <a:pt x="21600" y="6564"/>
                        <a:pt x="21556" y="6361"/>
                        <a:pt x="21453" y="6207"/>
                      </a:cubicBezTo>
                      <a:cubicBezTo>
                        <a:pt x="21349" y="6053"/>
                        <a:pt x="21194" y="5965"/>
                        <a:pt x="21032" y="5964"/>
                      </a:cubicBezTo>
                      <a:lnTo>
                        <a:pt x="4689" y="5943"/>
                      </a:lnTo>
                      <a:lnTo>
                        <a:pt x="3603" y="514"/>
                      </a:lnTo>
                      <a:cubicBezTo>
                        <a:pt x="3542" y="212"/>
                        <a:pt x="3323" y="0"/>
                        <a:pt x="3071" y="0"/>
                      </a:cubicBezTo>
                      <a:lnTo>
                        <a:pt x="547" y="0"/>
                      </a:lnTo>
                      <a:cubicBezTo>
                        <a:pt x="244" y="0"/>
                        <a:pt x="0" y="303"/>
                        <a:pt x="0" y="675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98" name="îṡḷïḓê">
                  <a:extLst>
                    <a:ext uri="{FF2B5EF4-FFF2-40B4-BE49-F238E27FC236}">
                      <a16:creationId xmlns:a16="http://schemas.microsoft.com/office/drawing/2014/main" id="{C93BAA32-B9C3-43A7-BFDE-0EC30D2C3A01}"/>
                    </a:ext>
                  </a:extLst>
                </p:cNvPr>
                <p:cNvSpPr/>
                <p:nvPr/>
              </p:nvSpPr>
              <p:spPr>
                <a:xfrm flipH="1">
                  <a:off x="2261108" y="2296956"/>
                  <a:ext cx="56324" cy="5633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10802"/>
                      </a:moveTo>
                      <a:cubicBezTo>
                        <a:pt x="21600" y="4848"/>
                        <a:pt x="16759" y="0"/>
                        <a:pt x="10800" y="0"/>
                      </a:cubicBezTo>
                      <a:cubicBezTo>
                        <a:pt x="4848" y="0"/>
                        <a:pt x="0" y="4848"/>
                        <a:pt x="0" y="10802"/>
                      </a:cubicBezTo>
                      <a:cubicBezTo>
                        <a:pt x="0" y="16758"/>
                        <a:pt x="4848" y="21600"/>
                        <a:pt x="10800" y="21600"/>
                      </a:cubicBezTo>
                      <a:cubicBezTo>
                        <a:pt x="16759" y="21600"/>
                        <a:pt x="21600" y="16758"/>
                        <a:pt x="21600" y="10802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99" name="îṡ1ïde">
                  <a:extLst>
                    <a:ext uri="{FF2B5EF4-FFF2-40B4-BE49-F238E27FC236}">
                      <a16:creationId xmlns:a16="http://schemas.microsoft.com/office/drawing/2014/main" id="{915F6D36-B338-4EAD-A18E-865C68357EE3}"/>
                    </a:ext>
                  </a:extLst>
                </p:cNvPr>
                <p:cNvSpPr/>
                <p:nvPr/>
              </p:nvSpPr>
              <p:spPr>
                <a:xfrm flipH="1">
                  <a:off x="2082049" y="2296956"/>
                  <a:ext cx="56342" cy="5633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10802"/>
                      </a:moveTo>
                      <a:cubicBezTo>
                        <a:pt x="21600" y="4848"/>
                        <a:pt x="16754" y="0"/>
                        <a:pt x="10803" y="0"/>
                      </a:cubicBezTo>
                      <a:cubicBezTo>
                        <a:pt x="4846" y="0"/>
                        <a:pt x="0" y="4848"/>
                        <a:pt x="0" y="10802"/>
                      </a:cubicBezTo>
                      <a:cubicBezTo>
                        <a:pt x="0" y="16758"/>
                        <a:pt x="4846" y="21600"/>
                        <a:pt x="10803" y="21600"/>
                      </a:cubicBezTo>
                      <a:cubicBezTo>
                        <a:pt x="16754" y="21600"/>
                        <a:pt x="21600" y="16758"/>
                        <a:pt x="21600" y="10802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00" name="íS1idé">
                  <a:extLst>
                    <a:ext uri="{FF2B5EF4-FFF2-40B4-BE49-F238E27FC236}">
                      <a16:creationId xmlns:a16="http://schemas.microsoft.com/office/drawing/2014/main" id="{4BD50BDE-CB70-4F25-8D0F-FCDA3781E6B3}"/>
                    </a:ext>
                  </a:extLst>
                </p:cNvPr>
                <p:cNvSpPr/>
                <p:nvPr/>
              </p:nvSpPr>
              <p:spPr>
                <a:xfrm flipH="1">
                  <a:off x="5956228" y="3562186"/>
                  <a:ext cx="359809" cy="26034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476" h="21429" extrusionOk="0">
                      <a:moveTo>
                        <a:pt x="16727" y="3185"/>
                      </a:moveTo>
                      <a:cubicBezTo>
                        <a:pt x="17540" y="2834"/>
                        <a:pt x="18408" y="3460"/>
                        <a:pt x="18663" y="4579"/>
                      </a:cubicBezTo>
                      <a:cubicBezTo>
                        <a:pt x="18918" y="5699"/>
                        <a:pt x="18464" y="6897"/>
                        <a:pt x="17651" y="7248"/>
                      </a:cubicBezTo>
                      <a:lnTo>
                        <a:pt x="16413" y="7785"/>
                      </a:lnTo>
                      <a:cubicBezTo>
                        <a:pt x="16406" y="6920"/>
                        <a:pt x="16308" y="6041"/>
                        <a:pt x="16111" y="5175"/>
                      </a:cubicBezTo>
                      <a:lnTo>
                        <a:pt x="15755" y="3605"/>
                      </a:lnTo>
                      <a:cubicBezTo>
                        <a:pt x="15755" y="3605"/>
                        <a:pt x="16727" y="3185"/>
                        <a:pt x="16727" y="3185"/>
                      </a:cubicBezTo>
                      <a:close/>
                      <a:moveTo>
                        <a:pt x="21452" y="11657"/>
                      </a:moveTo>
                      <a:cubicBezTo>
                        <a:pt x="21365" y="11279"/>
                        <a:pt x="21072" y="11065"/>
                        <a:pt x="20795" y="11185"/>
                      </a:cubicBezTo>
                      <a:lnTo>
                        <a:pt x="14869" y="13748"/>
                      </a:lnTo>
                      <a:cubicBezTo>
                        <a:pt x="15632" y="12488"/>
                        <a:pt x="16139" y="10961"/>
                        <a:pt x="16329" y="9332"/>
                      </a:cubicBezTo>
                      <a:lnTo>
                        <a:pt x="17964" y="8625"/>
                      </a:lnTo>
                      <a:cubicBezTo>
                        <a:pt x="19328" y="8037"/>
                        <a:pt x="20089" y="6028"/>
                        <a:pt x="19661" y="4148"/>
                      </a:cubicBezTo>
                      <a:cubicBezTo>
                        <a:pt x="19234" y="2268"/>
                        <a:pt x="17778" y="1217"/>
                        <a:pt x="16415" y="1807"/>
                      </a:cubicBezTo>
                      <a:lnTo>
                        <a:pt x="15441" y="2228"/>
                      </a:lnTo>
                      <a:lnTo>
                        <a:pt x="15050" y="506"/>
                      </a:lnTo>
                      <a:cubicBezTo>
                        <a:pt x="14963" y="125"/>
                        <a:pt x="14670" y="-86"/>
                        <a:pt x="14394" y="32"/>
                      </a:cubicBezTo>
                      <a:lnTo>
                        <a:pt x="1006" y="5821"/>
                      </a:lnTo>
                      <a:cubicBezTo>
                        <a:pt x="731" y="5940"/>
                        <a:pt x="577" y="6345"/>
                        <a:pt x="664" y="6726"/>
                      </a:cubicBezTo>
                      <a:lnTo>
                        <a:pt x="1724" y="11395"/>
                      </a:lnTo>
                      <a:cubicBezTo>
                        <a:pt x="2422" y="14464"/>
                        <a:pt x="4196" y="16661"/>
                        <a:pt x="6293" y="17455"/>
                      </a:cubicBezTo>
                      <a:lnTo>
                        <a:pt x="367" y="20017"/>
                      </a:lnTo>
                      <a:cubicBezTo>
                        <a:pt x="91" y="20135"/>
                        <a:pt x="-62" y="20544"/>
                        <a:pt x="24" y="20923"/>
                      </a:cubicBezTo>
                      <a:cubicBezTo>
                        <a:pt x="111" y="21302"/>
                        <a:pt x="404" y="21514"/>
                        <a:pt x="681" y="21396"/>
                      </a:cubicBezTo>
                      <a:lnTo>
                        <a:pt x="21109" y="12562"/>
                      </a:lnTo>
                      <a:cubicBezTo>
                        <a:pt x="21385" y="12443"/>
                        <a:pt x="21538" y="12039"/>
                        <a:pt x="21452" y="11657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01" name="iṩḻiďè">
                  <a:extLst>
                    <a:ext uri="{FF2B5EF4-FFF2-40B4-BE49-F238E27FC236}">
                      <a16:creationId xmlns:a16="http://schemas.microsoft.com/office/drawing/2014/main" id="{36CB38A3-E8DA-4E47-A14E-18242EA485E8}"/>
                    </a:ext>
                  </a:extLst>
                </p:cNvPr>
                <p:cNvSpPr/>
                <p:nvPr/>
              </p:nvSpPr>
              <p:spPr>
                <a:xfrm flipH="1">
                  <a:off x="6236087" y="3460729"/>
                  <a:ext cx="56078" cy="13829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683" h="21367" extrusionOk="0">
                      <a:moveTo>
                        <a:pt x="6285" y="16372"/>
                      </a:moveTo>
                      <a:cubicBezTo>
                        <a:pt x="7863" y="18473"/>
                        <a:pt x="11293" y="20192"/>
                        <a:pt x="15952" y="21213"/>
                      </a:cubicBezTo>
                      <a:cubicBezTo>
                        <a:pt x="16741" y="21386"/>
                        <a:pt x="17624" y="21408"/>
                        <a:pt x="18420" y="21304"/>
                      </a:cubicBezTo>
                      <a:cubicBezTo>
                        <a:pt x="19209" y="21202"/>
                        <a:pt x="19902" y="20970"/>
                        <a:pt x="20317" y="20637"/>
                      </a:cubicBezTo>
                      <a:cubicBezTo>
                        <a:pt x="21139" y="19974"/>
                        <a:pt x="20531" y="19157"/>
                        <a:pt x="18950" y="18809"/>
                      </a:cubicBezTo>
                      <a:cubicBezTo>
                        <a:pt x="15823" y="18126"/>
                        <a:pt x="13516" y="16971"/>
                        <a:pt x="12458" y="15563"/>
                      </a:cubicBezTo>
                      <a:cubicBezTo>
                        <a:pt x="11405" y="14154"/>
                        <a:pt x="11724" y="12655"/>
                        <a:pt x="13363" y="11343"/>
                      </a:cubicBezTo>
                      <a:cubicBezTo>
                        <a:pt x="18386" y="7317"/>
                        <a:pt x="14647" y="2327"/>
                        <a:pt x="5035" y="223"/>
                      </a:cubicBezTo>
                      <a:lnTo>
                        <a:pt x="4732" y="155"/>
                      </a:lnTo>
                      <a:cubicBezTo>
                        <a:pt x="3145" y="-192"/>
                        <a:pt x="1194" y="64"/>
                        <a:pt x="372" y="727"/>
                      </a:cubicBezTo>
                      <a:cubicBezTo>
                        <a:pt x="-461" y="1391"/>
                        <a:pt x="154" y="2211"/>
                        <a:pt x="1738" y="2558"/>
                      </a:cubicBezTo>
                      <a:lnTo>
                        <a:pt x="2037" y="2624"/>
                      </a:lnTo>
                      <a:cubicBezTo>
                        <a:pt x="8495" y="4037"/>
                        <a:pt x="11001" y="7386"/>
                        <a:pt x="7625" y="10088"/>
                      </a:cubicBezTo>
                      <a:cubicBezTo>
                        <a:pt x="5195" y="12041"/>
                        <a:pt x="4715" y="14270"/>
                        <a:pt x="6285" y="16372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02" name="ïṡlîḓe">
                  <a:extLst>
                    <a:ext uri="{FF2B5EF4-FFF2-40B4-BE49-F238E27FC236}">
                      <a16:creationId xmlns:a16="http://schemas.microsoft.com/office/drawing/2014/main" id="{7C534DDD-94B0-4C3A-A14E-623F21EF758A}"/>
                    </a:ext>
                  </a:extLst>
                </p:cNvPr>
                <p:cNvSpPr/>
                <p:nvPr/>
              </p:nvSpPr>
              <p:spPr>
                <a:xfrm flipH="1">
                  <a:off x="6140593" y="3430889"/>
                  <a:ext cx="56083" cy="13829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681" h="21365" extrusionOk="0">
                      <a:moveTo>
                        <a:pt x="6290" y="16373"/>
                      </a:moveTo>
                      <a:cubicBezTo>
                        <a:pt x="7860" y="18471"/>
                        <a:pt x="11292" y="20190"/>
                        <a:pt x="15947" y="21211"/>
                      </a:cubicBezTo>
                      <a:cubicBezTo>
                        <a:pt x="16739" y="21383"/>
                        <a:pt x="17626" y="21407"/>
                        <a:pt x="18415" y="21302"/>
                      </a:cubicBezTo>
                      <a:cubicBezTo>
                        <a:pt x="19204" y="21199"/>
                        <a:pt x="19900" y="20969"/>
                        <a:pt x="20311" y="20636"/>
                      </a:cubicBezTo>
                      <a:cubicBezTo>
                        <a:pt x="21140" y="19974"/>
                        <a:pt x="20529" y="19154"/>
                        <a:pt x="18946" y="18808"/>
                      </a:cubicBezTo>
                      <a:cubicBezTo>
                        <a:pt x="15818" y="18124"/>
                        <a:pt x="13514" y="16969"/>
                        <a:pt x="12461" y="15560"/>
                      </a:cubicBezTo>
                      <a:cubicBezTo>
                        <a:pt x="11407" y="14152"/>
                        <a:pt x="11726" y="12653"/>
                        <a:pt x="13358" y="11342"/>
                      </a:cubicBezTo>
                      <a:cubicBezTo>
                        <a:pt x="18380" y="7315"/>
                        <a:pt x="14649" y="2327"/>
                        <a:pt x="5036" y="221"/>
                      </a:cubicBezTo>
                      <a:lnTo>
                        <a:pt x="4733" y="155"/>
                      </a:lnTo>
                      <a:cubicBezTo>
                        <a:pt x="3150" y="-193"/>
                        <a:pt x="1192" y="63"/>
                        <a:pt x="370" y="729"/>
                      </a:cubicBezTo>
                      <a:cubicBezTo>
                        <a:pt x="-460" y="1390"/>
                        <a:pt x="153" y="2210"/>
                        <a:pt x="1735" y="2558"/>
                      </a:cubicBezTo>
                      <a:lnTo>
                        <a:pt x="2037" y="2623"/>
                      </a:lnTo>
                      <a:cubicBezTo>
                        <a:pt x="8492" y="4035"/>
                        <a:pt x="11000" y="7384"/>
                        <a:pt x="7625" y="10087"/>
                      </a:cubicBezTo>
                      <a:cubicBezTo>
                        <a:pt x="5191" y="12039"/>
                        <a:pt x="4720" y="14270"/>
                        <a:pt x="6290" y="16373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03" name="î$ļíḑé">
                  <a:extLst>
                    <a:ext uri="{FF2B5EF4-FFF2-40B4-BE49-F238E27FC236}">
                      <a16:creationId xmlns:a16="http://schemas.microsoft.com/office/drawing/2014/main" id="{64B0F83C-6FDB-46DC-9C99-19E12B4BF99C}"/>
                    </a:ext>
                  </a:extLst>
                </p:cNvPr>
                <p:cNvSpPr/>
                <p:nvPr/>
              </p:nvSpPr>
              <p:spPr>
                <a:xfrm flipH="1">
                  <a:off x="6188334" y="3442825"/>
                  <a:ext cx="56086" cy="13829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683" h="21367" extrusionOk="0">
                      <a:moveTo>
                        <a:pt x="6287" y="16372"/>
                      </a:moveTo>
                      <a:cubicBezTo>
                        <a:pt x="7861" y="18473"/>
                        <a:pt x="11293" y="20191"/>
                        <a:pt x="15949" y="21214"/>
                      </a:cubicBezTo>
                      <a:cubicBezTo>
                        <a:pt x="16741" y="21386"/>
                        <a:pt x="17622" y="21408"/>
                        <a:pt x="18417" y="21304"/>
                      </a:cubicBezTo>
                      <a:cubicBezTo>
                        <a:pt x="19204" y="21200"/>
                        <a:pt x="19901" y="20971"/>
                        <a:pt x="20312" y="20638"/>
                      </a:cubicBezTo>
                      <a:cubicBezTo>
                        <a:pt x="21142" y="19974"/>
                        <a:pt x="20531" y="19157"/>
                        <a:pt x="18947" y="18809"/>
                      </a:cubicBezTo>
                      <a:cubicBezTo>
                        <a:pt x="15819" y="18126"/>
                        <a:pt x="13515" y="16971"/>
                        <a:pt x="12462" y="15562"/>
                      </a:cubicBezTo>
                      <a:cubicBezTo>
                        <a:pt x="11405" y="14154"/>
                        <a:pt x="11725" y="12653"/>
                        <a:pt x="13360" y="11344"/>
                      </a:cubicBezTo>
                      <a:cubicBezTo>
                        <a:pt x="15793" y="9392"/>
                        <a:pt x="16269" y="7162"/>
                        <a:pt x="14695" y="5061"/>
                      </a:cubicBezTo>
                      <a:cubicBezTo>
                        <a:pt x="13122" y="2960"/>
                        <a:pt x="9690" y="1240"/>
                        <a:pt x="5033" y="222"/>
                      </a:cubicBezTo>
                      <a:lnTo>
                        <a:pt x="4735" y="156"/>
                      </a:lnTo>
                      <a:cubicBezTo>
                        <a:pt x="3147" y="-192"/>
                        <a:pt x="1194" y="64"/>
                        <a:pt x="367" y="729"/>
                      </a:cubicBezTo>
                      <a:cubicBezTo>
                        <a:pt x="-458" y="1391"/>
                        <a:pt x="153" y="2211"/>
                        <a:pt x="1737" y="2555"/>
                      </a:cubicBezTo>
                      <a:lnTo>
                        <a:pt x="2039" y="2624"/>
                      </a:lnTo>
                      <a:cubicBezTo>
                        <a:pt x="5166" y="3309"/>
                        <a:pt x="7467" y="4461"/>
                        <a:pt x="8524" y="5872"/>
                      </a:cubicBezTo>
                      <a:cubicBezTo>
                        <a:pt x="9580" y="7281"/>
                        <a:pt x="9261" y="8780"/>
                        <a:pt x="7623" y="10089"/>
                      </a:cubicBezTo>
                      <a:cubicBezTo>
                        <a:pt x="5193" y="12041"/>
                        <a:pt x="4714" y="14272"/>
                        <a:pt x="6287" y="16372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04" name="ïŝļidé">
                  <a:extLst>
                    <a:ext uri="{FF2B5EF4-FFF2-40B4-BE49-F238E27FC236}">
                      <a16:creationId xmlns:a16="http://schemas.microsoft.com/office/drawing/2014/main" id="{8FEE4ADE-89F9-456B-A001-D02465A0CDB8}"/>
                    </a:ext>
                  </a:extLst>
                </p:cNvPr>
                <p:cNvSpPr/>
                <p:nvPr/>
              </p:nvSpPr>
              <p:spPr>
                <a:xfrm flipH="1">
                  <a:off x="4453845" y="3902366"/>
                  <a:ext cx="370175" cy="33168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81" h="21600" extrusionOk="0">
                      <a:moveTo>
                        <a:pt x="10691" y="18543"/>
                      </a:moveTo>
                      <a:cubicBezTo>
                        <a:pt x="9845" y="18543"/>
                        <a:pt x="9157" y="17767"/>
                        <a:pt x="9157" y="16813"/>
                      </a:cubicBezTo>
                      <a:cubicBezTo>
                        <a:pt x="9157" y="15860"/>
                        <a:pt x="9845" y="15085"/>
                        <a:pt x="10691" y="15085"/>
                      </a:cubicBezTo>
                      <a:cubicBezTo>
                        <a:pt x="11536" y="15085"/>
                        <a:pt x="12225" y="15860"/>
                        <a:pt x="12225" y="16813"/>
                      </a:cubicBezTo>
                      <a:cubicBezTo>
                        <a:pt x="12225" y="17767"/>
                        <a:pt x="11536" y="18543"/>
                        <a:pt x="10691" y="18543"/>
                      </a:cubicBezTo>
                      <a:close/>
                      <a:moveTo>
                        <a:pt x="9194" y="6401"/>
                      </a:moveTo>
                      <a:cubicBezTo>
                        <a:pt x="9194" y="5471"/>
                        <a:pt x="9866" y="4714"/>
                        <a:pt x="10691" y="4714"/>
                      </a:cubicBezTo>
                      <a:cubicBezTo>
                        <a:pt x="11516" y="4714"/>
                        <a:pt x="12188" y="5471"/>
                        <a:pt x="12188" y="6401"/>
                      </a:cubicBezTo>
                      <a:lnTo>
                        <a:pt x="12188" y="11878"/>
                      </a:lnTo>
                      <a:cubicBezTo>
                        <a:pt x="12188" y="12808"/>
                        <a:pt x="11516" y="13566"/>
                        <a:pt x="10691" y="13566"/>
                      </a:cubicBezTo>
                      <a:cubicBezTo>
                        <a:pt x="9866" y="13566"/>
                        <a:pt x="9194" y="12808"/>
                        <a:pt x="9194" y="11878"/>
                      </a:cubicBezTo>
                      <a:cubicBezTo>
                        <a:pt x="9194" y="11878"/>
                        <a:pt x="9194" y="6401"/>
                        <a:pt x="9194" y="6401"/>
                      </a:cubicBezTo>
                      <a:close/>
                      <a:moveTo>
                        <a:pt x="12788" y="1365"/>
                      </a:moveTo>
                      <a:cubicBezTo>
                        <a:pt x="12351" y="510"/>
                        <a:pt x="11566" y="0"/>
                        <a:pt x="10691" y="0"/>
                      </a:cubicBezTo>
                      <a:cubicBezTo>
                        <a:pt x="9816" y="0"/>
                        <a:pt x="9031" y="510"/>
                        <a:pt x="8594" y="1365"/>
                      </a:cubicBezTo>
                      <a:lnTo>
                        <a:pt x="329" y="17505"/>
                      </a:lnTo>
                      <a:cubicBezTo>
                        <a:pt x="-109" y="18359"/>
                        <a:pt x="-109" y="19380"/>
                        <a:pt x="329" y="20235"/>
                      </a:cubicBezTo>
                      <a:cubicBezTo>
                        <a:pt x="766" y="21090"/>
                        <a:pt x="1551" y="21600"/>
                        <a:pt x="2426" y="21600"/>
                      </a:cubicBezTo>
                      <a:lnTo>
                        <a:pt x="18956" y="21600"/>
                      </a:lnTo>
                      <a:cubicBezTo>
                        <a:pt x="19831" y="21600"/>
                        <a:pt x="20616" y="21090"/>
                        <a:pt x="21053" y="20235"/>
                      </a:cubicBezTo>
                      <a:cubicBezTo>
                        <a:pt x="21491" y="19380"/>
                        <a:pt x="21491" y="18359"/>
                        <a:pt x="21053" y="17505"/>
                      </a:cubicBezTo>
                      <a:cubicBezTo>
                        <a:pt x="21053" y="17505"/>
                        <a:pt x="12788" y="1365"/>
                        <a:pt x="12788" y="1365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05" name="îṩļïḋe">
                  <a:extLst>
                    <a:ext uri="{FF2B5EF4-FFF2-40B4-BE49-F238E27FC236}">
                      <a16:creationId xmlns:a16="http://schemas.microsoft.com/office/drawing/2014/main" id="{8618B1D1-B360-485A-9689-C2AE5C4468AD}"/>
                    </a:ext>
                  </a:extLst>
                </p:cNvPr>
                <p:cNvSpPr/>
                <p:nvPr/>
              </p:nvSpPr>
              <p:spPr>
                <a:xfrm flipH="1">
                  <a:off x="4419753" y="3866558"/>
                  <a:ext cx="440076" cy="40006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287" h="21600" extrusionOk="0">
                      <a:moveTo>
                        <a:pt x="19958" y="19114"/>
                      </a:moveTo>
                      <a:cubicBezTo>
                        <a:pt x="19512" y="19976"/>
                        <a:pt x="18713" y="20490"/>
                        <a:pt x="17822" y="20490"/>
                      </a:cubicBezTo>
                      <a:lnTo>
                        <a:pt x="3466" y="20490"/>
                      </a:lnTo>
                      <a:cubicBezTo>
                        <a:pt x="2574" y="20490"/>
                        <a:pt x="1776" y="19976"/>
                        <a:pt x="1331" y="19114"/>
                      </a:cubicBezTo>
                      <a:cubicBezTo>
                        <a:pt x="885" y="18253"/>
                        <a:pt x="885" y="17224"/>
                        <a:pt x="1331" y="16363"/>
                      </a:cubicBezTo>
                      <a:lnTo>
                        <a:pt x="8509" y="2485"/>
                      </a:lnTo>
                      <a:cubicBezTo>
                        <a:pt x="8955" y="1624"/>
                        <a:pt x="9753" y="1110"/>
                        <a:pt x="10644" y="1110"/>
                      </a:cubicBezTo>
                      <a:cubicBezTo>
                        <a:pt x="11535" y="1110"/>
                        <a:pt x="12333" y="1624"/>
                        <a:pt x="12779" y="2485"/>
                      </a:cubicBezTo>
                      <a:lnTo>
                        <a:pt x="19958" y="16363"/>
                      </a:lnTo>
                      <a:cubicBezTo>
                        <a:pt x="20403" y="17224"/>
                        <a:pt x="20403" y="18253"/>
                        <a:pt x="19958" y="19114"/>
                      </a:cubicBezTo>
                      <a:close/>
                      <a:moveTo>
                        <a:pt x="13640" y="1931"/>
                      </a:moveTo>
                      <a:cubicBezTo>
                        <a:pt x="13014" y="722"/>
                        <a:pt x="11895" y="0"/>
                        <a:pt x="10644" y="0"/>
                      </a:cubicBezTo>
                      <a:cubicBezTo>
                        <a:pt x="9393" y="0"/>
                        <a:pt x="8273" y="722"/>
                        <a:pt x="7648" y="1931"/>
                      </a:cubicBezTo>
                      <a:lnTo>
                        <a:pt x="469" y="15808"/>
                      </a:lnTo>
                      <a:cubicBezTo>
                        <a:pt x="-156" y="17016"/>
                        <a:pt x="-156" y="18461"/>
                        <a:pt x="469" y="19669"/>
                      </a:cubicBezTo>
                      <a:cubicBezTo>
                        <a:pt x="1095" y="20878"/>
                        <a:pt x="2215" y="21600"/>
                        <a:pt x="3466" y="21600"/>
                      </a:cubicBezTo>
                      <a:lnTo>
                        <a:pt x="17822" y="21600"/>
                      </a:lnTo>
                      <a:cubicBezTo>
                        <a:pt x="19073" y="21600"/>
                        <a:pt x="20193" y="20878"/>
                        <a:pt x="20818" y="19669"/>
                      </a:cubicBezTo>
                      <a:cubicBezTo>
                        <a:pt x="21444" y="18461"/>
                        <a:pt x="21444" y="17016"/>
                        <a:pt x="20818" y="15808"/>
                      </a:cubicBezTo>
                      <a:cubicBezTo>
                        <a:pt x="20818" y="15808"/>
                        <a:pt x="13640" y="1931"/>
                        <a:pt x="13640" y="1931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06" name="íṥḻîdè">
                  <a:extLst>
                    <a:ext uri="{FF2B5EF4-FFF2-40B4-BE49-F238E27FC236}">
                      <a16:creationId xmlns:a16="http://schemas.microsoft.com/office/drawing/2014/main" id="{3DAE17E4-D8AF-43CF-8AE0-289B6A18EAC9}"/>
                    </a:ext>
                  </a:extLst>
                </p:cNvPr>
                <p:cNvSpPr/>
                <p:nvPr/>
              </p:nvSpPr>
              <p:spPr>
                <a:xfrm flipH="1">
                  <a:off x="6121036" y="3848653"/>
                  <a:ext cx="347123" cy="37697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801" h="21214" extrusionOk="0">
                      <a:moveTo>
                        <a:pt x="9282" y="23"/>
                      </a:moveTo>
                      <a:cubicBezTo>
                        <a:pt x="9168" y="-11"/>
                        <a:pt x="9041" y="-11"/>
                        <a:pt x="8926" y="46"/>
                      </a:cubicBezTo>
                      <a:cubicBezTo>
                        <a:pt x="8696" y="157"/>
                        <a:pt x="8604" y="433"/>
                        <a:pt x="8724" y="649"/>
                      </a:cubicBezTo>
                      <a:lnTo>
                        <a:pt x="9378" y="1832"/>
                      </a:lnTo>
                      <a:lnTo>
                        <a:pt x="2980" y="4959"/>
                      </a:lnTo>
                      <a:lnTo>
                        <a:pt x="2314" y="3775"/>
                      </a:lnTo>
                      <a:cubicBezTo>
                        <a:pt x="2194" y="3559"/>
                        <a:pt x="1914" y="3474"/>
                        <a:pt x="1684" y="3586"/>
                      </a:cubicBezTo>
                      <a:cubicBezTo>
                        <a:pt x="1454" y="3699"/>
                        <a:pt x="1363" y="3962"/>
                        <a:pt x="1482" y="4177"/>
                      </a:cubicBezTo>
                      <a:lnTo>
                        <a:pt x="2148" y="5361"/>
                      </a:lnTo>
                      <a:lnTo>
                        <a:pt x="1518" y="5674"/>
                      </a:lnTo>
                      <a:cubicBezTo>
                        <a:pt x="141" y="6346"/>
                        <a:pt x="-400" y="7943"/>
                        <a:pt x="317" y="9236"/>
                      </a:cubicBezTo>
                      <a:lnTo>
                        <a:pt x="6167" y="19789"/>
                      </a:lnTo>
                      <a:cubicBezTo>
                        <a:pt x="6883" y="21083"/>
                        <a:pt x="8584" y="21589"/>
                        <a:pt x="9960" y="20917"/>
                      </a:cubicBezTo>
                      <a:lnTo>
                        <a:pt x="19283" y="16350"/>
                      </a:lnTo>
                      <a:cubicBezTo>
                        <a:pt x="20660" y="15677"/>
                        <a:pt x="21200" y="14080"/>
                        <a:pt x="20484" y="12787"/>
                      </a:cubicBezTo>
                      <a:lnTo>
                        <a:pt x="14633" y="2234"/>
                      </a:lnTo>
                      <a:cubicBezTo>
                        <a:pt x="13917" y="942"/>
                        <a:pt x="12216" y="446"/>
                        <a:pt x="10840" y="1118"/>
                      </a:cubicBezTo>
                      <a:lnTo>
                        <a:pt x="10210" y="1419"/>
                      </a:lnTo>
                      <a:lnTo>
                        <a:pt x="9556" y="235"/>
                      </a:lnTo>
                      <a:cubicBezTo>
                        <a:pt x="9496" y="128"/>
                        <a:pt x="9397" y="57"/>
                        <a:pt x="9282" y="23"/>
                      </a:cubicBezTo>
                      <a:close/>
                      <a:moveTo>
                        <a:pt x="11994" y="1698"/>
                      </a:moveTo>
                      <a:cubicBezTo>
                        <a:pt x="12722" y="1644"/>
                        <a:pt x="13443" y="2001"/>
                        <a:pt x="13801" y="2648"/>
                      </a:cubicBezTo>
                      <a:cubicBezTo>
                        <a:pt x="13801" y="2648"/>
                        <a:pt x="14764" y="4390"/>
                        <a:pt x="14764" y="4390"/>
                      </a:cubicBezTo>
                      <a:lnTo>
                        <a:pt x="2112" y="10565"/>
                      </a:lnTo>
                      <a:lnTo>
                        <a:pt x="1149" y="8823"/>
                      </a:lnTo>
                      <a:cubicBezTo>
                        <a:pt x="672" y="7961"/>
                        <a:pt x="1028" y="6905"/>
                        <a:pt x="1946" y="6456"/>
                      </a:cubicBezTo>
                      <a:lnTo>
                        <a:pt x="2576" y="6143"/>
                      </a:lnTo>
                      <a:lnTo>
                        <a:pt x="3242" y="7338"/>
                      </a:lnTo>
                      <a:cubicBezTo>
                        <a:pt x="3361" y="7553"/>
                        <a:pt x="3642" y="7640"/>
                        <a:pt x="3872" y="7528"/>
                      </a:cubicBezTo>
                      <a:cubicBezTo>
                        <a:pt x="4102" y="7414"/>
                        <a:pt x="4194" y="7152"/>
                        <a:pt x="4074" y="6936"/>
                      </a:cubicBezTo>
                      <a:lnTo>
                        <a:pt x="3408" y="5741"/>
                      </a:lnTo>
                      <a:lnTo>
                        <a:pt x="9818" y="2614"/>
                      </a:lnTo>
                      <a:lnTo>
                        <a:pt x="10472" y="3809"/>
                      </a:lnTo>
                      <a:cubicBezTo>
                        <a:pt x="10591" y="4025"/>
                        <a:pt x="10884" y="4101"/>
                        <a:pt x="11114" y="3988"/>
                      </a:cubicBezTo>
                      <a:cubicBezTo>
                        <a:pt x="11343" y="3875"/>
                        <a:pt x="11424" y="3612"/>
                        <a:pt x="11304" y="3396"/>
                      </a:cubicBezTo>
                      <a:lnTo>
                        <a:pt x="10650" y="2201"/>
                      </a:lnTo>
                      <a:lnTo>
                        <a:pt x="11268" y="1899"/>
                      </a:lnTo>
                      <a:cubicBezTo>
                        <a:pt x="11498" y="1787"/>
                        <a:pt x="11751" y="1716"/>
                        <a:pt x="11994" y="1698"/>
                      </a:cubicBezTo>
                      <a:close/>
                      <a:moveTo>
                        <a:pt x="13908" y="7304"/>
                      </a:moveTo>
                      <a:cubicBezTo>
                        <a:pt x="14023" y="7338"/>
                        <a:pt x="14122" y="7420"/>
                        <a:pt x="14181" y="7528"/>
                      </a:cubicBezTo>
                      <a:cubicBezTo>
                        <a:pt x="14301" y="7743"/>
                        <a:pt x="14210" y="8008"/>
                        <a:pt x="13979" y="8119"/>
                      </a:cubicBezTo>
                      <a:lnTo>
                        <a:pt x="12719" y="8734"/>
                      </a:lnTo>
                      <a:cubicBezTo>
                        <a:pt x="12062" y="9055"/>
                        <a:pt x="11807" y="9825"/>
                        <a:pt x="12148" y="10442"/>
                      </a:cubicBezTo>
                      <a:lnTo>
                        <a:pt x="12160" y="10465"/>
                      </a:lnTo>
                      <a:cubicBezTo>
                        <a:pt x="12502" y="11082"/>
                        <a:pt x="13311" y="11322"/>
                        <a:pt x="13967" y="11001"/>
                      </a:cubicBezTo>
                      <a:lnTo>
                        <a:pt x="15240" y="10386"/>
                      </a:lnTo>
                      <a:cubicBezTo>
                        <a:pt x="15469" y="10273"/>
                        <a:pt x="15750" y="10359"/>
                        <a:pt x="15870" y="10576"/>
                      </a:cubicBezTo>
                      <a:cubicBezTo>
                        <a:pt x="15990" y="10791"/>
                        <a:pt x="15898" y="11056"/>
                        <a:pt x="15668" y="11168"/>
                      </a:cubicBezTo>
                      <a:lnTo>
                        <a:pt x="14407" y="11782"/>
                      </a:lnTo>
                      <a:cubicBezTo>
                        <a:pt x="13751" y="12103"/>
                        <a:pt x="13495" y="12865"/>
                        <a:pt x="13837" y="13480"/>
                      </a:cubicBezTo>
                      <a:lnTo>
                        <a:pt x="13849" y="13513"/>
                      </a:lnTo>
                      <a:cubicBezTo>
                        <a:pt x="14190" y="14129"/>
                        <a:pt x="14999" y="14370"/>
                        <a:pt x="15656" y="14049"/>
                      </a:cubicBezTo>
                      <a:lnTo>
                        <a:pt x="16928" y="13435"/>
                      </a:lnTo>
                      <a:cubicBezTo>
                        <a:pt x="17158" y="13322"/>
                        <a:pt x="17439" y="13409"/>
                        <a:pt x="17559" y="13625"/>
                      </a:cubicBezTo>
                      <a:cubicBezTo>
                        <a:pt x="17678" y="13841"/>
                        <a:pt x="17585" y="14104"/>
                        <a:pt x="17356" y="14217"/>
                      </a:cubicBezTo>
                      <a:lnTo>
                        <a:pt x="16096" y="14831"/>
                      </a:lnTo>
                      <a:cubicBezTo>
                        <a:pt x="14980" y="15377"/>
                        <a:pt x="13597" y="14974"/>
                        <a:pt x="13016" y="13926"/>
                      </a:cubicBezTo>
                      <a:lnTo>
                        <a:pt x="13004" y="13893"/>
                      </a:lnTo>
                      <a:cubicBezTo>
                        <a:pt x="12664" y="13278"/>
                        <a:pt x="12666" y="12578"/>
                        <a:pt x="12957" y="11994"/>
                      </a:cubicBezTo>
                      <a:cubicBezTo>
                        <a:pt x="12281" y="11884"/>
                        <a:pt x="11668" y="11493"/>
                        <a:pt x="11328" y="10878"/>
                      </a:cubicBezTo>
                      <a:lnTo>
                        <a:pt x="11316" y="10844"/>
                      </a:lnTo>
                      <a:cubicBezTo>
                        <a:pt x="10736" y="9797"/>
                        <a:pt x="11163" y="8497"/>
                        <a:pt x="12279" y="7952"/>
                      </a:cubicBezTo>
                      <a:lnTo>
                        <a:pt x="13551" y="7338"/>
                      </a:lnTo>
                      <a:cubicBezTo>
                        <a:pt x="13666" y="7282"/>
                        <a:pt x="13793" y="7270"/>
                        <a:pt x="13908" y="7304"/>
                      </a:cubicBezTo>
                      <a:close/>
                      <a:moveTo>
                        <a:pt x="7986" y="10252"/>
                      </a:moveTo>
                      <a:cubicBezTo>
                        <a:pt x="8900" y="10185"/>
                        <a:pt x="9809" y="10626"/>
                        <a:pt x="10257" y="11436"/>
                      </a:cubicBezTo>
                      <a:lnTo>
                        <a:pt x="11958" y="14496"/>
                      </a:lnTo>
                      <a:cubicBezTo>
                        <a:pt x="12557" y="15576"/>
                        <a:pt x="12109" y="16904"/>
                        <a:pt x="10959" y="17466"/>
                      </a:cubicBezTo>
                      <a:lnTo>
                        <a:pt x="10923" y="17489"/>
                      </a:lnTo>
                      <a:cubicBezTo>
                        <a:pt x="9774" y="18050"/>
                        <a:pt x="8347" y="17630"/>
                        <a:pt x="7748" y="16551"/>
                      </a:cubicBezTo>
                      <a:lnTo>
                        <a:pt x="6060" y="13491"/>
                      </a:lnTo>
                      <a:cubicBezTo>
                        <a:pt x="5461" y="12411"/>
                        <a:pt x="5909" y="11071"/>
                        <a:pt x="7059" y="10509"/>
                      </a:cubicBezTo>
                      <a:lnTo>
                        <a:pt x="7094" y="10487"/>
                      </a:lnTo>
                      <a:cubicBezTo>
                        <a:pt x="7382" y="10346"/>
                        <a:pt x="7682" y="10275"/>
                        <a:pt x="7986" y="10252"/>
                      </a:cubicBezTo>
                      <a:close/>
                      <a:moveTo>
                        <a:pt x="8284" y="11090"/>
                      </a:moveTo>
                      <a:cubicBezTo>
                        <a:pt x="8101" y="11104"/>
                        <a:pt x="7909" y="11151"/>
                        <a:pt x="7737" y="11235"/>
                      </a:cubicBezTo>
                      <a:lnTo>
                        <a:pt x="7713" y="11246"/>
                      </a:lnTo>
                      <a:cubicBezTo>
                        <a:pt x="7021" y="11583"/>
                        <a:pt x="6746" y="12395"/>
                        <a:pt x="7106" y="13044"/>
                      </a:cubicBezTo>
                      <a:lnTo>
                        <a:pt x="8807" y="16104"/>
                      </a:lnTo>
                      <a:cubicBezTo>
                        <a:pt x="9166" y="16752"/>
                        <a:pt x="10018" y="16999"/>
                        <a:pt x="10709" y="16662"/>
                      </a:cubicBezTo>
                      <a:lnTo>
                        <a:pt x="10745" y="16651"/>
                      </a:lnTo>
                      <a:cubicBezTo>
                        <a:pt x="11436" y="16313"/>
                        <a:pt x="11699" y="15501"/>
                        <a:pt x="11340" y="14853"/>
                      </a:cubicBezTo>
                      <a:lnTo>
                        <a:pt x="9651" y="11793"/>
                      </a:lnTo>
                      <a:cubicBezTo>
                        <a:pt x="9382" y="11306"/>
                        <a:pt x="8832" y="11049"/>
                        <a:pt x="8284" y="1109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07" name="iṩľíďè">
                  <a:extLst>
                    <a:ext uri="{FF2B5EF4-FFF2-40B4-BE49-F238E27FC236}">
                      <a16:creationId xmlns:a16="http://schemas.microsoft.com/office/drawing/2014/main" id="{ED059FE6-A4C7-4CBB-8A74-AA4EDDFADE67}"/>
                    </a:ext>
                  </a:extLst>
                </p:cNvPr>
                <p:cNvSpPr/>
                <p:nvPr/>
              </p:nvSpPr>
              <p:spPr>
                <a:xfrm flipH="1">
                  <a:off x="5639118" y="3848653"/>
                  <a:ext cx="44305" cy="2093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228" h="20808" extrusionOk="0">
                      <a:moveTo>
                        <a:pt x="17067" y="2077"/>
                      </a:moveTo>
                      <a:lnTo>
                        <a:pt x="4889" y="32"/>
                      </a:lnTo>
                      <a:cubicBezTo>
                        <a:pt x="2398" y="-391"/>
                        <a:pt x="217" y="3467"/>
                        <a:pt x="15" y="8616"/>
                      </a:cubicBezTo>
                      <a:cubicBezTo>
                        <a:pt x="-189" y="13789"/>
                        <a:pt x="1665" y="18313"/>
                        <a:pt x="4156" y="18736"/>
                      </a:cubicBezTo>
                      <a:lnTo>
                        <a:pt x="16330" y="20775"/>
                      </a:lnTo>
                      <a:cubicBezTo>
                        <a:pt x="18820" y="21209"/>
                        <a:pt x="21006" y="17363"/>
                        <a:pt x="21213" y="12184"/>
                      </a:cubicBezTo>
                      <a:cubicBezTo>
                        <a:pt x="21411" y="7029"/>
                        <a:pt x="19557" y="2505"/>
                        <a:pt x="17067" y="2077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08" name="îşḷïḋê">
                  <a:extLst>
                    <a:ext uri="{FF2B5EF4-FFF2-40B4-BE49-F238E27FC236}">
                      <a16:creationId xmlns:a16="http://schemas.microsoft.com/office/drawing/2014/main" id="{9EE011C0-5E93-46A7-A1A5-6BDF845466F4}"/>
                    </a:ext>
                  </a:extLst>
                </p:cNvPr>
                <p:cNvSpPr/>
                <p:nvPr/>
              </p:nvSpPr>
              <p:spPr>
                <a:xfrm flipH="1">
                  <a:off x="5659195" y="3765100"/>
                  <a:ext cx="406184" cy="27321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41" h="21186" extrusionOk="0">
                      <a:moveTo>
                        <a:pt x="18728" y="6837"/>
                      </a:moveTo>
                      <a:cubicBezTo>
                        <a:pt x="18700" y="7350"/>
                        <a:pt x="18620" y="7838"/>
                        <a:pt x="18496" y="8293"/>
                      </a:cubicBezTo>
                      <a:cubicBezTo>
                        <a:pt x="18085" y="8047"/>
                        <a:pt x="17642" y="7891"/>
                        <a:pt x="17178" y="7835"/>
                      </a:cubicBezTo>
                      <a:cubicBezTo>
                        <a:pt x="16868" y="7797"/>
                        <a:pt x="16558" y="7807"/>
                        <a:pt x="16251" y="7863"/>
                      </a:cubicBezTo>
                      <a:cubicBezTo>
                        <a:pt x="15733" y="5572"/>
                        <a:pt x="14651" y="3699"/>
                        <a:pt x="13264" y="2564"/>
                      </a:cubicBezTo>
                      <a:cubicBezTo>
                        <a:pt x="13912" y="1794"/>
                        <a:pt x="14752" y="1374"/>
                        <a:pt x="15645" y="1482"/>
                      </a:cubicBezTo>
                      <a:cubicBezTo>
                        <a:pt x="17495" y="1704"/>
                        <a:pt x="18878" y="4108"/>
                        <a:pt x="18728" y="6837"/>
                      </a:cubicBezTo>
                      <a:close/>
                      <a:moveTo>
                        <a:pt x="19372" y="8989"/>
                      </a:moveTo>
                      <a:cubicBezTo>
                        <a:pt x="19557" y="8360"/>
                        <a:pt x="19677" y="7677"/>
                        <a:pt x="19717" y="6958"/>
                      </a:cubicBezTo>
                      <a:cubicBezTo>
                        <a:pt x="19912" y="3420"/>
                        <a:pt x="18122" y="311"/>
                        <a:pt x="15725" y="21"/>
                      </a:cubicBezTo>
                      <a:cubicBezTo>
                        <a:pt x="14393" y="-138"/>
                        <a:pt x="13151" y="609"/>
                        <a:pt x="12277" y="1909"/>
                      </a:cubicBezTo>
                      <a:cubicBezTo>
                        <a:pt x="11765" y="1644"/>
                        <a:pt x="11225" y="1472"/>
                        <a:pt x="10667" y="1405"/>
                      </a:cubicBezTo>
                      <a:cubicBezTo>
                        <a:pt x="7207" y="989"/>
                        <a:pt x="4153" y="4713"/>
                        <a:pt x="3752" y="9763"/>
                      </a:cubicBezTo>
                      <a:cubicBezTo>
                        <a:pt x="3704" y="9753"/>
                        <a:pt x="3656" y="9746"/>
                        <a:pt x="3608" y="9740"/>
                      </a:cubicBezTo>
                      <a:cubicBezTo>
                        <a:pt x="1774" y="9520"/>
                        <a:pt x="161" y="11543"/>
                        <a:pt x="12" y="14250"/>
                      </a:cubicBezTo>
                      <a:cubicBezTo>
                        <a:pt x="-138" y="16957"/>
                        <a:pt x="1233" y="19338"/>
                        <a:pt x="3067" y="19557"/>
                      </a:cubicBezTo>
                      <a:lnTo>
                        <a:pt x="16443" y="21163"/>
                      </a:lnTo>
                      <a:cubicBezTo>
                        <a:pt x="18933" y="21462"/>
                        <a:pt x="21123" y="18717"/>
                        <a:pt x="21326" y="15041"/>
                      </a:cubicBezTo>
                      <a:cubicBezTo>
                        <a:pt x="21462" y="12572"/>
                        <a:pt x="20665" y="10303"/>
                        <a:pt x="19372" y="8989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09" name="îṧľíḋè">
                  <a:extLst>
                    <a:ext uri="{FF2B5EF4-FFF2-40B4-BE49-F238E27FC236}">
                      <a16:creationId xmlns:a16="http://schemas.microsoft.com/office/drawing/2014/main" id="{949DB761-C5CD-481F-853E-9700982276D7}"/>
                    </a:ext>
                  </a:extLst>
                </p:cNvPr>
                <p:cNvSpPr/>
                <p:nvPr/>
              </p:nvSpPr>
              <p:spPr>
                <a:xfrm flipH="1">
                  <a:off x="5663013" y="3753164"/>
                  <a:ext cx="38314" cy="3539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396" h="20836" extrusionOk="0">
                      <a:moveTo>
                        <a:pt x="12109" y="1318"/>
                      </a:moveTo>
                      <a:lnTo>
                        <a:pt x="1773" y="11028"/>
                      </a:lnTo>
                      <a:cubicBezTo>
                        <a:pt x="-341" y="13022"/>
                        <a:pt x="-602" y="16532"/>
                        <a:pt x="1194" y="18865"/>
                      </a:cubicBezTo>
                      <a:cubicBezTo>
                        <a:pt x="2093" y="20042"/>
                        <a:pt x="3334" y="20698"/>
                        <a:pt x="4613" y="20818"/>
                      </a:cubicBezTo>
                      <a:cubicBezTo>
                        <a:pt x="5899" y="20931"/>
                        <a:pt x="7223" y="20509"/>
                        <a:pt x="8282" y="19500"/>
                      </a:cubicBezTo>
                      <a:lnTo>
                        <a:pt x="18625" y="9793"/>
                      </a:lnTo>
                      <a:cubicBezTo>
                        <a:pt x="20739" y="7789"/>
                        <a:pt x="20998" y="4293"/>
                        <a:pt x="19199" y="1959"/>
                      </a:cubicBezTo>
                      <a:cubicBezTo>
                        <a:pt x="17402" y="-374"/>
                        <a:pt x="14228" y="-669"/>
                        <a:pt x="12109" y="1318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10" name="ïšlíḑé">
                  <a:extLst>
                    <a:ext uri="{FF2B5EF4-FFF2-40B4-BE49-F238E27FC236}">
                      <a16:creationId xmlns:a16="http://schemas.microsoft.com/office/drawing/2014/main" id="{A8A9FD8E-0A16-4B69-A1B7-8B3B19872B87}"/>
                    </a:ext>
                  </a:extLst>
                </p:cNvPr>
                <p:cNvSpPr/>
                <p:nvPr/>
              </p:nvSpPr>
              <p:spPr>
                <a:xfrm flipH="1">
                  <a:off x="5833042" y="3741228"/>
                  <a:ext cx="35390" cy="3830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300" h="20896" extrusionOk="0">
                      <a:moveTo>
                        <a:pt x="1909" y="1218"/>
                      </a:moveTo>
                      <a:cubicBezTo>
                        <a:pt x="-369" y="3062"/>
                        <a:pt x="-650" y="6312"/>
                        <a:pt x="1291" y="8486"/>
                      </a:cubicBezTo>
                      <a:lnTo>
                        <a:pt x="10753" y="19080"/>
                      </a:lnTo>
                      <a:cubicBezTo>
                        <a:pt x="11725" y="20164"/>
                        <a:pt x="13057" y="20768"/>
                        <a:pt x="14443" y="20879"/>
                      </a:cubicBezTo>
                      <a:cubicBezTo>
                        <a:pt x="15828" y="20984"/>
                        <a:pt x="17254" y="20593"/>
                        <a:pt x="18386" y="19684"/>
                      </a:cubicBezTo>
                      <a:cubicBezTo>
                        <a:pt x="20669" y="17833"/>
                        <a:pt x="20950" y="14575"/>
                        <a:pt x="19009" y="12413"/>
                      </a:cubicBezTo>
                      <a:lnTo>
                        <a:pt x="9537" y="1816"/>
                      </a:lnTo>
                      <a:cubicBezTo>
                        <a:pt x="7603" y="-349"/>
                        <a:pt x="4188" y="-616"/>
                        <a:pt x="1909" y="1218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11" name="ïş1iḋe">
                  <a:extLst>
                    <a:ext uri="{FF2B5EF4-FFF2-40B4-BE49-F238E27FC236}">
                      <a16:creationId xmlns:a16="http://schemas.microsoft.com/office/drawing/2014/main" id="{86C7F3B8-22D7-4457-B0D1-403BF77BB98D}"/>
                    </a:ext>
                  </a:extLst>
                </p:cNvPr>
                <p:cNvSpPr/>
                <p:nvPr/>
              </p:nvSpPr>
              <p:spPr>
                <a:xfrm flipH="1">
                  <a:off x="5751997" y="3711388"/>
                  <a:ext cx="20946" cy="4431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820" h="21230" extrusionOk="0">
                      <a:moveTo>
                        <a:pt x="2073" y="4163"/>
                      </a:moveTo>
                      <a:lnTo>
                        <a:pt x="31" y="16332"/>
                      </a:lnTo>
                      <a:cubicBezTo>
                        <a:pt x="-389" y="18817"/>
                        <a:pt x="3458" y="21006"/>
                        <a:pt x="8614" y="21215"/>
                      </a:cubicBezTo>
                      <a:cubicBezTo>
                        <a:pt x="13781" y="21416"/>
                        <a:pt x="18323" y="19554"/>
                        <a:pt x="18737" y="17063"/>
                      </a:cubicBezTo>
                      <a:lnTo>
                        <a:pt x="20788" y="4898"/>
                      </a:lnTo>
                      <a:cubicBezTo>
                        <a:pt x="21211" y="2407"/>
                        <a:pt x="17361" y="218"/>
                        <a:pt x="12205" y="14"/>
                      </a:cubicBezTo>
                      <a:cubicBezTo>
                        <a:pt x="7038" y="-184"/>
                        <a:pt x="2505" y="1664"/>
                        <a:pt x="2073" y="4163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12" name="isliḋe">
                  <a:extLst>
                    <a:ext uri="{FF2B5EF4-FFF2-40B4-BE49-F238E27FC236}">
                      <a16:creationId xmlns:a16="http://schemas.microsoft.com/office/drawing/2014/main" id="{34F17BB6-036D-4A78-B0B0-92B7A1A7F751}"/>
                    </a:ext>
                  </a:extLst>
                </p:cNvPr>
                <p:cNvSpPr/>
                <p:nvPr/>
              </p:nvSpPr>
              <p:spPr>
                <a:xfrm flipH="1">
                  <a:off x="6503372" y="4487237"/>
                  <a:ext cx="45420" cy="4542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412" h="21411" extrusionOk="0">
                      <a:moveTo>
                        <a:pt x="10875" y="1"/>
                      </a:moveTo>
                      <a:cubicBezTo>
                        <a:pt x="4980" y="-95"/>
                        <a:pt x="96" y="4631"/>
                        <a:pt x="1" y="10532"/>
                      </a:cubicBezTo>
                      <a:cubicBezTo>
                        <a:pt x="-95" y="16431"/>
                        <a:pt x="4627" y="21304"/>
                        <a:pt x="10527" y="21409"/>
                      </a:cubicBezTo>
                      <a:cubicBezTo>
                        <a:pt x="16432" y="21505"/>
                        <a:pt x="21310" y="16777"/>
                        <a:pt x="21410" y="10878"/>
                      </a:cubicBezTo>
                      <a:cubicBezTo>
                        <a:pt x="21505" y="4979"/>
                        <a:pt x="16783" y="97"/>
                        <a:pt x="10875" y="1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13" name="íṩḷíḍe">
                  <a:extLst>
                    <a:ext uri="{FF2B5EF4-FFF2-40B4-BE49-F238E27FC236}">
                      <a16:creationId xmlns:a16="http://schemas.microsoft.com/office/drawing/2014/main" id="{26249B2E-3F85-4131-8760-E83D281ECF51}"/>
                    </a:ext>
                  </a:extLst>
                </p:cNvPr>
                <p:cNvSpPr/>
                <p:nvPr/>
              </p:nvSpPr>
              <p:spPr>
                <a:xfrm flipH="1">
                  <a:off x="6464156" y="4445460"/>
                  <a:ext cx="120444" cy="12046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411" h="21416" extrusionOk="0">
                      <a:moveTo>
                        <a:pt x="10583" y="18161"/>
                      </a:moveTo>
                      <a:cubicBezTo>
                        <a:pt x="6476" y="18093"/>
                        <a:pt x="3186" y="14697"/>
                        <a:pt x="3254" y="10586"/>
                      </a:cubicBezTo>
                      <a:cubicBezTo>
                        <a:pt x="3321" y="6479"/>
                        <a:pt x="6719" y="3189"/>
                        <a:pt x="10827" y="3255"/>
                      </a:cubicBezTo>
                      <a:cubicBezTo>
                        <a:pt x="14936" y="3321"/>
                        <a:pt x="18225" y="6719"/>
                        <a:pt x="18157" y="10831"/>
                      </a:cubicBezTo>
                      <a:cubicBezTo>
                        <a:pt x="18091" y="14940"/>
                        <a:pt x="14693" y="18226"/>
                        <a:pt x="10583" y="18161"/>
                      </a:cubicBezTo>
                      <a:close/>
                      <a:moveTo>
                        <a:pt x="10880" y="1"/>
                      </a:moveTo>
                      <a:cubicBezTo>
                        <a:pt x="4979" y="-90"/>
                        <a:pt x="97" y="4632"/>
                        <a:pt x="2" y="10536"/>
                      </a:cubicBezTo>
                      <a:cubicBezTo>
                        <a:pt x="-95" y="16438"/>
                        <a:pt x="4628" y="21317"/>
                        <a:pt x="10530" y="21415"/>
                      </a:cubicBezTo>
                      <a:cubicBezTo>
                        <a:pt x="16433" y="21510"/>
                        <a:pt x="21313" y="16785"/>
                        <a:pt x="21410" y="10884"/>
                      </a:cubicBezTo>
                      <a:cubicBezTo>
                        <a:pt x="21505" y="4979"/>
                        <a:pt x="16781" y="100"/>
                        <a:pt x="10880" y="1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14" name="ïṥ1ïḍè">
                  <a:extLst>
                    <a:ext uri="{FF2B5EF4-FFF2-40B4-BE49-F238E27FC236}">
                      <a16:creationId xmlns:a16="http://schemas.microsoft.com/office/drawing/2014/main" id="{53B87440-FF3A-4238-86AD-0E8B0EDDD9AD}"/>
                    </a:ext>
                  </a:extLst>
                </p:cNvPr>
                <p:cNvSpPr/>
                <p:nvPr/>
              </p:nvSpPr>
              <p:spPr>
                <a:xfrm flipH="1">
                  <a:off x="6447955" y="4320131"/>
                  <a:ext cx="11316" cy="7302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21555"/>
                      </a:moveTo>
                      <a:lnTo>
                        <a:pt x="19330" y="21600"/>
                      </a:lnTo>
                      <a:lnTo>
                        <a:pt x="21600" y="50"/>
                      </a:lnTo>
                      <a:lnTo>
                        <a:pt x="2270" y="0"/>
                      </a:lnTo>
                      <a:cubicBezTo>
                        <a:pt x="2270" y="0"/>
                        <a:pt x="0" y="21555"/>
                        <a:pt x="0" y="21555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15" name="îSlîḑe">
                  <a:extLst>
                    <a:ext uri="{FF2B5EF4-FFF2-40B4-BE49-F238E27FC236}">
                      <a16:creationId xmlns:a16="http://schemas.microsoft.com/office/drawing/2014/main" id="{93AE4D94-1052-4B42-8C9D-32385F95411E}"/>
                    </a:ext>
                  </a:extLst>
                </p:cNvPr>
                <p:cNvSpPr/>
                <p:nvPr/>
              </p:nvSpPr>
              <p:spPr>
                <a:xfrm flipH="1">
                  <a:off x="6392387" y="4272386"/>
                  <a:ext cx="251894" cy="36411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72" h="21568" extrusionOk="0">
                      <a:moveTo>
                        <a:pt x="18480" y="7819"/>
                      </a:moveTo>
                      <a:cubicBezTo>
                        <a:pt x="18472" y="8133"/>
                        <a:pt x="18098" y="8384"/>
                        <a:pt x="17645" y="8378"/>
                      </a:cubicBezTo>
                      <a:lnTo>
                        <a:pt x="15131" y="8351"/>
                      </a:lnTo>
                      <a:cubicBezTo>
                        <a:pt x="14676" y="8344"/>
                        <a:pt x="14315" y="8086"/>
                        <a:pt x="14321" y="7772"/>
                      </a:cubicBezTo>
                      <a:lnTo>
                        <a:pt x="14451" y="2318"/>
                      </a:lnTo>
                      <a:cubicBezTo>
                        <a:pt x="14458" y="2004"/>
                        <a:pt x="14831" y="1753"/>
                        <a:pt x="15286" y="1758"/>
                      </a:cubicBezTo>
                      <a:lnTo>
                        <a:pt x="17799" y="1786"/>
                      </a:lnTo>
                      <a:cubicBezTo>
                        <a:pt x="18255" y="1792"/>
                        <a:pt x="18616" y="2051"/>
                        <a:pt x="18609" y="2364"/>
                      </a:cubicBezTo>
                      <a:cubicBezTo>
                        <a:pt x="18609" y="2364"/>
                        <a:pt x="18480" y="7819"/>
                        <a:pt x="18480" y="7819"/>
                      </a:cubicBezTo>
                      <a:close/>
                      <a:moveTo>
                        <a:pt x="10117" y="18801"/>
                      </a:moveTo>
                      <a:cubicBezTo>
                        <a:pt x="6367" y="18758"/>
                        <a:pt x="3365" y="16614"/>
                        <a:pt x="3426" y="14019"/>
                      </a:cubicBezTo>
                      <a:cubicBezTo>
                        <a:pt x="3487" y="11425"/>
                        <a:pt x="6588" y="9350"/>
                        <a:pt x="10339" y="9391"/>
                      </a:cubicBezTo>
                      <a:cubicBezTo>
                        <a:pt x="14090" y="9434"/>
                        <a:pt x="17092" y="11578"/>
                        <a:pt x="17031" y="14173"/>
                      </a:cubicBezTo>
                      <a:cubicBezTo>
                        <a:pt x="16969" y="16767"/>
                        <a:pt x="13868" y="18844"/>
                        <a:pt x="10117" y="18801"/>
                      </a:cubicBezTo>
                      <a:close/>
                      <a:moveTo>
                        <a:pt x="20761" y="15249"/>
                      </a:moveTo>
                      <a:lnTo>
                        <a:pt x="20299" y="15243"/>
                      </a:lnTo>
                      <a:lnTo>
                        <a:pt x="20612" y="1964"/>
                      </a:lnTo>
                      <a:cubicBezTo>
                        <a:pt x="20635" y="991"/>
                        <a:pt x="19510" y="187"/>
                        <a:pt x="18103" y="170"/>
                      </a:cubicBezTo>
                      <a:lnTo>
                        <a:pt x="3013" y="0"/>
                      </a:lnTo>
                      <a:cubicBezTo>
                        <a:pt x="1608" y="-16"/>
                        <a:pt x="444" y="763"/>
                        <a:pt x="421" y="1736"/>
                      </a:cubicBezTo>
                      <a:lnTo>
                        <a:pt x="0" y="19604"/>
                      </a:lnTo>
                      <a:cubicBezTo>
                        <a:pt x="-22" y="20577"/>
                        <a:pt x="1103" y="21382"/>
                        <a:pt x="2509" y="21398"/>
                      </a:cubicBezTo>
                      <a:lnTo>
                        <a:pt x="17599" y="21567"/>
                      </a:lnTo>
                      <a:cubicBezTo>
                        <a:pt x="19005" y="21584"/>
                        <a:pt x="20168" y="20804"/>
                        <a:pt x="20191" y="19833"/>
                      </a:cubicBezTo>
                      <a:lnTo>
                        <a:pt x="20205" y="19228"/>
                      </a:lnTo>
                      <a:lnTo>
                        <a:pt x="20668" y="19234"/>
                      </a:lnTo>
                      <a:cubicBezTo>
                        <a:pt x="21123" y="19239"/>
                        <a:pt x="21497" y="18989"/>
                        <a:pt x="21505" y="18674"/>
                      </a:cubicBezTo>
                      <a:lnTo>
                        <a:pt x="21572" y="15827"/>
                      </a:lnTo>
                      <a:cubicBezTo>
                        <a:pt x="21578" y="15513"/>
                        <a:pt x="21217" y="15254"/>
                        <a:pt x="20761" y="15249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16" name="iṧḻïḑê">
                  <a:extLst>
                    <a:ext uri="{FF2B5EF4-FFF2-40B4-BE49-F238E27FC236}">
                      <a16:creationId xmlns:a16="http://schemas.microsoft.com/office/drawing/2014/main" id="{3C9A91EA-5819-49A5-82B5-1F0353151A68}"/>
                    </a:ext>
                  </a:extLst>
                </p:cNvPr>
                <p:cNvSpPr/>
                <p:nvPr/>
              </p:nvSpPr>
              <p:spPr>
                <a:xfrm flipH="1">
                  <a:off x="4702708" y="1771767"/>
                  <a:ext cx="377939" cy="49852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034" h="21223" extrusionOk="0">
                      <a:moveTo>
                        <a:pt x="6912" y="12316"/>
                      </a:moveTo>
                      <a:cubicBezTo>
                        <a:pt x="7171" y="12187"/>
                        <a:pt x="7518" y="12243"/>
                        <a:pt x="7686" y="12441"/>
                      </a:cubicBezTo>
                      <a:lnTo>
                        <a:pt x="13207" y="18907"/>
                      </a:lnTo>
                      <a:cubicBezTo>
                        <a:pt x="13376" y="19106"/>
                        <a:pt x="13303" y="19371"/>
                        <a:pt x="13044" y="19500"/>
                      </a:cubicBezTo>
                      <a:cubicBezTo>
                        <a:pt x="12785" y="19629"/>
                        <a:pt x="12439" y="19574"/>
                        <a:pt x="12270" y="19375"/>
                      </a:cubicBezTo>
                      <a:lnTo>
                        <a:pt x="6750" y="12908"/>
                      </a:lnTo>
                      <a:cubicBezTo>
                        <a:pt x="6581" y="12711"/>
                        <a:pt x="6653" y="12446"/>
                        <a:pt x="6912" y="12316"/>
                      </a:cubicBezTo>
                      <a:close/>
                      <a:moveTo>
                        <a:pt x="91" y="8786"/>
                      </a:moveTo>
                      <a:cubicBezTo>
                        <a:pt x="259" y="8984"/>
                        <a:pt x="606" y="9040"/>
                        <a:pt x="865" y="8911"/>
                      </a:cubicBezTo>
                      <a:lnTo>
                        <a:pt x="4323" y="7184"/>
                      </a:lnTo>
                      <a:lnTo>
                        <a:pt x="1535" y="9953"/>
                      </a:lnTo>
                      <a:cubicBezTo>
                        <a:pt x="1347" y="10141"/>
                        <a:pt x="1392" y="10410"/>
                        <a:pt x="1637" y="10553"/>
                      </a:cubicBezTo>
                      <a:cubicBezTo>
                        <a:pt x="1830" y="10667"/>
                        <a:pt x="2090" y="10669"/>
                        <a:pt x="2284" y="10572"/>
                      </a:cubicBezTo>
                      <a:cubicBezTo>
                        <a:pt x="2336" y="10547"/>
                        <a:pt x="2382" y="10514"/>
                        <a:pt x="2422" y="10475"/>
                      </a:cubicBezTo>
                      <a:lnTo>
                        <a:pt x="5345" y="7571"/>
                      </a:lnTo>
                      <a:lnTo>
                        <a:pt x="6467" y="8884"/>
                      </a:lnTo>
                      <a:cubicBezTo>
                        <a:pt x="5065" y="10216"/>
                        <a:pt x="4868" y="12141"/>
                        <a:pt x="6155" y="13648"/>
                      </a:cubicBezTo>
                      <a:lnTo>
                        <a:pt x="11582" y="20005"/>
                      </a:lnTo>
                      <a:cubicBezTo>
                        <a:pt x="12641" y="21246"/>
                        <a:pt x="14823" y="21597"/>
                        <a:pt x="16445" y="20787"/>
                      </a:cubicBezTo>
                      <a:lnTo>
                        <a:pt x="19443" y="19289"/>
                      </a:lnTo>
                      <a:cubicBezTo>
                        <a:pt x="21065" y="18479"/>
                        <a:pt x="21523" y="16810"/>
                        <a:pt x="20464" y="15569"/>
                      </a:cubicBezTo>
                      <a:lnTo>
                        <a:pt x="15038" y="9212"/>
                      </a:lnTo>
                      <a:cubicBezTo>
                        <a:pt x="13751" y="7705"/>
                        <a:pt x="11368" y="7068"/>
                        <a:pt x="9210" y="7514"/>
                      </a:cubicBezTo>
                      <a:lnTo>
                        <a:pt x="8206" y="6338"/>
                      </a:lnTo>
                      <a:lnTo>
                        <a:pt x="10102" y="5391"/>
                      </a:lnTo>
                      <a:lnTo>
                        <a:pt x="17015" y="3866"/>
                      </a:lnTo>
                      <a:cubicBezTo>
                        <a:pt x="17069" y="3853"/>
                        <a:pt x="17119" y="3836"/>
                        <a:pt x="17164" y="3813"/>
                      </a:cubicBezTo>
                      <a:cubicBezTo>
                        <a:pt x="17264" y="3764"/>
                        <a:pt x="17342" y="3691"/>
                        <a:pt x="17384" y="3604"/>
                      </a:cubicBezTo>
                      <a:cubicBezTo>
                        <a:pt x="17445" y="3476"/>
                        <a:pt x="17424" y="3334"/>
                        <a:pt x="17328" y="3221"/>
                      </a:cubicBezTo>
                      <a:lnTo>
                        <a:pt x="14744" y="195"/>
                      </a:lnTo>
                      <a:cubicBezTo>
                        <a:pt x="14644" y="77"/>
                        <a:pt x="14476" y="5"/>
                        <a:pt x="14292" y="0"/>
                      </a:cubicBezTo>
                      <a:cubicBezTo>
                        <a:pt x="14109" y="-3"/>
                        <a:pt x="13934" y="61"/>
                        <a:pt x="13826" y="174"/>
                      </a:cubicBezTo>
                      <a:lnTo>
                        <a:pt x="9465" y="4687"/>
                      </a:lnTo>
                      <a:lnTo>
                        <a:pt x="7595" y="5621"/>
                      </a:lnTo>
                      <a:lnTo>
                        <a:pt x="7245" y="5212"/>
                      </a:lnTo>
                      <a:cubicBezTo>
                        <a:pt x="7239" y="5204"/>
                        <a:pt x="7231" y="5199"/>
                        <a:pt x="7225" y="5192"/>
                      </a:cubicBezTo>
                      <a:cubicBezTo>
                        <a:pt x="7213" y="5180"/>
                        <a:pt x="7203" y="5168"/>
                        <a:pt x="7189" y="5156"/>
                      </a:cubicBezTo>
                      <a:cubicBezTo>
                        <a:pt x="7187" y="5154"/>
                        <a:pt x="7185" y="5154"/>
                        <a:pt x="7182" y="5152"/>
                      </a:cubicBezTo>
                      <a:cubicBezTo>
                        <a:pt x="7168" y="5141"/>
                        <a:pt x="7152" y="5130"/>
                        <a:pt x="7135" y="5119"/>
                      </a:cubicBezTo>
                      <a:cubicBezTo>
                        <a:pt x="7125" y="5113"/>
                        <a:pt x="7117" y="5106"/>
                        <a:pt x="7107" y="5101"/>
                      </a:cubicBezTo>
                      <a:cubicBezTo>
                        <a:pt x="7086" y="5090"/>
                        <a:pt x="7067" y="5082"/>
                        <a:pt x="7046" y="5073"/>
                      </a:cubicBezTo>
                      <a:cubicBezTo>
                        <a:pt x="7038" y="5069"/>
                        <a:pt x="7030" y="5065"/>
                        <a:pt x="7021" y="5062"/>
                      </a:cubicBezTo>
                      <a:cubicBezTo>
                        <a:pt x="6999" y="5054"/>
                        <a:pt x="6975" y="5047"/>
                        <a:pt x="6951" y="5040"/>
                      </a:cubicBezTo>
                      <a:cubicBezTo>
                        <a:pt x="6944" y="5039"/>
                        <a:pt x="6938" y="5038"/>
                        <a:pt x="6931" y="5036"/>
                      </a:cubicBezTo>
                      <a:cubicBezTo>
                        <a:pt x="6906" y="5031"/>
                        <a:pt x="6878" y="5026"/>
                        <a:pt x="6851" y="5022"/>
                      </a:cubicBezTo>
                      <a:cubicBezTo>
                        <a:pt x="6848" y="5023"/>
                        <a:pt x="6844" y="5022"/>
                        <a:pt x="6841" y="5022"/>
                      </a:cubicBezTo>
                      <a:cubicBezTo>
                        <a:pt x="6715" y="5011"/>
                        <a:pt x="6585" y="5031"/>
                        <a:pt x="6471" y="5087"/>
                      </a:cubicBezTo>
                      <a:lnTo>
                        <a:pt x="4663" y="5990"/>
                      </a:lnTo>
                      <a:cubicBezTo>
                        <a:pt x="4655" y="5994"/>
                        <a:pt x="4650" y="5998"/>
                        <a:pt x="4642" y="6002"/>
                      </a:cubicBezTo>
                      <a:lnTo>
                        <a:pt x="253" y="8194"/>
                      </a:lnTo>
                      <a:cubicBezTo>
                        <a:pt x="-5" y="8323"/>
                        <a:pt x="-77" y="8588"/>
                        <a:pt x="91" y="878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17" name="iṥḷîḓe">
                  <a:extLst>
                    <a:ext uri="{FF2B5EF4-FFF2-40B4-BE49-F238E27FC236}">
                      <a16:creationId xmlns:a16="http://schemas.microsoft.com/office/drawing/2014/main" id="{6F998AB6-5497-461D-A5E1-1F9A58E0A3D6}"/>
                    </a:ext>
                  </a:extLst>
                </p:cNvPr>
                <p:cNvSpPr/>
                <p:nvPr/>
              </p:nvSpPr>
              <p:spPr>
                <a:xfrm flipH="1">
                  <a:off x="5823602" y="4191243"/>
                  <a:ext cx="460468" cy="45948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258" h="21432" extrusionOk="0">
                      <a:moveTo>
                        <a:pt x="9652" y="0"/>
                      </a:moveTo>
                      <a:cubicBezTo>
                        <a:pt x="9195" y="-10"/>
                        <a:pt x="8733" y="156"/>
                        <a:pt x="8378" y="500"/>
                      </a:cubicBezTo>
                      <a:lnTo>
                        <a:pt x="6839" y="1981"/>
                      </a:lnTo>
                      <a:cubicBezTo>
                        <a:pt x="6129" y="2668"/>
                        <a:pt x="6104" y="3818"/>
                        <a:pt x="6784" y="4536"/>
                      </a:cubicBezTo>
                      <a:lnTo>
                        <a:pt x="7499" y="5285"/>
                      </a:lnTo>
                      <a:lnTo>
                        <a:pt x="463" y="12079"/>
                      </a:lnTo>
                      <a:cubicBezTo>
                        <a:pt x="-135" y="12658"/>
                        <a:pt x="-156" y="13622"/>
                        <a:pt x="417" y="14227"/>
                      </a:cubicBezTo>
                      <a:lnTo>
                        <a:pt x="6802" y="20965"/>
                      </a:lnTo>
                      <a:cubicBezTo>
                        <a:pt x="7375" y="21570"/>
                        <a:pt x="8330" y="21590"/>
                        <a:pt x="8928" y="21011"/>
                      </a:cubicBezTo>
                      <a:lnTo>
                        <a:pt x="15954" y="14217"/>
                      </a:lnTo>
                      <a:lnTo>
                        <a:pt x="16642" y="14949"/>
                      </a:lnTo>
                      <a:cubicBezTo>
                        <a:pt x="17322" y="15667"/>
                        <a:pt x="18459" y="15692"/>
                        <a:pt x="19170" y="15004"/>
                      </a:cubicBezTo>
                      <a:lnTo>
                        <a:pt x="20709" y="13514"/>
                      </a:lnTo>
                      <a:cubicBezTo>
                        <a:pt x="21420" y="12826"/>
                        <a:pt x="21444" y="11686"/>
                        <a:pt x="20764" y="10969"/>
                      </a:cubicBezTo>
                      <a:lnTo>
                        <a:pt x="10897" y="556"/>
                      </a:lnTo>
                      <a:cubicBezTo>
                        <a:pt x="10557" y="197"/>
                        <a:pt x="10108" y="10"/>
                        <a:pt x="9652" y="0"/>
                      </a:cubicBezTo>
                      <a:close/>
                      <a:moveTo>
                        <a:pt x="9633" y="917"/>
                      </a:moveTo>
                      <a:cubicBezTo>
                        <a:pt x="9857" y="922"/>
                        <a:pt x="10080" y="1009"/>
                        <a:pt x="10247" y="1185"/>
                      </a:cubicBezTo>
                      <a:lnTo>
                        <a:pt x="20104" y="11598"/>
                      </a:lnTo>
                      <a:cubicBezTo>
                        <a:pt x="20438" y="11951"/>
                        <a:pt x="20426" y="12510"/>
                        <a:pt x="20077" y="12847"/>
                      </a:cubicBezTo>
                      <a:lnTo>
                        <a:pt x="18538" y="14338"/>
                      </a:lnTo>
                      <a:cubicBezTo>
                        <a:pt x="18189" y="14676"/>
                        <a:pt x="17635" y="14663"/>
                        <a:pt x="17301" y="14310"/>
                      </a:cubicBezTo>
                      <a:lnTo>
                        <a:pt x="16614" y="13588"/>
                      </a:lnTo>
                      <a:lnTo>
                        <a:pt x="17246" y="12968"/>
                      </a:lnTo>
                      <a:lnTo>
                        <a:pt x="17466" y="13199"/>
                      </a:lnTo>
                      <a:cubicBezTo>
                        <a:pt x="17640" y="13382"/>
                        <a:pt x="17926" y="13393"/>
                        <a:pt x="18107" y="13218"/>
                      </a:cubicBezTo>
                      <a:lnTo>
                        <a:pt x="18987" y="12366"/>
                      </a:lnTo>
                      <a:cubicBezTo>
                        <a:pt x="19168" y="12191"/>
                        <a:pt x="19170" y="11901"/>
                        <a:pt x="18996" y="11718"/>
                      </a:cubicBezTo>
                      <a:lnTo>
                        <a:pt x="10082" y="2296"/>
                      </a:lnTo>
                      <a:cubicBezTo>
                        <a:pt x="9909" y="2113"/>
                        <a:pt x="9622" y="2111"/>
                        <a:pt x="9441" y="2286"/>
                      </a:cubicBezTo>
                      <a:lnTo>
                        <a:pt x="8561" y="3129"/>
                      </a:lnTo>
                      <a:cubicBezTo>
                        <a:pt x="8380" y="3304"/>
                        <a:pt x="8370" y="3603"/>
                        <a:pt x="8543" y="3786"/>
                      </a:cubicBezTo>
                      <a:lnTo>
                        <a:pt x="8790" y="4036"/>
                      </a:lnTo>
                      <a:lnTo>
                        <a:pt x="8149" y="4647"/>
                      </a:lnTo>
                      <a:lnTo>
                        <a:pt x="7444" y="3897"/>
                      </a:lnTo>
                      <a:cubicBezTo>
                        <a:pt x="7110" y="3544"/>
                        <a:pt x="7122" y="2985"/>
                        <a:pt x="7471" y="2647"/>
                      </a:cubicBezTo>
                      <a:lnTo>
                        <a:pt x="9010" y="1157"/>
                      </a:lnTo>
                      <a:cubicBezTo>
                        <a:pt x="9185" y="989"/>
                        <a:pt x="9409" y="911"/>
                        <a:pt x="9633" y="917"/>
                      </a:cubicBezTo>
                      <a:close/>
                      <a:moveTo>
                        <a:pt x="10540" y="7044"/>
                      </a:moveTo>
                      <a:cubicBezTo>
                        <a:pt x="11035" y="7055"/>
                        <a:pt x="11519" y="7257"/>
                        <a:pt x="11887" y="7646"/>
                      </a:cubicBezTo>
                      <a:cubicBezTo>
                        <a:pt x="12623" y="8424"/>
                        <a:pt x="12601" y="9660"/>
                        <a:pt x="11832" y="10404"/>
                      </a:cubicBezTo>
                      <a:lnTo>
                        <a:pt x="11438" y="10774"/>
                      </a:lnTo>
                      <a:lnTo>
                        <a:pt x="12849" y="12274"/>
                      </a:lnTo>
                      <a:lnTo>
                        <a:pt x="14305" y="10867"/>
                      </a:lnTo>
                      <a:cubicBezTo>
                        <a:pt x="14487" y="10691"/>
                        <a:pt x="14773" y="10694"/>
                        <a:pt x="14947" y="10876"/>
                      </a:cubicBezTo>
                      <a:cubicBezTo>
                        <a:pt x="15120" y="11059"/>
                        <a:pt x="15119" y="11349"/>
                        <a:pt x="14938" y="11524"/>
                      </a:cubicBezTo>
                      <a:lnTo>
                        <a:pt x="13481" y="12931"/>
                      </a:lnTo>
                      <a:lnTo>
                        <a:pt x="13756" y="13227"/>
                      </a:lnTo>
                      <a:cubicBezTo>
                        <a:pt x="13929" y="13410"/>
                        <a:pt x="13928" y="13708"/>
                        <a:pt x="13747" y="13884"/>
                      </a:cubicBezTo>
                      <a:cubicBezTo>
                        <a:pt x="13566" y="14059"/>
                        <a:pt x="13279" y="14049"/>
                        <a:pt x="13105" y="13866"/>
                      </a:cubicBezTo>
                      <a:lnTo>
                        <a:pt x="12821" y="13569"/>
                      </a:lnTo>
                      <a:lnTo>
                        <a:pt x="12437" y="13949"/>
                      </a:lnTo>
                      <a:cubicBezTo>
                        <a:pt x="11667" y="14693"/>
                        <a:pt x="10443" y="14661"/>
                        <a:pt x="9707" y="13884"/>
                      </a:cubicBezTo>
                      <a:cubicBezTo>
                        <a:pt x="8971" y="13107"/>
                        <a:pt x="8992" y="11869"/>
                        <a:pt x="9762" y="11126"/>
                      </a:cubicBezTo>
                      <a:lnTo>
                        <a:pt x="10155" y="10746"/>
                      </a:lnTo>
                      <a:lnTo>
                        <a:pt x="8735" y="9256"/>
                      </a:lnTo>
                      <a:lnTo>
                        <a:pt x="7279" y="10663"/>
                      </a:lnTo>
                      <a:cubicBezTo>
                        <a:pt x="7098" y="10838"/>
                        <a:pt x="6811" y="10838"/>
                        <a:pt x="6638" y="10654"/>
                      </a:cubicBezTo>
                      <a:cubicBezTo>
                        <a:pt x="6464" y="10471"/>
                        <a:pt x="6474" y="10182"/>
                        <a:pt x="6656" y="10006"/>
                      </a:cubicBezTo>
                      <a:cubicBezTo>
                        <a:pt x="6656" y="10006"/>
                        <a:pt x="8112" y="8590"/>
                        <a:pt x="8112" y="8590"/>
                      </a:cubicBezTo>
                      <a:lnTo>
                        <a:pt x="7719" y="8182"/>
                      </a:lnTo>
                      <a:cubicBezTo>
                        <a:pt x="7545" y="7998"/>
                        <a:pt x="7556" y="7710"/>
                        <a:pt x="7737" y="7535"/>
                      </a:cubicBezTo>
                      <a:cubicBezTo>
                        <a:pt x="7918" y="7360"/>
                        <a:pt x="8205" y="7360"/>
                        <a:pt x="8378" y="7544"/>
                      </a:cubicBezTo>
                      <a:lnTo>
                        <a:pt x="8772" y="7960"/>
                      </a:lnTo>
                      <a:lnTo>
                        <a:pt x="9157" y="7581"/>
                      </a:lnTo>
                      <a:cubicBezTo>
                        <a:pt x="9542" y="7209"/>
                        <a:pt x="10046" y="7033"/>
                        <a:pt x="10540" y="7044"/>
                      </a:cubicBezTo>
                      <a:close/>
                      <a:moveTo>
                        <a:pt x="10613" y="7794"/>
                      </a:moveTo>
                      <a:cubicBezTo>
                        <a:pt x="10352" y="7788"/>
                        <a:pt x="10084" y="7884"/>
                        <a:pt x="9881" y="8081"/>
                      </a:cubicBezTo>
                      <a:lnTo>
                        <a:pt x="9496" y="8451"/>
                      </a:lnTo>
                      <a:lnTo>
                        <a:pt x="10907" y="9950"/>
                      </a:lnTo>
                      <a:lnTo>
                        <a:pt x="11301" y="9571"/>
                      </a:lnTo>
                      <a:cubicBezTo>
                        <a:pt x="11708" y="9178"/>
                        <a:pt x="11717" y="8520"/>
                        <a:pt x="11328" y="8108"/>
                      </a:cubicBezTo>
                      <a:cubicBezTo>
                        <a:pt x="11133" y="7903"/>
                        <a:pt x="10875" y="7800"/>
                        <a:pt x="10613" y="7794"/>
                      </a:cubicBezTo>
                      <a:close/>
                      <a:moveTo>
                        <a:pt x="10751" y="11413"/>
                      </a:moveTo>
                      <a:cubicBezTo>
                        <a:pt x="10751" y="11413"/>
                        <a:pt x="10357" y="11792"/>
                        <a:pt x="10357" y="11792"/>
                      </a:cubicBezTo>
                      <a:cubicBezTo>
                        <a:pt x="9950" y="12186"/>
                        <a:pt x="9939" y="12834"/>
                        <a:pt x="10329" y="13245"/>
                      </a:cubicBezTo>
                      <a:cubicBezTo>
                        <a:pt x="10719" y="13657"/>
                        <a:pt x="11370" y="13675"/>
                        <a:pt x="11777" y="13283"/>
                      </a:cubicBezTo>
                      <a:lnTo>
                        <a:pt x="12162" y="12903"/>
                      </a:lnTo>
                      <a:lnTo>
                        <a:pt x="10751" y="11413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18" name="îṡļiḋê">
                  <a:extLst>
                    <a:ext uri="{FF2B5EF4-FFF2-40B4-BE49-F238E27FC236}">
                      <a16:creationId xmlns:a16="http://schemas.microsoft.com/office/drawing/2014/main" id="{7D46B690-1174-4B21-9769-A7E3BE48F0BF}"/>
                    </a:ext>
                  </a:extLst>
                </p:cNvPr>
                <p:cNvSpPr/>
                <p:nvPr/>
              </p:nvSpPr>
              <p:spPr>
                <a:xfrm flipH="1">
                  <a:off x="6051433" y="4702087"/>
                  <a:ext cx="330253" cy="33142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44" h="21290" extrusionOk="0">
                      <a:moveTo>
                        <a:pt x="20946" y="11132"/>
                      </a:moveTo>
                      <a:cubicBezTo>
                        <a:pt x="21450" y="10333"/>
                        <a:pt x="21494" y="9289"/>
                        <a:pt x="20972" y="8427"/>
                      </a:cubicBezTo>
                      <a:lnTo>
                        <a:pt x="20358" y="7412"/>
                      </a:lnTo>
                      <a:cubicBezTo>
                        <a:pt x="19836" y="6549"/>
                        <a:pt x="18886" y="6100"/>
                        <a:pt x="17941" y="6167"/>
                      </a:cubicBezTo>
                      <a:cubicBezTo>
                        <a:pt x="17424" y="5678"/>
                        <a:pt x="16748" y="5402"/>
                        <a:pt x="16051" y="5375"/>
                      </a:cubicBezTo>
                      <a:lnTo>
                        <a:pt x="15577" y="4590"/>
                      </a:lnTo>
                      <a:cubicBezTo>
                        <a:pt x="15287" y="4111"/>
                        <a:pt x="14951" y="3675"/>
                        <a:pt x="14580" y="3283"/>
                      </a:cubicBezTo>
                      <a:cubicBezTo>
                        <a:pt x="14648" y="2551"/>
                        <a:pt x="14317" y="1807"/>
                        <a:pt x="13654" y="1379"/>
                      </a:cubicBezTo>
                      <a:cubicBezTo>
                        <a:pt x="12324" y="522"/>
                        <a:pt x="10783" y="46"/>
                        <a:pt x="9196" y="3"/>
                      </a:cubicBezTo>
                      <a:cubicBezTo>
                        <a:pt x="7563" y="-38"/>
                        <a:pt x="5957" y="382"/>
                        <a:pt x="4552" y="1221"/>
                      </a:cubicBezTo>
                      <a:lnTo>
                        <a:pt x="4159" y="1457"/>
                      </a:lnTo>
                      <a:cubicBezTo>
                        <a:pt x="2754" y="2297"/>
                        <a:pt x="1627" y="3510"/>
                        <a:pt x="900" y="4963"/>
                      </a:cubicBezTo>
                      <a:cubicBezTo>
                        <a:pt x="193" y="6377"/>
                        <a:pt x="-106" y="7954"/>
                        <a:pt x="33" y="9522"/>
                      </a:cubicBezTo>
                      <a:cubicBezTo>
                        <a:pt x="103" y="10305"/>
                        <a:pt x="609" y="10945"/>
                        <a:pt x="1291" y="11227"/>
                      </a:cubicBezTo>
                      <a:cubicBezTo>
                        <a:pt x="1465" y="11738"/>
                        <a:pt x="1695" y="12236"/>
                        <a:pt x="1985" y="12716"/>
                      </a:cubicBezTo>
                      <a:lnTo>
                        <a:pt x="2460" y="13501"/>
                      </a:lnTo>
                      <a:cubicBezTo>
                        <a:pt x="2159" y="14124"/>
                        <a:pt x="2087" y="14847"/>
                        <a:pt x="2279" y="15531"/>
                      </a:cubicBezTo>
                      <a:cubicBezTo>
                        <a:pt x="1775" y="16329"/>
                        <a:pt x="1731" y="17373"/>
                        <a:pt x="2253" y="18236"/>
                      </a:cubicBezTo>
                      <a:lnTo>
                        <a:pt x="2867" y="19251"/>
                      </a:lnTo>
                      <a:cubicBezTo>
                        <a:pt x="3389" y="20114"/>
                        <a:pt x="4338" y="20563"/>
                        <a:pt x="5284" y="20495"/>
                      </a:cubicBezTo>
                      <a:cubicBezTo>
                        <a:pt x="6207" y="21369"/>
                        <a:pt x="7637" y="21562"/>
                        <a:pt x="8783" y="20877"/>
                      </a:cubicBezTo>
                      <a:cubicBezTo>
                        <a:pt x="10157" y="20056"/>
                        <a:pt x="10602" y="18282"/>
                        <a:pt x="9775" y="16915"/>
                      </a:cubicBezTo>
                      <a:lnTo>
                        <a:pt x="7566" y="13266"/>
                      </a:lnTo>
                      <a:cubicBezTo>
                        <a:pt x="6875" y="12123"/>
                        <a:pt x="5511" y="11626"/>
                        <a:pt x="4278" y="11978"/>
                      </a:cubicBezTo>
                      <a:lnTo>
                        <a:pt x="3997" y="11513"/>
                      </a:lnTo>
                      <a:cubicBezTo>
                        <a:pt x="3840" y="11255"/>
                        <a:pt x="3710" y="10987"/>
                        <a:pt x="3601" y="10713"/>
                      </a:cubicBezTo>
                      <a:cubicBezTo>
                        <a:pt x="3971" y="10307"/>
                        <a:pt x="4178" y="9753"/>
                        <a:pt x="4125" y="9163"/>
                      </a:cubicBezTo>
                      <a:cubicBezTo>
                        <a:pt x="3973" y="7453"/>
                        <a:pt x="4798" y="5840"/>
                        <a:pt x="6277" y="4957"/>
                      </a:cubicBezTo>
                      <a:lnTo>
                        <a:pt x="6670" y="4721"/>
                      </a:lnTo>
                      <a:cubicBezTo>
                        <a:pt x="8149" y="3837"/>
                        <a:pt x="9967" y="3869"/>
                        <a:pt x="11416" y="4803"/>
                      </a:cubicBezTo>
                      <a:cubicBezTo>
                        <a:pt x="11916" y="5127"/>
                        <a:pt x="12504" y="5206"/>
                        <a:pt x="13040" y="5069"/>
                      </a:cubicBezTo>
                      <a:cubicBezTo>
                        <a:pt x="13232" y="5291"/>
                        <a:pt x="13408" y="5534"/>
                        <a:pt x="13565" y="5793"/>
                      </a:cubicBezTo>
                      <a:lnTo>
                        <a:pt x="13847" y="6258"/>
                      </a:lnTo>
                      <a:cubicBezTo>
                        <a:pt x="12957" y="7175"/>
                        <a:pt x="12758" y="8605"/>
                        <a:pt x="13450" y="9749"/>
                      </a:cubicBezTo>
                      <a:lnTo>
                        <a:pt x="15658" y="13398"/>
                      </a:lnTo>
                      <a:cubicBezTo>
                        <a:pt x="16485" y="14763"/>
                        <a:pt x="18270" y="15204"/>
                        <a:pt x="19645" y="14383"/>
                      </a:cubicBezTo>
                      <a:cubicBezTo>
                        <a:pt x="20791" y="13698"/>
                        <a:pt x="21289" y="12352"/>
                        <a:pt x="20946" y="11132"/>
                      </a:cubicBezTo>
                      <a:close/>
                    </a:path>
                  </a:pathLst>
                </a:custGeom>
                <a:solidFill>
                  <a:schemeClr val="tx2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19" name="îṣľiḑê">
                  <a:extLst>
                    <a:ext uri="{FF2B5EF4-FFF2-40B4-BE49-F238E27FC236}">
                      <a16:creationId xmlns:a16="http://schemas.microsoft.com/office/drawing/2014/main" id="{5957F810-1A6B-4BD6-B8CB-1F7C40912F52}"/>
                    </a:ext>
                  </a:extLst>
                </p:cNvPr>
                <p:cNvSpPr/>
                <p:nvPr/>
              </p:nvSpPr>
              <p:spPr>
                <a:xfrm flipH="1">
                  <a:off x="5802049" y="4887097"/>
                  <a:ext cx="281235" cy="29807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214" h="21364" extrusionOk="0">
                      <a:moveTo>
                        <a:pt x="20083" y="9738"/>
                      </a:moveTo>
                      <a:lnTo>
                        <a:pt x="14225" y="7517"/>
                      </a:lnTo>
                      <a:cubicBezTo>
                        <a:pt x="14225" y="7517"/>
                        <a:pt x="16038" y="5823"/>
                        <a:pt x="16852" y="2851"/>
                      </a:cubicBezTo>
                      <a:cubicBezTo>
                        <a:pt x="17395" y="869"/>
                        <a:pt x="15979" y="233"/>
                        <a:pt x="15102" y="17"/>
                      </a:cubicBezTo>
                      <a:cubicBezTo>
                        <a:pt x="14413" y="-155"/>
                        <a:pt x="13881" y="1069"/>
                        <a:pt x="13881" y="1069"/>
                      </a:cubicBezTo>
                      <a:lnTo>
                        <a:pt x="13878" y="1069"/>
                      </a:lnTo>
                      <a:cubicBezTo>
                        <a:pt x="13500" y="1843"/>
                        <a:pt x="13101" y="2503"/>
                        <a:pt x="12036" y="3636"/>
                      </a:cubicBezTo>
                      <a:cubicBezTo>
                        <a:pt x="10844" y="4909"/>
                        <a:pt x="9805" y="4504"/>
                        <a:pt x="8190" y="5499"/>
                      </a:cubicBezTo>
                      <a:cubicBezTo>
                        <a:pt x="7906" y="5673"/>
                        <a:pt x="7503" y="5980"/>
                        <a:pt x="7084" y="6374"/>
                      </a:cubicBezTo>
                      <a:cubicBezTo>
                        <a:pt x="7054" y="6394"/>
                        <a:pt x="7022" y="6422"/>
                        <a:pt x="6987" y="6466"/>
                      </a:cubicBezTo>
                      <a:cubicBezTo>
                        <a:pt x="6947" y="6517"/>
                        <a:pt x="6903" y="6549"/>
                        <a:pt x="6862" y="6597"/>
                      </a:cubicBezTo>
                      <a:cubicBezTo>
                        <a:pt x="6791" y="6669"/>
                        <a:pt x="6720" y="6742"/>
                        <a:pt x="6649" y="6819"/>
                      </a:cubicBezTo>
                      <a:cubicBezTo>
                        <a:pt x="5669" y="7366"/>
                        <a:pt x="4477" y="6989"/>
                        <a:pt x="3961" y="6861"/>
                      </a:cubicBezTo>
                      <a:cubicBezTo>
                        <a:pt x="2926" y="6606"/>
                        <a:pt x="2228" y="7042"/>
                        <a:pt x="1974" y="7971"/>
                      </a:cubicBezTo>
                      <a:lnTo>
                        <a:pt x="94" y="14821"/>
                      </a:lnTo>
                      <a:cubicBezTo>
                        <a:pt x="-191" y="15862"/>
                        <a:pt x="161" y="16323"/>
                        <a:pt x="1291" y="16603"/>
                      </a:cubicBezTo>
                      <a:lnTo>
                        <a:pt x="2867" y="16994"/>
                      </a:lnTo>
                      <a:cubicBezTo>
                        <a:pt x="3661" y="17191"/>
                        <a:pt x="4165" y="17777"/>
                        <a:pt x="5028" y="18329"/>
                      </a:cubicBezTo>
                      <a:cubicBezTo>
                        <a:pt x="6212" y="19079"/>
                        <a:pt x="8067" y="19882"/>
                        <a:pt x="11416" y="20710"/>
                      </a:cubicBezTo>
                      <a:cubicBezTo>
                        <a:pt x="12001" y="20856"/>
                        <a:pt x="13817" y="21308"/>
                        <a:pt x="13817" y="21308"/>
                      </a:cubicBezTo>
                      <a:cubicBezTo>
                        <a:pt x="14373" y="21445"/>
                        <a:pt x="14885" y="21316"/>
                        <a:pt x="15287" y="21102"/>
                      </a:cubicBezTo>
                      <a:cubicBezTo>
                        <a:pt x="15440" y="21021"/>
                        <a:pt x="15612" y="20894"/>
                        <a:pt x="15753" y="20593"/>
                      </a:cubicBezTo>
                      <a:cubicBezTo>
                        <a:pt x="15776" y="20546"/>
                        <a:pt x="15841" y="20343"/>
                        <a:pt x="15847" y="20317"/>
                      </a:cubicBezTo>
                      <a:cubicBezTo>
                        <a:pt x="16136" y="19429"/>
                        <a:pt x="15653" y="18961"/>
                        <a:pt x="15358" y="18779"/>
                      </a:cubicBezTo>
                      <a:cubicBezTo>
                        <a:pt x="15367" y="18779"/>
                        <a:pt x="15363" y="18768"/>
                        <a:pt x="15381" y="18775"/>
                      </a:cubicBezTo>
                      <a:lnTo>
                        <a:pt x="16397" y="19072"/>
                      </a:lnTo>
                      <a:cubicBezTo>
                        <a:pt x="17299" y="19338"/>
                        <a:pt x="18371" y="18936"/>
                        <a:pt x="18661" y="17874"/>
                      </a:cubicBezTo>
                      <a:cubicBezTo>
                        <a:pt x="18903" y="16993"/>
                        <a:pt x="18322" y="16186"/>
                        <a:pt x="17424" y="15919"/>
                      </a:cubicBezTo>
                      <a:lnTo>
                        <a:pt x="17962" y="16078"/>
                      </a:lnTo>
                      <a:cubicBezTo>
                        <a:pt x="18864" y="16342"/>
                        <a:pt x="19822" y="15850"/>
                        <a:pt x="20107" y="14980"/>
                      </a:cubicBezTo>
                      <a:cubicBezTo>
                        <a:pt x="20388" y="14108"/>
                        <a:pt x="19886" y="13187"/>
                        <a:pt x="18985" y="12922"/>
                      </a:cubicBezTo>
                      <a:cubicBezTo>
                        <a:pt x="19886" y="13187"/>
                        <a:pt x="20846" y="12697"/>
                        <a:pt x="21127" y="11825"/>
                      </a:cubicBezTo>
                      <a:cubicBezTo>
                        <a:pt x="21409" y="10952"/>
                        <a:pt x="20985" y="10002"/>
                        <a:pt x="20083" y="9738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5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20" name="íşļîḑe">
                  <a:extLst>
                    <a:ext uri="{FF2B5EF4-FFF2-40B4-BE49-F238E27FC236}">
                      <a16:creationId xmlns:a16="http://schemas.microsoft.com/office/drawing/2014/main" id="{AFD73723-671B-4BA4-88B1-EE6EF3432049}"/>
                    </a:ext>
                  </a:extLst>
                </p:cNvPr>
                <p:cNvSpPr/>
                <p:nvPr/>
              </p:nvSpPr>
              <p:spPr>
                <a:xfrm flipH="1">
                  <a:off x="3365875" y="1867256"/>
                  <a:ext cx="539064" cy="38878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242" h="21411" extrusionOk="0">
                      <a:moveTo>
                        <a:pt x="8096" y="11174"/>
                      </a:moveTo>
                      <a:cubicBezTo>
                        <a:pt x="8330" y="11696"/>
                        <a:pt x="8974" y="12262"/>
                        <a:pt x="10027" y="12617"/>
                      </a:cubicBezTo>
                      <a:cubicBezTo>
                        <a:pt x="12091" y="13312"/>
                        <a:pt x="12817" y="15383"/>
                        <a:pt x="10454" y="16308"/>
                      </a:cubicBezTo>
                      <a:cubicBezTo>
                        <a:pt x="8150" y="17209"/>
                        <a:pt x="8175" y="14503"/>
                        <a:pt x="8175" y="14503"/>
                      </a:cubicBezTo>
                      <a:cubicBezTo>
                        <a:pt x="8229" y="12751"/>
                        <a:pt x="8187" y="11746"/>
                        <a:pt x="8062" y="11190"/>
                      </a:cubicBezTo>
                      <a:cubicBezTo>
                        <a:pt x="8062" y="11190"/>
                        <a:pt x="8096" y="11174"/>
                        <a:pt x="8096" y="11174"/>
                      </a:cubicBezTo>
                      <a:close/>
                      <a:moveTo>
                        <a:pt x="9608" y="7392"/>
                      </a:moveTo>
                      <a:cubicBezTo>
                        <a:pt x="10194" y="6117"/>
                        <a:pt x="9991" y="3512"/>
                        <a:pt x="9991" y="3512"/>
                      </a:cubicBezTo>
                      <a:cubicBezTo>
                        <a:pt x="9991" y="3512"/>
                        <a:pt x="8268" y="4213"/>
                        <a:pt x="7683" y="5489"/>
                      </a:cubicBezTo>
                      <a:cubicBezTo>
                        <a:pt x="7536" y="5806"/>
                        <a:pt x="7434" y="6105"/>
                        <a:pt x="7370" y="6385"/>
                      </a:cubicBezTo>
                      <a:cubicBezTo>
                        <a:pt x="7355" y="6244"/>
                        <a:pt x="7341" y="6111"/>
                        <a:pt x="7328" y="5982"/>
                      </a:cubicBezTo>
                      <a:cubicBezTo>
                        <a:pt x="7283" y="5549"/>
                        <a:pt x="7243" y="5165"/>
                        <a:pt x="7164" y="4791"/>
                      </a:cubicBezTo>
                      <a:cubicBezTo>
                        <a:pt x="7607" y="4248"/>
                        <a:pt x="7713" y="3290"/>
                        <a:pt x="7157" y="2036"/>
                      </a:cubicBezTo>
                      <a:cubicBezTo>
                        <a:pt x="6587" y="746"/>
                        <a:pt x="4874" y="0"/>
                        <a:pt x="4874" y="0"/>
                      </a:cubicBezTo>
                      <a:cubicBezTo>
                        <a:pt x="4874" y="0"/>
                        <a:pt x="4639" y="2599"/>
                        <a:pt x="5209" y="3889"/>
                      </a:cubicBezTo>
                      <a:cubicBezTo>
                        <a:pt x="5708" y="5018"/>
                        <a:pt x="6277" y="5334"/>
                        <a:pt x="6764" y="5113"/>
                      </a:cubicBezTo>
                      <a:cubicBezTo>
                        <a:pt x="6817" y="5400"/>
                        <a:pt x="6849" y="5710"/>
                        <a:pt x="6887" y="6080"/>
                      </a:cubicBezTo>
                      <a:cubicBezTo>
                        <a:pt x="6903" y="6236"/>
                        <a:pt x="6920" y="6399"/>
                        <a:pt x="6939" y="6572"/>
                      </a:cubicBezTo>
                      <a:cubicBezTo>
                        <a:pt x="6788" y="6370"/>
                        <a:pt x="6595" y="6178"/>
                        <a:pt x="6354" y="6002"/>
                      </a:cubicBezTo>
                      <a:cubicBezTo>
                        <a:pt x="5416" y="5317"/>
                        <a:pt x="3682" y="5953"/>
                        <a:pt x="3682" y="5953"/>
                      </a:cubicBezTo>
                      <a:cubicBezTo>
                        <a:pt x="3682" y="5953"/>
                        <a:pt x="4381" y="8366"/>
                        <a:pt x="5319" y="9052"/>
                      </a:cubicBezTo>
                      <a:cubicBezTo>
                        <a:pt x="6307" y="9773"/>
                        <a:pt x="6973" y="9407"/>
                        <a:pt x="7258" y="8565"/>
                      </a:cubicBezTo>
                      <a:cubicBezTo>
                        <a:pt x="7261" y="8559"/>
                        <a:pt x="7262" y="8552"/>
                        <a:pt x="7264" y="8546"/>
                      </a:cubicBezTo>
                      <a:cubicBezTo>
                        <a:pt x="7288" y="8657"/>
                        <a:pt x="7560" y="9688"/>
                        <a:pt x="7804" y="10606"/>
                      </a:cubicBezTo>
                      <a:cubicBezTo>
                        <a:pt x="7611" y="10436"/>
                        <a:pt x="7418" y="10593"/>
                        <a:pt x="7418" y="10593"/>
                      </a:cubicBezTo>
                      <a:cubicBezTo>
                        <a:pt x="6843" y="10979"/>
                        <a:pt x="6278" y="14505"/>
                        <a:pt x="6278" y="14505"/>
                      </a:cubicBezTo>
                      <a:cubicBezTo>
                        <a:pt x="6186" y="15469"/>
                        <a:pt x="6334" y="16220"/>
                        <a:pt x="6486" y="16722"/>
                      </a:cubicBezTo>
                      <a:cubicBezTo>
                        <a:pt x="6486" y="16722"/>
                        <a:pt x="2723" y="16054"/>
                        <a:pt x="1623" y="16090"/>
                      </a:cubicBezTo>
                      <a:cubicBezTo>
                        <a:pt x="530" y="16127"/>
                        <a:pt x="-1358" y="17692"/>
                        <a:pt x="1532" y="18635"/>
                      </a:cubicBezTo>
                      <a:cubicBezTo>
                        <a:pt x="3343" y="19226"/>
                        <a:pt x="9524" y="21600"/>
                        <a:pt x="10472" y="21399"/>
                      </a:cubicBezTo>
                      <a:cubicBezTo>
                        <a:pt x="11650" y="21149"/>
                        <a:pt x="15342" y="17869"/>
                        <a:pt x="16202" y="17434"/>
                      </a:cubicBezTo>
                      <a:cubicBezTo>
                        <a:pt x="17060" y="17000"/>
                        <a:pt x="19111" y="16798"/>
                        <a:pt x="20242" y="16838"/>
                      </a:cubicBezTo>
                      <a:lnTo>
                        <a:pt x="18853" y="11867"/>
                      </a:lnTo>
                      <a:cubicBezTo>
                        <a:pt x="17859" y="11690"/>
                        <a:pt x="16374" y="10348"/>
                        <a:pt x="13095" y="10351"/>
                      </a:cubicBezTo>
                      <a:cubicBezTo>
                        <a:pt x="10401" y="10354"/>
                        <a:pt x="9657" y="9502"/>
                        <a:pt x="8534" y="9930"/>
                      </a:cubicBezTo>
                      <a:cubicBezTo>
                        <a:pt x="8373" y="9991"/>
                        <a:pt x="8263" y="10105"/>
                        <a:pt x="8186" y="10236"/>
                      </a:cubicBezTo>
                      <a:cubicBezTo>
                        <a:pt x="7946" y="9330"/>
                        <a:pt x="7699" y="8393"/>
                        <a:pt x="7675" y="8282"/>
                      </a:cubicBezTo>
                      <a:cubicBezTo>
                        <a:pt x="7701" y="8313"/>
                        <a:pt x="7729" y="8343"/>
                        <a:pt x="7758" y="8371"/>
                      </a:cubicBezTo>
                      <a:cubicBezTo>
                        <a:pt x="8290" y="8897"/>
                        <a:pt x="8992" y="8734"/>
                        <a:pt x="9608" y="7392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21" name="ïṣľidé">
                  <a:extLst>
                    <a:ext uri="{FF2B5EF4-FFF2-40B4-BE49-F238E27FC236}">
                      <a16:creationId xmlns:a16="http://schemas.microsoft.com/office/drawing/2014/main" id="{46823BE4-6544-44EA-B4B8-E9F18146CB2A}"/>
                    </a:ext>
                  </a:extLst>
                </p:cNvPr>
                <p:cNvSpPr/>
                <p:nvPr/>
              </p:nvSpPr>
              <p:spPr>
                <a:xfrm flipH="1">
                  <a:off x="3794464" y="1485300"/>
                  <a:ext cx="104505" cy="10450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15" y="21600"/>
                      </a:moveTo>
                      <a:cubicBezTo>
                        <a:pt x="16777" y="21600"/>
                        <a:pt x="21600" y="16780"/>
                        <a:pt x="21600" y="10816"/>
                      </a:cubicBezTo>
                      <a:cubicBezTo>
                        <a:pt x="21600" y="4855"/>
                        <a:pt x="16777" y="0"/>
                        <a:pt x="10815" y="0"/>
                      </a:cubicBezTo>
                      <a:cubicBezTo>
                        <a:pt x="4818" y="0"/>
                        <a:pt x="0" y="4855"/>
                        <a:pt x="0" y="10816"/>
                      </a:cubicBezTo>
                      <a:cubicBezTo>
                        <a:pt x="0" y="16780"/>
                        <a:pt x="4818" y="21600"/>
                        <a:pt x="10815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22" name="iṡḻïḋê">
                  <a:extLst>
                    <a:ext uri="{FF2B5EF4-FFF2-40B4-BE49-F238E27FC236}">
                      <a16:creationId xmlns:a16="http://schemas.microsoft.com/office/drawing/2014/main" id="{0D9FCDA6-5305-451E-BC10-8038C7CB3922}"/>
                    </a:ext>
                  </a:extLst>
                </p:cNvPr>
                <p:cNvSpPr/>
                <p:nvPr/>
              </p:nvSpPr>
              <p:spPr>
                <a:xfrm flipH="1">
                  <a:off x="3701143" y="1604661"/>
                  <a:ext cx="209763" cy="17923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21600"/>
                      </a:moveTo>
                      <a:lnTo>
                        <a:pt x="12705" y="21600"/>
                      </a:lnTo>
                      <a:lnTo>
                        <a:pt x="12705" y="11335"/>
                      </a:lnTo>
                      <a:cubicBezTo>
                        <a:pt x="14557" y="13234"/>
                        <a:pt x="17191" y="15048"/>
                        <a:pt x="21215" y="15836"/>
                      </a:cubicBezTo>
                      <a:cubicBezTo>
                        <a:pt x="20879" y="15263"/>
                        <a:pt x="20604" y="14614"/>
                        <a:pt x="20541" y="13861"/>
                      </a:cubicBezTo>
                      <a:cubicBezTo>
                        <a:pt x="20418" y="12518"/>
                        <a:pt x="20864" y="11281"/>
                        <a:pt x="21600" y="10385"/>
                      </a:cubicBezTo>
                      <a:cubicBezTo>
                        <a:pt x="17053" y="9365"/>
                        <a:pt x="15185" y="6767"/>
                        <a:pt x="13562" y="4402"/>
                      </a:cubicBezTo>
                      <a:cubicBezTo>
                        <a:pt x="12765" y="3256"/>
                        <a:pt x="12014" y="2165"/>
                        <a:pt x="11017" y="1393"/>
                      </a:cubicBezTo>
                      <a:cubicBezTo>
                        <a:pt x="10991" y="1357"/>
                        <a:pt x="10943" y="1357"/>
                        <a:pt x="10930" y="1339"/>
                      </a:cubicBezTo>
                      <a:cubicBezTo>
                        <a:pt x="10070" y="517"/>
                        <a:pt x="9000" y="0"/>
                        <a:pt x="7806" y="0"/>
                      </a:cubicBezTo>
                      <a:lnTo>
                        <a:pt x="4897" y="0"/>
                      </a:lnTo>
                      <a:cubicBezTo>
                        <a:pt x="2201" y="0"/>
                        <a:pt x="0" y="2559"/>
                        <a:pt x="0" y="5715"/>
                      </a:cubicBezTo>
                      <a:cubicBezTo>
                        <a:pt x="0" y="5715"/>
                        <a:pt x="0" y="21600"/>
                        <a:pt x="0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23" name="îśḷïḋe">
                  <a:extLst>
                    <a:ext uri="{FF2B5EF4-FFF2-40B4-BE49-F238E27FC236}">
                      <a16:creationId xmlns:a16="http://schemas.microsoft.com/office/drawing/2014/main" id="{FBE02CC4-9617-404D-9AF0-F4069B35DE5B}"/>
                    </a:ext>
                  </a:extLst>
                </p:cNvPr>
                <p:cNvSpPr/>
                <p:nvPr/>
              </p:nvSpPr>
              <p:spPr>
                <a:xfrm flipH="1">
                  <a:off x="3452445" y="1604661"/>
                  <a:ext cx="243611" cy="17923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492" h="21600" extrusionOk="0">
                      <a:moveTo>
                        <a:pt x="1782" y="10677"/>
                      </a:moveTo>
                      <a:cubicBezTo>
                        <a:pt x="681" y="10839"/>
                        <a:pt x="-108" y="12182"/>
                        <a:pt x="12" y="13686"/>
                      </a:cubicBezTo>
                      <a:cubicBezTo>
                        <a:pt x="131" y="15085"/>
                        <a:pt x="996" y="16118"/>
                        <a:pt x="2004" y="16118"/>
                      </a:cubicBezTo>
                      <a:cubicBezTo>
                        <a:pt x="2071" y="16118"/>
                        <a:pt x="2149" y="16101"/>
                        <a:pt x="2227" y="16101"/>
                      </a:cubicBezTo>
                      <a:cubicBezTo>
                        <a:pt x="6320" y="15478"/>
                        <a:pt x="8864" y="13489"/>
                        <a:pt x="10607" y="11370"/>
                      </a:cubicBezTo>
                      <a:lnTo>
                        <a:pt x="10607" y="21600"/>
                      </a:lnTo>
                      <a:lnTo>
                        <a:pt x="21492" y="21600"/>
                      </a:lnTo>
                      <a:lnTo>
                        <a:pt x="21492" y="5715"/>
                      </a:lnTo>
                      <a:cubicBezTo>
                        <a:pt x="21492" y="2559"/>
                        <a:pt x="19604" y="0"/>
                        <a:pt x="17295" y="0"/>
                      </a:cubicBezTo>
                      <a:lnTo>
                        <a:pt x="14804" y="0"/>
                      </a:lnTo>
                      <a:cubicBezTo>
                        <a:pt x="13794" y="0"/>
                        <a:pt x="12863" y="517"/>
                        <a:pt x="12142" y="1339"/>
                      </a:cubicBezTo>
                      <a:cubicBezTo>
                        <a:pt x="12117" y="1357"/>
                        <a:pt x="12076" y="1357"/>
                        <a:pt x="12063" y="1393"/>
                      </a:cubicBezTo>
                      <a:cubicBezTo>
                        <a:pt x="11211" y="2165"/>
                        <a:pt x="10555" y="3256"/>
                        <a:pt x="9873" y="4402"/>
                      </a:cubicBezTo>
                      <a:cubicBezTo>
                        <a:pt x="8352" y="6982"/>
                        <a:pt x="6621" y="9937"/>
                        <a:pt x="1782" y="10677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24" name="ïṡḻídê">
                  <a:extLst>
                    <a:ext uri="{FF2B5EF4-FFF2-40B4-BE49-F238E27FC236}">
                      <a16:creationId xmlns:a16="http://schemas.microsoft.com/office/drawing/2014/main" id="{A777E316-E6FF-4384-9160-C9411B7637AD}"/>
                    </a:ext>
                  </a:extLst>
                </p:cNvPr>
                <p:cNvSpPr/>
                <p:nvPr/>
              </p:nvSpPr>
              <p:spPr>
                <a:xfrm flipH="1">
                  <a:off x="3460253" y="1485300"/>
                  <a:ext cx="104506" cy="10450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10816"/>
                      </a:moveTo>
                      <a:cubicBezTo>
                        <a:pt x="0" y="16780"/>
                        <a:pt x="4823" y="21600"/>
                        <a:pt x="10785" y="21600"/>
                      </a:cubicBezTo>
                      <a:cubicBezTo>
                        <a:pt x="16777" y="21600"/>
                        <a:pt x="21600" y="16780"/>
                        <a:pt x="21600" y="10816"/>
                      </a:cubicBezTo>
                      <a:cubicBezTo>
                        <a:pt x="21600" y="4855"/>
                        <a:pt x="16777" y="0"/>
                        <a:pt x="10785" y="0"/>
                      </a:cubicBezTo>
                      <a:cubicBezTo>
                        <a:pt x="4823" y="0"/>
                        <a:pt x="0" y="4855"/>
                        <a:pt x="0" y="1081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25" name="îS1ïḍé">
                  <a:extLst>
                    <a:ext uri="{FF2B5EF4-FFF2-40B4-BE49-F238E27FC236}">
                      <a16:creationId xmlns:a16="http://schemas.microsoft.com/office/drawing/2014/main" id="{802BBE4A-BE98-408A-AB4F-D47300510900}"/>
                    </a:ext>
                  </a:extLst>
                </p:cNvPr>
                <p:cNvSpPr/>
                <p:nvPr/>
              </p:nvSpPr>
              <p:spPr>
                <a:xfrm flipH="1">
                  <a:off x="3649232" y="1127216"/>
                  <a:ext cx="58761" cy="30535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19403"/>
                      </a:moveTo>
                      <a:lnTo>
                        <a:pt x="21600" y="2196"/>
                      </a:lnTo>
                      <a:cubicBezTo>
                        <a:pt x="21600" y="985"/>
                        <a:pt x="16471" y="0"/>
                        <a:pt x="10177" y="0"/>
                      </a:cubicBezTo>
                      <a:lnTo>
                        <a:pt x="0" y="0"/>
                      </a:lnTo>
                      <a:lnTo>
                        <a:pt x="0" y="21600"/>
                      </a:lnTo>
                      <a:lnTo>
                        <a:pt x="10177" y="21600"/>
                      </a:lnTo>
                      <a:cubicBezTo>
                        <a:pt x="16471" y="21600"/>
                        <a:pt x="21600" y="20614"/>
                        <a:pt x="21600" y="19403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5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26" name="íṥ1íḑe">
                  <a:extLst>
                    <a:ext uri="{FF2B5EF4-FFF2-40B4-BE49-F238E27FC236}">
                      <a16:creationId xmlns:a16="http://schemas.microsoft.com/office/drawing/2014/main" id="{0E0197E9-2D86-42A8-8EAB-FD00F465F24F}"/>
                    </a:ext>
                  </a:extLst>
                </p:cNvPr>
                <p:cNvSpPr/>
                <p:nvPr/>
              </p:nvSpPr>
              <p:spPr>
                <a:xfrm flipH="1">
                  <a:off x="4049116" y="1127216"/>
                  <a:ext cx="58737" cy="30536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2197"/>
                      </a:moveTo>
                      <a:lnTo>
                        <a:pt x="0" y="19403"/>
                      </a:lnTo>
                      <a:cubicBezTo>
                        <a:pt x="0" y="20615"/>
                        <a:pt x="5122" y="21600"/>
                        <a:pt x="11426" y="21600"/>
                      </a:cubicBezTo>
                      <a:lnTo>
                        <a:pt x="21600" y="21600"/>
                      </a:lnTo>
                      <a:lnTo>
                        <a:pt x="21600" y="0"/>
                      </a:lnTo>
                      <a:lnTo>
                        <a:pt x="11426" y="0"/>
                      </a:lnTo>
                      <a:cubicBezTo>
                        <a:pt x="5122" y="0"/>
                        <a:pt x="0" y="986"/>
                        <a:pt x="0" y="2197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5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27" name="îṥlïďê">
                  <a:extLst>
                    <a:ext uri="{FF2B5EF4-FFF2-40B4-BE49-F238E27FC236}">
                      <a16:creationId xmlns:a16="http://schemas.microsoft.com/office/drawing/2014/main" id="{C6CDA768-B8F4-454F-BC9B-323710ED3D10}"/>
                    </a:ext>
                  </a:extLst>
                </p:cNvPr>
                <p:cNvSpPr/>
                <p:nvPr/>
              </p:nvSpPr>
              <p:spPr>
                <a:xfrm flipH="1">
                  <a:off x="3736194" y="1055599"/>
                  <a:ext cx="294074" cy="37605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58" y="10398"/>
                      </a:moveTo>
                      <a:lnTo>
                        <a:pt x="4625" y="9326"/>
                      </a:lnTo>
                      <a:cubicBezTo>
                        <a:pt x="4831" y="9237"/>
                        <a:pt x="5073" y="9215"/>
                        <a:pt x="5298" y="9265"/>
                      </a:cubicBezTo>
                      <a:cubicBezTo>
                        <a:pt x="5525" y="9316"/>
                        <a:pt x="5716" y="9434"/>
                        <a:pt x="5828" y="9595"/>
                      </a:cubicBezTo>
                      <a:lnTo>
                        <a:pt x="7200" y="11525"/>
                      </a:lnTo>
                      <a:cubicBezTo>
                        <a:pt x="7437" y="11860"/>
                        <a:pt x="7283" y="12281"/>
                        <a:pt x="6856" y="12467"/>
                      </a:cubicBezTo>
                      <a:lnTo>
                        <a:pt x="4388" y="13539"/>
                      </a:lnTo>
                      <a:cubicBezTo>
                        <a:pt x="4255" y="13597"/>
                        <a:pt x="4107" y="13627"/>
                        <a:pt x="3959" y="13627"/>
                      </a:cubicBezTo>
                      <a:cubicBezTo>
                        <a:pt x="3876" y="13627"/>
                        <a:pt x="3795" y="13617"/>
                        <a:pt x="3714" y="13600"/>
                      </a:cubicBezTo>
                      <a:cubicBezTo>
                        <a:pt x="3489" y="13549"/>
                        <a:pt x="3298" y="13431"/>
                        <a:pt x="3184" y="13270"/>
                      </a:cubicBezTo>
                      <a:lnTo>
                        <a:pt x="1813" y="11340"/>
                      </a:lnTo>
                      <a:cubicBezTo>
                        <a:pt x="1575" y="11005"/>
                        <a:pt x="1729" y="10584"/>
                        <a:pt x="2158" y="10398"/>
                      </a:cubicBezTo>
                      <a:close/>
                      <a:moveTo>
                        <a:pt x="6587" y="2495"/>
                      </a:moveTo>
                      <a:cubicBezTo>
                        <a:pt x="6587" y="1883"/>
                        <a:pt x="7223" y="1384"/>
                        <a:pt x="8005" y="1384"/>
                      </a:cubicBezTo>
                      <a:lnTo>
                        <a:pt x="13595" y="1384"/>
                      </a:lnTo>
                      <a:cubicBezTo>
                        <a:pt x="14377" y="1384"/>
                        <a:pt x="15015" y="1883"/>
                        <a:pt x="15015" y="2495"/>
                      </a:cubicBezTo>
                      <a:lnTo>
                        <a:pt x="15015" y="4061"/>
                      </a:lnTo>
                      <a:lnTo>
                        <a:pt x="6587" y="4061"/>
                      </a:lnTo>
                      <a:cubicBezTo>
                        <a:pt x="6587" y="4061"/>
                        <a:pt x="6587" y="2495"/>
                        <a:pt x="6587" y="2495"/>
                      </a:cubicBezTo>
                      <a:close/>
                      <a:moveTo>
                        <a:pt x="17727" y="6224"/>
                      </a:moveTo>
                      <a:cubicBezTo>
                        <a:pt x="19296" y="6224"/>
                        <a:pt x="20310" y="6696"/>
                        <a:pt x="20310" y="7425"/>
                      </a:cubicBezTo>
                      <a:cubicBezTo>
                        <a:pt x="20310" y="8155"/>
                        <a:pt x="19297" y="8626"/>
                        <a:pt x="17727" y="8626"/>
                      </a:cubicBezTo>
                      <a:cubicBezTo>
                        <a:pt x="16158" y="8626"/>
                        <a:pt x="15142" y="8155"/>
                        <a:pt x="15142" y="7425"/>
                      </a:cubicBezTo>
                      <a:cubicBezTo>
                        <a:pt x="15142" y="6696"/>
                        <a:pt x="16158" y="6224"/>
                        <a:pt x="17727" y="6224"/>
                      </a:cubicBezTo>
                      <a:close/>
                      <a:moveTo>
                        <a:pt x="13461" y="15795"/>
                      </a:moveTo>
                      <a:lnTo>
                        <a:pt x="12167" y="16589"/>
                      </a:lnTo>
                      <a:lnTo>
                        <a:pt x="12268" y="17874"/>
                      </a:lnTo>
                      <a:cubicBezTo>
                        <a:pt x="12291" y="18137"/>
                        <a:pt x="12118" y="18386"/>
                        <a:pt x="11827" y="18518"/>
                      </a:cubicBezTo>
                      <a:cubicBezTo>
                        <a:pt x="11689" y="18579"/>
                        <a:pt x="11537" y="18609"/>
                        <a:pt x="11385" y="18609"/>
                      </a:cubicBezTo>
                      <a:cubicBezTo>
                        <a:pt x="11214" y="18609"/>
                        <a:pt x="11040" y="18570"/>
                        <a:pt x="10891" y="18492"/>
                      </a:cubicBezTo>
                      <a:lnTo>
                        <a:pt x="9527" y="17775"/>
                      </a:lnTo>
                      <a:lnTo>
                        <a:pt x="7996" y="18248"/>
                      </a:lnTo>
                      <a:cubicBezTo>
                        <a:pt x="7682" y="18345"/>
                        <a:pt x="7325" y="18294"/>
                        <a:pt x="7075" y="18118"/>
                      </a:cubicBezTo>
                      <a:cubicBezTo>
                        <a:pt x="6826" y="17941"/>
                        <a:pt x="6726" y="17668"/>
                        <a:pt x="6819" y="17415"/>
                      </a:cubicBezTo>
                      <a:lnTo>
                        <a:pt x="7268" y="16177"/>
                      </a:lnTo>
                      <a:lnTo>
                        <a:pt x="6221" y="15186"/>
                      </a:lnTo>
                      <a:cubicBezTo>
                        <a:pt x="6006" y="14982"/>
                        <a:pt x="5957" y="14702"/>
                        <a:pt x="6095" y="14461"/>
                      </a:cubicBezTo>
                      <a:cubicBezTo>
                        <a:pt x="6232" y="14221"/>
                        <a:pt x="6533" y="14063"/>
                        <a:pt x="6869" y="14053"/>
                      </a:cubicBezTo>
                      <a:lnTo>
                        <a:pt x="8514" y="14005"/>
                      </a:lnTo>
                      <a:lnTo>
                        <a:pt x="9397" y="12919"/>
                      </a:lnTo>
                      <a:cubicBezTo>
                        <a:pt x="9577" y="12696"/>
                        <a:pt x="9903" y="12574"/>
                        <a:pt x="10239" y="12602"/>
                      </a:cubicBezTo>
                      <a:cubicBezTo>
                        <a:pt x="10573" y="12630"/>
                        <a:pt x="10859" y="12804"/>
                        <a:pt x="10974" y="13052"/>
                      </a:cubicBezTo>
                      <a:lnTo>
                        <a:pt x="11541" y="14260"/>
                      </a:lnTo>
                      <a:lnTo>
                        <a:pt x="13135" y="14580"/>
                      </a:lnTo>
                      <a:cubicBezTo>
                        <a:pt x="13461" y="14646"/>
                        <a:pt x="13712" y="14851"/>
                        <a:pt x="13781" y="15109"/>
                      </a:cubicBezTo>
                      <a:cubicBezTo>
                        <a:pt x="13849" y="15366"/>
                        <a:pt x="13726" y="15632"/>
                        <a:pt x="13461" y="15795"/>
                      </a:cubicBezTo>
                      <a:close/>
                      <a:moveTo>
                        <a:pt x="0" y="21600"/>
                      </a:moveTo>
                      <a:lnTo>
                        <a:pt x="21600" y="21600"/>
                      </a:lnTo>
                      <a:lnTo>
                        <a:pt x="21600" y="4061"/>
                      </a:lnTo>
                      <a:lnTo>
                        <a:pt x="16786" y="4061"/>
                      </a:lnTo>
                      <a:lnTo>
                        <a:pt x="16786" y="2495"/>
                      </a:lnTo>
                      <a:cubicBezTo>
                        <a:pt x="16786" y="1119"/>
                        <a:pt x="15355" y="0"/>
                        <a:pt x="13595" y="0"/>
                      </a:cubicBezTo>
                      <a:lnTo>
                        <a:pt x="8005" y="0"/>
                      </a:lnTo>
                      <a:cubicBezTo>
                        <a:pt x="6247" y="0"/>
                        <a:pt x="4814" y="1119"/>
                        <a:pt x="4814" y="2495"/>
                      </a:cubicBezTo>
                      <a:lnTo>
                        <a:pt x="4814" y="4061"/>
                      </a:lnTo>
                      <a:lnTo>
                        <a:pt x="0" y="4061"/>
                      </a:lnTo>
                      <a:cubicBezTo>
                        <a:pt x="0" y="4061"/>
                        <a:pt x="0" y="21600"/>
                        <a:pt x="0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28" name="ïṣľîḑè">
                  <a:extLst>
                    <a:ext uri="{FF2B5EF4-FFF2-40B4-BE49-F238E27FC236}">
                      <a16:creationId xmlns:a16="http://schemas.microsoft.com/office/drawing/2014/main" id="{CB03B90C-4D8C-413F-883C-25116601B069}"/>
                    </a:ext>
                  </a:extLst>
                </p:cNvPr>
                <p:cNvSpPr/>
                <p:nvPr/>
              </p:nvSpPr>
              <p:spPr>
                <a:xfrm flipH="1">
                  <a:off x="2735595" y="4045600"/>
                  <a:ext cx="148804" cy="14198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452" h="21521" extrusionOk="0">
                      <a:moveTo>
                        <a:pt x="19147" y="9659"/>
                      </a:moveTo>
                      <a:lnTo>
                        <a:pt x="11176" y="1969"/>
                      </a:lnTo>
                      <a:cubicBezTo>
                        <a:pt x="9776" y="620"/>
                        <a:pt x="7956" y="-79"/>
                        <a:pt x="6055" y="8"/>
                      </a:cubicBezTo>
                      <a:cubicBezTo>
                        <a:pt x="4158" y="91"/>
                        <a:pt x="2405" y="952"/>
                        <a:pt x="1119" y="2424"/>
                      </a:cubicBezTo>
                      <a:lnTo>
                        <a:pt x="317" y="3341"/>
                      </a:lnTo>
                      <a:cubicBezTo>
                        <a:pt x="202" y="3477"/>
                        <a:pt x="98" y="3620"/>
                        <a:pt x="0" y="3768"/>
                      </a:cubicBezTo>
                      <a:lnTo>
                        <a:pt x="18400" y="21521"/>
                      </a:lnTo>
                      <a:cubicBezTo>
                        <a:pt x="18533" y="21404"/>
                        <a:pt x="18661" y="21283"/>
                        <a:pt x="18778" y="21149"/>
                      </a:cubicBezTo>
                      <a:lnTo>
                        <a:pt x="19580" y="20233"/>
                      </a:lnTo>
                      <a:cubicBezTo>
                        <a:pt x="20927" y="18685"/>
                        <a:pt x="21600" y="16602"/>
                        <a:pt x="21424" y="14509"/>
                      </a:cubicBezTo>
                      <a:cubicBezTo>
                        <a:pt x="21265" y="12646"/>
                        <a:pt x="20457" y="10925"/>
                        <a:pt x="19147" y="9659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29" name="iṩḷîḓe">
                  <a:extLst>
                    <a:ext uri="{FF2B5EF4-FFF2-40B4-BE49-F238E27FC236}">
                      <a16:creationId xmlns:a16="http://schemas.microsoft.com/office/drawing/2014/main" id="{E8E0CA66-0304-4B62-898C-6C1266DC790C}"/>
                    </a:ext>
                  </a:extLst>
                </p:cNvPr>
                <p:cNvSpPr/>
                <p:nvPr/>
              </p:nvSpPr>
              <p:spPr>
                <a:xfrm flipH="1">
                  <a:off x="3004180" y="3800909"/>
                  <a:ext cx="148781" cy="14194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452" h="20805" extrusionOk="0">
                      <a:moveTo>
                        <a:pt x="11175" y="1901"/>
                      </a:moveTo>
                      <a:cubicBezTo>
                        <a:pt x="8283" y="-795"/>
                        <a:pt x="3771" y="-601"/>
                        <a:pt x="1116" y="2341"/>
                      </a:cubicBezTo>
                      <a:lnTo>
                        <a:pt x="317" y="3229"/>
                      </a:lnTo>
                      <a:cubicBezTo>
                        <a:pt x="199" y="3357"/>
                        <a:pt x="98" y="3497"/>
                        <a:pt x="0" y="3640"/>
                      </a:cubicBezTo>
                      <a:lnTo>
                        <a:pt x="18403" y="20805"/>
                      </a:lnTo>
                      <a:cubicBezTo>
                        <a:pt x="18534" y="20694"/>
                        <a:pt x="18661" y="20578"/>
                        <a:pt x="18778" y="20449"/>
                      </a:cubicBezTo>
                      <a:lnTo>
                        <a:pt x="19581" y="19560"/>
                      </a:lnTo>
                      <a:cubicBezTo>
                        <a:pt x="20928" y="18065"/>
                        <a:pt x="21600" y="16048"/>
                        <a:pt x="21424" y="14028"/>
                      </a:cubicBezTo>
                      <a:cubicBezTo>
                        <a:pt x="21268" y="12225"/>
                        <a:pt x="20457" y="10559"/>
                        <a:pt x="19147" y="9335"/>
                      </a:cubicBezTo>
                      <a:cubicBezTo>
                        <a:pt x="19147" y="9335"/>
                        <a:pt x="11175" y="1901"/>
                        <a:pt x="11175" y="1901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30" name="íṣļîḍe">
                  <a:extLst>
                    <a:ext uri="{FF2B5EF4-FFF2-40B4-BE49-F238E27FC236}">
                      <a16:creationId xmlns:a16="http://schemas.microsoft.com/office/drawing/2014/main" id="{387229C1-31E4-4ECB-9B0F-8A46AFF1D611}"/>
                    </a:ext>
                  </a:extLst>
                </p:cNvPr>
                <p:cNvSpPr/>
                <p:nvPr/>
              </p:nvSpPr>
              <p:spPr>
                <a:xfrm flipH="1">
                  <a:off x="2782802" y="3854622"/>
                  <a:ext cx="382096" cy="35885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91" h="20282" extrusionOk="0">
                      <a:moveTo>
                        <a:pt x="15032" y="14959"/>
                      </a:moveTo>
                      <a:cubicBezTo>
                        <a:pt x="13922" y="14629"/>
                        <a:pt x="11514" y="13739"/>
                        <a:pt x="9364" y="11767"/>
                      </a:cubicBezTo>
                      <a:cubicBezTo>
                        <a:pt x="7199" y="9779"/>
                        <a:pt x="5970" y="7304"/>
                        <a:pt x="5484" y="6168"/>
                      </a:cubicBezTo>
                      <a:cubicBezTo>
                        <a:pt x="5923" y="6014"/>
                        <a:pt x="6327" y="5784"/>
                        <a:pt x="6687" y="5486"/>
                      </a:cubicBezTo>
                      <a:lnTo>
                        <a:pt x="709" y="0"/>
                      </a:lnTo>
                      <a:cubicBezTo>
                        <a:pt x="304" y="584"/>
                        <a:pt x="63" y="1263"/>
                        <a:pt x="14" y="1990"/>
                      </a:cubicBezTo>
                      <a:cubicBezTo>
                        <a:pt x="14" y="1991"/>
                        <a:pt x="13" y="1993"/>
                        <a:pt x="13" y="1995"/>
                      </a:cubicBezTo>
                      <a:cubicBezTo>
                        <a:pt x="13" y="1995"/>
                        <a:pt x="11" y="2024"/>
                        <a:pt x="6" y="2086"/>
                      </a:cubicBezTo>
                      <a:lnTo>
                        <a:pt x="5" y="2102"/>
                      </a:lnTo>
                      <a:cubicBezTo>
                        <a:pt x="-2" y="2282"/>
                        <a:pt x="-9" y="2667"/>
                        <a:pt x="40" y="3220"/>
                      </a:cubicBezTo>
                      <a:cubicBezTo>
                        <a:pt x="251" y="5611"/>
                        <a:pt x="1401" y="10351"/>
                        <a:pt x="6711" y="15224"/>
                      </a:cubicBezTo>
                      <a:cubicBezTo>
                        <a:pt x="13657" y="21600"/>
                        <a:pt x="19069" y="20217"/>
                        <a:pt x="19703" y="20024"/>
                      </a:cubicBezTo>
                      <a:cubicBezTo>
                        <a:pt x="20409" y="19907"/>
                        <a:pt x="21051" y="19612"/>
                        <a:pt x="21591" y="19166"/>
                      </a:cubicBezTo>
                      <a:lnTo>
                        <a:pt x="15613" y="13680"/>
                      </a:lnTo>
                      <a:cubicBezTo>
                        <a:pt x="15343" y="14069"/>
                        <a:pt x="15145" y="14501"/>
                        <a:pt x="15032" y="14959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31" name="íśḻiḑé">
                  <a:extLst>
                    <a:ext uri="{FF2B5EF4-FFF2-40B4-BE49-F238E27FC236}">
                      <a16:creationId xmlns:a16="http://schemas.microsoft.com/office/drawing/2014/main" id="{C77E0753-4E6F-40E3-AE76-6765712DC789}"/>
                    </a:ext>
                  </a:extLst>
                </p:cNvPr>
                <p:cNvSpPr/>
                <p:nvPr/>
              </p:nvSpPr>
              <p:spPr>
                <a:xfrm flipH="1">
                  <a:off x="3131239" y="2702785"/>
                  <a:ext cx="403679" cy="49950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138" h="21600" extrusionOk="0">
                      <a:moveTo>
                        <a:pt x="3546" y="21551"/>
                      </a:moveTo>
                      <a:cubicBezTo>
                        <a:pt x="3632" y="21583"/>
                        <a:pt x="3727" y="21600"/>
                        <a:pt x="3822" y="21600"/>
                      </a:cubicBezTo>
                      <a:cubicBezTo>
                        <a:pt x="3903" y="21600"/>
                        <a:pt x="3984" y="21588"/>
                        <a:pt x="4062" y="21563"/>
                      </a:cubicBezTo>
                      <a:lnTo>
                        <a:pt x="19292" y="16768"/>
                      </a:lnTo>
                      <a:cubicBezTo>
                        <a:pt x="20769" y="16303"/>
                        <a:pt x="21512" y="14932"/>
                        <a:pt x="20950" y="13712"/>
                      </a:cubicBezTo>
                      <a:lnTo>
                        <a:pt x="19366" y="10280"/>
                      </a:lnTo>
                      <a:cubicBezTo>
                        <a:pt x="18945" y="9368"/>
                        <a:pt x="17868" y="8755"/>
                        <a:pt x="16686" y="8755"/>
                      </a:cubicBezTo>
                      <a:cubicBezTo>
                        <a:pt x="16645" y="8755"/>
                        <a:pt x="16607" y="8758"/>
                        <a:pt x="16567" y="8759"/>
                      </a:cubicBezTo>
                      <a:lnTo>
                        <a:pt x="16567" y="1114"/>
                      </a:lnTo>
                      <a:lnTo>
                        <a:pt x="18594" y="1114"/>
                      </a:lnTo>
                      <a:cubicBezTo>
                        <a:pt x="18967" y="1114"/>
                        <a:pt x="19268" y="865"/>
                        <a:pt x="19268" y="557"/>
                      </a:cubicBezTo>
                      <a:cubicBezTo>
                        <a:pt x="19268" y="249"/>
                        <a:pt x="18967" y="0"/>
                        <a:pt x="18594" y="0"/>
                      </a:cubicBezTo>
                      <a:lnTo>
                        <a:pt x="15892" y="0"/>
                      </a:lnTo>
                      <a:cubicBezTo>
                        <a:pt x="15520" y="0"/>
                        <a:pt x="15218" y="249"/>
                        <a:pt x="15218" y="557"/>
                      </a:cubicBezTo>
                      <a:lnTo>
                        <a:pt x="15218" y="9051"/>
                      </a:lnTo>
                      <a:lnTo>
                        <a:pt x="13946" y="9452"/>
                      </a:lnTo>
                      <a:lnTo>
                        <a:pt x="13946" y="557"/>
                      </a:lnTo>
                      <a:cubicBezTo>
                        <a:pt x="13946" y="249"/>
                        <a:pt x="13644" y="0"/>
                        <a:pt x="13271" y="0"/>
                      </a:cubicBezTo>
                      <a:lnTo>
                        <a:pt x="10569" y="0"/>
                      </a:lnTo>
                      <a:cubicBezTo>
                        <a:pt x="10197" y="0"/>
                        <a:pt x="9894" y="249"/>
                        <a:pt x="9894" y="557"/>
                      </a:cubicBezTo>
                      <a:cubicBezTo>
                        <a:pt x="9894" y="865"/>
                        <a:pt x="10197" y="1114"/>
                        <a:pt x="10569" y="1114"/>
                      </a:cubicBezTo>
                      <a:lnTo>
                        <a:pt x="12597" y="1114"/>
                      </a:lnTo>
                      <a:lnTo>
                        <a:pt x="12597" y="9877"/>
                      </a:lnTo>
                      <a:lnTo>
                        <a:pt x="434" y="13706"/>
                      </a:lnTo>
                      <a:cubicBezTo>
                        <a:pt x="87" y="13815"/>
                        <a:pt x="-88" y="14137"/>
                        <a:pt x="44" y="14424"/>
                      </a:cubicBezTo>
                      <a:lnTo>
                        <a:pt x="3191" y="21241"/>
                      </a:lnTo>
                      <a:cubicBezTo>
                        <a:pt x="3255" y="21379"/>
                        <a:pt x="3383" y="21490"/>
                        <a:pt x="3546" y="21551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32" name="ïSḷîḋé">
                  <a:extLst>
                    <a:ext uri="{FF2B5EF4-FFF2-40B4-BE49-F238E27FC236}">
                      <a16:creationId xmlns:a16="http://schemas.microsoft.com/office/drawing/2014/main" id="{D1B11875-F333-48E0-9CDF-7526CEECB49D}"/>
                    </a:ext>
                  </a:extLst>
                </p:cNvPr>
                <p:cNvSpPr/>
                <p:nvPr/>
              </p:nvSpPr>
              <p:spPr>
                <a:xfrm flipH="1">
                  <a:off x="3508829" y="3084741"/>
                  <a:ext cx="121579" cy="14351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10" h="21580" extrusionOk="0">
                      <a:moveTo>
                        <a:pt x="7913" y="20332"/>
                      </a:moveTo>
                      <a:cubicBezTo>
                        <a:pt x="8181" y="20932"/>
                        <a:pt x="8776" y="21379"/>
                        <a:pt x="9506" y="21527"/>
                      </a:cubicBezTo>
                      <a:cubicBezTo>
                        <a:pt x="9677" y="21562"/>
                        <a:pt x="9851" y="21580"/>
                        <a:pt x="10026" y="21580"/>
                      </a:cubicBezTo>
                      <a:cubicBezTo>
                        <a:pt x="10582" y="21580"/>
                        <a:pt x="11127" y="21401"/>
                        <a:pt x="11551" y="21071"/>
                      </a:cubicBezTo>
                      <a:lnTo>
                        <a:pt x="20577" y="13988"/>
                      </a:lnTo>
                      <a:cubicBezTo>
                        <a:pt x="21255" y="13456"/>
                        <a:pt x="21488" y="12622"/>
                        <a:pt x="21171" y="11882"/>
                      </a:cubicBezTo>
                      <a:lnTo>
                        <a:pt x="16565" y="1262"/>
                      </a:lnTo>
                      <a:cubicBezTo>
                        <a:pt x="16229" y="490"/>
                        <a:pt x="15357" y="-20"/>
                        <a:pt x="14403" y="1"/>
                      </a:cubicBezTo>
                      <a:lnTo>
                        <a:pt x="2208" y="228"/>
                      </a:lnTo>
                      <a:cubicBezTo>
                        <a:pt x="1474" y="242"/>
                        <a:pt x="793" y="560"/>
                        <a:pt x="386" y="1083"/>
                      </a:cubicBezTo>
                      <a:cubicBezTo>
                        <a:pt x="-24" y="1606"/>
                        <a:pt x="-112" y="2266"/>
                        <a:pt x="146" y="2855"/>
                      </a:cubicBezTo>
                      <a:cubicBezTo>
                        <a:pt x="146" y="2855"/>
                        <a:pt x="7913" y="20332"/>
                        <a:pt x="7913" y="20332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33" name="ïşľiḍè">
                  <a:extLst>
                    <a:ext uri="{FF2B5EF4-FFF2-40B4-BE49-F238E27FC236}">
                      <a16:creationId xmlns:a16="http://schemas.microsoft.com/office/drawing/2014/main" id="{E84A6AFE-E8BD-4B7D-A927-DA9EF76636D7}"/>
                    </a:ext>
                  </a:extLst>
                </p:cNvPr>
                <p:cNvSpPr/>
                <p:nvPr/>
              </p:nvSpPr>
              <p:spPr>
                <a:xfrm flipH="1">
                  <a:off x="3394359" y="2398413"/>
                  <a:ext cx="361378" cy="37070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5294" y="14343"/>
                      </a:moveTo>
                      <a:lnTo>
                        <a:pt x="6592" y="9716"/>
                      </a:lnTo>
                      <a:lnTo>
                        <a:pt x="15008" y="9716"/>
                      </a:lnTo>
                      <a:lnTo>
                        <a:pt x="16305" y="14343"/>
                      </a:lnTo>
                      <a:cubicBezTo>
                        <a:pt x="16305" y="14343"/>
                        <a:pt x="5294" y="14343"/>
                        <a:pt x="5294" y="14343"/>
                      </a:cubicBezTo>
                      <a:close/>
                      <a:moveTo>
                        <a:pt x="9009" y="1100"/>
                      </a:moveTo>
                      <a:lnTo>
                        <a:pt x="12591" y="1100"/>
                      </a:lnTo>
                      <a:lnTo>
                        <a:pt x="13572" y="4599"/>
                      </a:lnTo>
                      <a:lnTo>
                        <a:pt x="8028" y="4599"/>
                      </a:lnTo>
                      <a:cubicBezTo>
                        <a:pt x="8028" y="4599"/>
                        <a:pt x="9009" y="1100"/>
                        <a:pt x="9009" y="1100"/>
                      </a:cubicBezTo>
                      <a:close/>
                      <a:moveTo>
                        <a:pt x="21600" y="21050"/>
                      </a:moveTo>
                      <a:lnTo>
                        <a:pt x="21600" y="19528"/>
                      </a:lnTo>
                      <a:cubicBezTo>
                        <a:pt x="21600" y="19224"/>
                        <a:pt x="21347" y="18978"/>
                        <a:pt x="21036" y="18978"/>
                      </a:cubicBezTo>
                      <a:lnTo>
                        <a:pt x="18777" y="18978"/>
                      </a:lnTo>
                      <a:lnTo>
                        <a:pt x="15997" y="9067"/>
                      </a:lnTo>
                      <a:cubicBezTo>
                        <a:pt x="15994" y="9055"/>
                        <a:pt x="15988" y="9044"/>
                        <a:pt x="15987" y="9032"/>
                      </a:cubicBezTo>
                      <a:lnTo>
                        <a:pt x="14890" y="5126"/>
                      </a:lnTo>
                      <a:lnTo>
                        <a:pt x="14857" y="5004"/>
                      </a:lnTo>
                      <a:lnTo>
                        <a:pt x="13566" y="405"/>
                      </a:lnTo>
                      <a:cubicBezTo>
                        <a:pt x="13498" y="166"/>
                        <a:pt x="13277" y="0"/>
                        <a:pt x="13021" y="0"/>
                      </a:cubicBezTo>
                      <a:lnTo>
                        <a:pt x="8577" y="0"/>
                      </a:lnTo>
                      <a:cubicBezTo>
                        <a:pt x="8323" y="0"/>
                        <a:pt x="8101" y="166"/>
                        <a:pt x="8033" y="405"/>
                      </a:cubicBezTo>
                      <a:lnTo>
                        <a:pt x="5803" y="8357"/>
                      </a:lnTo>
                      <a:lnTo>
                        <a:pt x="5617" y="9021"/>
                      </a:lnTo>
                      <a:lnTo>
                        <a:pt x="2823" y="18978"/>
                      </a:lnTo>
                      <a:lnTo>
                        <a:pt x="564" y="18978"/>
                      </a:lnTo>
                      <a:cubicBezTo>
                        <a:pt x="252" y="18978"/>
                        <a:pt x="0" y="19224"/>
                        <a:pt x="0" y="19528"/>
                      </a:cubicBezTo>
                      <a:lnTo>
                        <a:pt x="0" y="21050"/>
                      </a:lnTo>
                      <a:cubicBezTo>
                        <a:pt x="0" y="21354"/>
                        <a:pt x="252" y="21600"/>
                        <a:pt x="564" y="21600"/>
                      </a:cubicBezTo>
                      <a:lnTo>
                        <a:pt x="21036" y="21600"/>
                      </a:lnTo>
                      <a:cubicBezTo>
                        <a:pt x="21347" y="21600"/>
                        <a:pt x="21600" y="21354"/>
                        <a:pt x="21600" y="2105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34" name="î$ľïḓe">
                  <a:extLst>
                    <a:ext uri="{FF2B5EF4-FFF2-40B4-BE49-F238E27FC236}">
                      <a16:creationId xmlns:a16="http://schemas.microsoft.com/office/drawing/2014/main" id="{0766A56B-05C9-4F59-BAE4-B28684A14C85}"/>
                    </a:ext>
                  </a:extLst>
                </p:cNvPr>
                <p:cNvSpPr/>
                <p:nvPr/>
              </p:nvSpPr>
              <p:spPr>
                <a:xfrm>
                  <a:off x="3214729" y="3287655"/>
                  <a:ext cx="391807" cy="52627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976" y="16199"/>
                      </a:moveTo>
                      <a:lnTo>
                        <a:pt x="10817" y="16199"/>
                      </a:lnTo>
                      <a:cubicBezTo>
                        <a:pt x="9823" y="16199"/>
                        <a:pt x="8976" y="15940"/>
                        <a:pt x="8280" y="15419"/>
                      </a:cubicBezTo>
                      <a:cubicBezTo>
                        <a:pt x="7581" y="14898"/>
                        <a:pt x="7237" y="14268"/>
                        <a:pt x="7237" y="13524"/>
                      </a:cubicBezTo>
                      <a:lnTo>
                        <a:pt x="7237" y="11626"/>
                      </a:lnTo>
                      <a:lnTo>
                        <a:pt x="17437" y="11626"/>
                      </a:lnTo>
                      <a:cubicBezTo>
                        <a:pt x="18358" y="11626"/>
                        <a:pt x="19151" y="11381"/>
                        <a:pt x="19809" y="10892"/>
                      </a:cubicBezTo>
                      <a:cubicBezTo>
                        <a:pt x="20466" y="10398"/>
                        <a:pt x="20797" y="9810"/>
                        <a:pt x="20797" y="9123"/>
                      </a:cubicBezTo>
                      <a:cubicBezTo>
                        <a:pt x="20797" y="8435"/>
                        <a:pt x="20466" y="7847"/>
                        <a:pt x="19807" y="7356"/>
                      </a:cubicBezTo>
                      <a:cubicBezTo>
                        <a:pt x="19146" y="6867"/>
                        <a:pt x="18351" y="6620"/>
                        <a:pt x="17427" y="6620"/>
                      </a:cubicBezTo>
                      <a:lnTo>
                        <a:pt x="7237" y="6620"/>
                      </a:lnTo>
                      <a:lnTo>
                        <a:pt x="7237" y="2702"/>
                      </a:lnTo>
                      <a:cubicBezTo>
                        <a:pt x="7237" y="1959"/>
                        <a:pt x="6881" y="1325"/>
                        <a:pt x="6176" y="796"/>
                      </a:cubicBezTo>
                      <a:cubicBezTo>
                        <a:pt x="5474" y="266"/>
                        <a:pt x="4623" y="0"/>
                        <a:pt x="3638" y="0"/>
                      </a:cubicBezTo>
                      <a:cubicBezTo>
                        <a:pt x="2622" y="0"/>
                        <a:pt x="1761" y="261"/>
                        <a:pt x="1057" y="781"/>
                      </a:cubicBezTo>
                      <a:cubicBezTo>
                        <a:pt x="352" y="1300"/>
                        <a:pt x="0" y="1941"/>
                        <a:pt x="0" y="2704"/>
                      </a:cubicBezTo>
                      <a:lnTo>
                        <a:pt x="0" y="13525"/>
                      </a:lnTo>
                      <a:cubicBezTo>
                        <a:pt x="0" y="15751"/>
                        <a:pt x="1057" y="17652"/>
                        <a:pt x="3171" y="19231"/>
                      </a:cubicBezTo>
                      <a:cubicBezTo>
                        <a:pt x="5288" y="20811"/>
                        <a:pt x="7840" y="21600"/>
                        <a:pt x="10822" y="21600"/>
                      </a:cubicBezTo>
                      <a:lnTo>
                        <a:pt x="17978" y="21600"/>
                      </a:lnTo>
                      <a:cubicBezTo>
                        <a:pt x="18972" y="21600"/>
                        <a:pt x="19826" y="21334"/>
                        <a:pt x="20535" y="20804"/>
                      </a:cubicBezTo>
                      <a:cubicBezTo>
                        <a:pt x="21246" y="20277"/>
                        <a:pt x="21600" y="19641"/>
                        <a:pt x="21600" y="18901"/>
                      </a:cubicBezTo>
                      <a:cubicBezTo>
                        <a:pt x="21600" y="18159"/>
                        <a:pt x="21246" y="17525"/>
                        <a:pt x="20535" y="16994"/>
                      </a:cubicBezTo>
                      <a:cubicBezTo>
                        <a:pt x="19826" y="16466"/>
                        <a:pt x="18970" y="16199"/>
                        <a:pt x="17976" y="16199"/>
                      </a:cubicBezTo>
                      <a:close/>
                    </a:path>
                  </a:pathLst>
                </a:custGeom>
                <a:solidFill>
                  <a:schemeClr val="tx2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35" name="ïṧḷïdê">
                  <a:extLst>
                    <a:ext uri="{FF2B5EF4-FFF2-40B4-BE49-F238E27FC236}">
                      <a16:creationId xmlns:a16="http://schemas.microsoft.com/office/drawing/2014/main" id="{11571E7F-074B-49F6-B3A0-6ED2653EB440}"/>
                    </a:ext>
                  </a:extLst>
                </p:cNvPr>
                <p:cNvSpPr/>
                <p:nvPr/>
              </p:nvSpPr>
              <p:spPr>
                <a:xfrm flipH="1">
                  <a:off x="2826158" y="2111971"/>
                  <a:ext cx="535782" cy="53578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0"/>
                      </a:moveTo>
                      <a:cubicBezTo>
                        <a:pt x="4844" y="0"/>
                        <a:pt x="0" y="4847"/>
                        <a:pt x="0" y="10800"/>
                      </a:cubicBezTo>
                      <a:cubicBezTo>
                        <a:pt x="0" y="16755"/>
                        <a:pt x="4844" y="21600"/>
                        <a:pt x="10800" y="21600"/>
                      </a:cubicBezTo>
                      <a:cubicBezTo>
                        <a:pt x="16753" y="21600"/>
                        <a:pt x="21600" y="16755"/>
                        <a:pt x="21600" y="10800"/>
                      </a:cubicBezTo>
                      <a:cubicBezTo>
                        <a:pt x="21600" y="4847"/>
                        <a:pt x="16753" y="0"/>
                        <a:pt x="10800" y="0"/>
                      </a:cubicBezTo>
                      <a:close/>
                      <a:moveTo>
                        <a:pt x="13072" y="6760"/>
                      </a:moveTo>
                      <a:lnTo>
                        <a:pt x="17208" y="6760"/>
                      </a:lnTo>
                      <a:lnTo>
                        <a:pt x="17208" y="14704"/>
                      </a:lnTo>
                      <a:lnTo>
                        <a:pt x="13072" y="14704"/>
                      </a:lnTo>
                      <a:cubicBezTo>
                        <a:pt x="13072" y="14704"/>
                        <a:pt x="10544" y="14786"/>
                        <a:pt x="10544" y="12360"/>
                      </a:cubicBezTo>
                      <a:cubicBezTo>
                        <a:pt x="10544" y="12360"/>
                        <a:pt x="10435" y="10384"/>
                        <a:pt x="12032" y="10384"/>
                      </a:cubicBezTo>
                      <a:cubicBezTo>
                        <a:pt x="12032" y="10384"/>
                        <a:pt x="10816" y="10293"/>
                        <a:pt x="10816" y="8872"/>
                      </a:cubicBezTo>
                      <a:cubicBezTo>
                        <a:pt x="10816" y="7449"/>
                        <a:pt x="11814" y="6760"/>
                        <a:pt x="13072" y="6760"/>
                      </a:cubicBezTo>
                      <a:close/>
                      <a:moveTo>
                        <a:pt x="5608" y="7224"/>
                      </a:moveTo>
                      <a:lnTo>
                        <a:pt x="8888" y="7224"/>
                      </a:lnTo>
                      <a:cubicBezTo>
                        <a:pt x="8888" y="7224"/>
                        <a:pt x="8888" y="8208"/>
                        <a:pt x="8888" y="8208"/>
                      </a:cubicBezTo>
                      <a:lnTo>
                        <a:pt x="5608" y="8208"/>
                      </a:lnTo>
                      <a:lnTo>
                        <a:pt x="5608" y="7224"/>
                      </a:lnTo>
                      <a:close/>
                      <a:moveTo>
                        <a:pt x="13032" y="8176"/>
                      </a:moveTo>
                      <a:cubicBezTo>
                        <a:pt x="13032" y="8176"/>
                        <a:pt x="12464" y="8182"/>
                        <a:pt x="12464" y="9008"/>
                      </a:cubicBezTo>
                      <a:cubicBezTo>
                        <a:pt x="12464" y="9836"/>
                        <a:pt x="12794" y="9952"/>
                        <a:pt x="13168" y="9952"/>
                      </a:cubicBezTo>
                      <a:lnTo>
                        <a:pt x="15344" y="9952"/>
                      </a:lnTo>
                      <a:lnTo>
                        <a:pt x="15344" y="8176"/>
                      </a:lnTo>
                      <a:lnTo>
                        <a:pt x="13032" y="8176"/>
                      </a:lnTo>
                      <a:close/>
                      <a:moveTo>
                        <a:pt x="7176" y="8776"/>
                      </a:moveTo>
                      <a:cubicBezTo>
                        <a:pt x="10232" y="8776"/>
                        <a:pt x="10232" y="11832"/>
                        <a:pt x="10232" y="11832"/>
                      </a:cubicBezTo>
                      <a:cubicBezTo>
                        <a:pt x="10232" y="11832"/>
                        <a:pt x="10439" y="14872"/>
                        <a:pt x="7176" y="14872"/>
                      </a:cubicBezTo>
                      <a:cubicBezTo>
                        <a:pt x="7176" y="14872"/>
                        <a:pt x="4456" y="15028"/>
                        <a:pt x="4456" y="12760"/>
                      </a:cubicBezTo>
                      <a:lnTo>
                        <a:pt x="5856" y="12760"/>
                      </a:lnTo>
                      <a:cubicBezTo>
                        <a:pt x="5856" y="12760"/>
                        <a:pt x="5807" y="13616"/>
                        <a:pt x="7128" y="13616"/>
                      </a:cubicBezTo>
                      <a:cubicBezTo>
                        <a:pt x="7128" y="13616"/>
                        <a:pt x="8528" y="13708"/>
                        <a:pt x="8528" y="12232"/>
                      </a:cubicBezTo>
                      <a:lnTo>
                        <a:pt x="4408" y="12232"/>
                      </a:lnTo>
                      <a:cubicBezTo>
                        <a:pt x="4408" y="12232"/>
                        <a:pt x="3959" y="8776"/>
                        <a:pt x="7176" y="8776"/>
                      </a:cubicBezTo>
                      <a:close/>
                      <a:moveTo>
                        <a:pt x="6968" y="9864"/>
                      </a:moveTo>
                      <a:cubicBezTo>
                        <a:pt x="5738" y="9864"/>
                        <a:pt x="5752" y="11088"/>
                        <a:pt x="5752" y="11088"/>
                      </a:cubicBezTo>
                      <a:lnTo>
                        <a:pt x="8360" y="11088"/>
                      </a:lnTo>
                      <a:cubicBezTo>
                        <a:pt x="8360" y="11088"/>
                        <a:pt x="8193" y="9864"/>
                        <a:pt x="6968" y="9864"/>
                      </a:cubicBezTo>
                      <a:close/>
                      <a:moveTo>
                        <a:pt x="13032" y="11304"/>
                      </a:moveTo>
                      <a:cubicBezTo>
                        <a:pt x="13032" y="11304"/>
                        <a:pt x="12192" y="11298"/>
                        <a:pt x="12192" y="12400"/>
                      </a:cubicBezTo>
                      <a:cubicBezTo>
                        <a:pt x="12192" y="13330"/>
                        <a:pt x="12814" y="13422"/>
                        <a:pt x="13144" y="13432"/>
                      </a:cubicBezTo>
                      <a:cubicBezTo>
                        <a:pt x="13203" y="13432"/>
                        <a:pt x="13255" y="13432"/>
                        <a:pt x="13288" y="13432"/>
                      </a:cubicBezTo>
                      <a:lnTo>
                        <a:pt x="15344" y="13432"/>
                      </a:lnTo>
                      <a:lnTo>
                        <a:pt x="15344" y="11304"/>
                      </a:lnTo>
                      <a:lnTo>
                        <a:pt x="13032" y="11304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36" name="î$líḑé">
                  <a:extLst>
                    <a:ext uri="{FF2B5EF4-FFF2-40B4-BE49-F238E27FC236}">
                      <a16:creationId xmlns:a16="http://schemas.microsoft.com/office/drawing/2014/main" id="{2511DA5C-56E1-4CEA-91C8-88B42ECE992C}"/>
                    </a:ext>
                  </a:extLst>
                </p:cNvPr>
                <p:cNvSpPr/>
                <p:nvPr/>
              </p:nvSpPr>
              <p:spPr>
                <a:xfrm flipH="1">
                  <a:off x="3103772" y="798910"/>
                  <a:ext cx="478830" cy="47902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4" y="0"/>
                      </a:moveTo>
                      <a:cubicBezTo>
                        <a:pt x="4848" y="0"/>
                        <a:pt x="0" y="4846"/>
                        <a:pt x="0" y="10800"/>
                      </a:cubicBezTo>
                      <a:cubicBezTo>
                        <a:pt x="0" y="16754"/>
                        <a:pt x="4848" y="21600"/>
                        <a:pt x="10804" y="21600"/>
                      </a:cubicBezTo>
                      <a:cubicBezTo>
                        <a:pt x="16761" y="21600"/>
                        <a:pt x="21600" y="16754"/>
                        <a:pt x="21600" y="10800"/>
                      </a:cubicBezTo>
                      <a:cubicBezTo>
                        <a:pt x="21600" y="4846"/>
                        <a:pt x="16761" y="0"/>
                        <a:pt x="10804" y="0"/>
                      </a:cubicBezTo>
                      <a:close/>
                      <a:moveTo>
                        <a:pt x="10804" y="993"/>
                      </a:moveTo>
                      <a:cubicBezTo>
                        <a:pt x="16215" y="993"/>
                        <a:pt x="20615" y="5392"/>
                        <a:pt x="20615" y="10800"/>
                      </a:cubicBezTo>
                      <a:cubicBezTo>
                        <a:pt x="20615" y="16208"/>
                        <a:pt x="16215" y="20607"/>
                        <a:pt x="10804" y="20607"/>
                      </a:cubicBezTo>
                      <a:cubicBezTo>
                        <a:pt x="5394" y="20607"/>
                        <a:pt x="985" y="16208"/>
                        <a:pt x="985" y="10800"/>
                      </a:cubicBezTo>
                      <a:cubicBezTo>
                        <a:pt x="985" y="5392"/>
                        <a:pt x="5394" y="993"/>
                        <a:pt x="10804" y="993"/>
                      </a:cubicBezTo>
                      <a:close/>
                      <a:moveTo>
                        <a:pt x="10903" y="1888"/>
                      </a:moveTo>
                      <a:cubicBezTo>
                        <a:pt x="5893" y="1888"/>
                        <a:pt x="1817" y="5963"/>
                        <a:pt x="1817" y="10970"/>
                      </a:cubicBezTo>
                      <a:cubicBezTo>
                        <a:pt x="1817" y="15977"/>
                        <a:pt x="5893" y="20043"/>
                        <a:pt x="10903" y="20043"/>
                      </a:cubicBezTo>
                      <a:cubicBezTo>
                        <a:pt x="15912" y="20043"/>
                        <a:pt x="19989" y="15977"/>
                        <a:pt x="19989" y="10970"/>
                      </a:cubicBezTo>
                      <a:cubicBezTo>
                        <a:pt x="19989" y="5963"/>
                        <a:pt x="15912" y="1888"/>
                        <a:pt x="10903" y="1888"/>
                      </a:cubicBezTo>
                      <a:close/>
                      <a:moveTo>
                        <a:pt x="9820" y="2854"/>
                      </a:moveTo>
                      <a:cubicBezTo>
                        <a:pt x="10092" y="2854"/>
                        <a:pt x="10312" y="3073"/>
                        <a:pt x="10312" y="3346"/>
                      </a:cubicBezTo>
                      <a:lnTo>
                        <a:pt x="10312" y="4000"/>
                      </a:lnTo>
                      <a:lnTo>
                        <a:pt x="11386" y="2989"/>
                      </a:lnTo>
                      <a:cubicBezTo>
                        <a:pt x="11530" y="2853"/>
                        <a:pt x="11742" y="2811"/>
                        <a:pt x="11923" y="2890"/>
                      </a:cubicBezTo>
                      <a:cubicBezTo>
                        <a:pt x="12105" y="2968"/>
                        <a:pt x="12219" y="3149"/>
                        <a:pt x="12219" y="3346"/>
                      </a:cubicBezTo>
                      <a:cubicBezTo>
                        <a:pt x="12219" y="3346"/>
                        <a:pt x="12219" y="5145"/>
                        <a:pt x="12219" y="5145"/>
                      </a:cubicBezTo>
                      <a:cubicBezTo>
                        <a:pt x="12219" y="5418"/>
                        <a:pt x="12000" y="5637"/>
                        <a:pt x="11726" y="5637"/>
                      </a:cubicBezTo>
                      <a:cubicBezTo>
                        <a:pt x="11453" y="5637"/>
                        <a:pt x="11225" y="5418"/>
                        <a:pt x="11225" y="5145"/>
                      </a:cubicBezTo>
                      <a:lnTo>
                        <a:pt x="11225" y="4492"/>
                      </a:lnTo>
                      <a:lnTo>
                        <a:pt x="10160" y="5503"/>
                      </a:lnTo>
                      <a:cubicBezTo>
                        <a:pt x="10066" y="5591"/>
                        <a:pt x="9944" y="5637"/>
                        <a:pt x="9820" y="5637"/>
                      </a:cubicBezTo>
                      <a:cubicBezTo>
                        <a:pt x="9754" y="5637"/>
                        <a:pt x="9686" y="5629"/>
                        <a:pt x="9623" y="5601"/>
                      </a:cubicBezTo>
                      <a:cubicBezTo>
                        <a:pt x="9442" y="5523"/>
                        <a:pt x="9319" y="5343"/>
                        <a:pt x="9319" y="5145"/>
                      </a:cubicBezTo>
                      <a:lnTo>
                        <a:pt x="9319" y="3346"/>
                      </a:lnTo>
                      <a:cubicBezTo>
                        <a:pt x="9318" y="3073"/>
                        <a:pt x="9545" y="2854"/>
                        <a:pt x="9820" y="2854"/>
                      </a:cubicBezTo>
                      <a:close/>
                      <a:moveTo>
                        <a:pt x="5899" y="5512"/>
                      </a:moveTo>
                      <a:cubicBezTo>
                        <a:pt x="6014" y="5503"/>
                        <a:pt x="6132" y="5529"/>
                        <a:pt x="6230" y="5601"/>
                      </a:cubicBezTo>
                      <a:lnTo>
                        <a:pt x="11950" y="9816"/>
                      </a:lnTo>
                      <a:cubicBezTo>
                        <a:pt x="11956" y="9820"/>
                        <a:pt x="11954" y="9829"/>
                        <a:pt x="11959" y="9834"/>
                      </a:cubicBezTo>
                      <a:cubicBezTo>
                        <a:pt x="11967" y="9839"/>
                        <a:pt x="11979" y="9846"/>
                        <a:pt x="11986" y="9852"/>
                      </a:cubicBezTo>
                      <a:cubicBezTo>
                        <a:pt x="11994" y="9857"/>
                        <a:pt x="11997" y="9863"/>
                        <a:pt x="12004" y="9869"/>
                      </a:cubicBezTo>
                      <a:cubicBezTo>
                        <a:pt x="12010" y="9876"/>
                        <a:pt x="12016" y="9881"/>
                        <a:pt x="12022" y="9887"/>
                      </a:cubicBezTo>
                      <a:cubicBezTo>
                        <a:pt x="12028" y="9894"/>
                        <a:pt x="12034" y="9898"/>
                        <a:pt x="12040" y="9905"/>
                      </a:cubicBezTo>
                      <a:cubicBezTo>
                        <a:pt x="12044" y="9911"/>
                        <a:pt x="12046" y="9918"/>
                        <a:pt x="12049" y="9923"/>
                      </a:cubicBezTo>
                      <a:lnTo>
                        <a:pt x="16274" y="15641"/>
                      </a:lnTo>
                      <a:cubicBezTo>
                        <a:pt x="16419" y="15838"/>
                        <a:pt x="16394" y="16112"/>
                        <a:pt x="16220" y="16285"/>
                      </a:cubicBezTo>
                      <a:cubicBezTo>
                        <a:pt x="16124" y="16381"/>
                        <a:pt x="15998" y="16428"/>
                        <a:pt x="15871" y="16428"/>
                      </a:cubicBezTo>
                      <a:cubicBezTo>
                        <a:pt x="15768" y="16428"/>
                        <a:pt x="15664" y="16395"/>
                        <a:pt x="15576" y="16330"/>
                      </a:cubicBezTo>
                      <a:lnTo>
                        <a:pt x="9856" y="12115"/>
                      </a:lnTo>
                      <a:cubicBezTo>
                        <a:pt x="9850" y="12111"/>
                        <a:pt x="9852" y="12111"/>
                        <a:pt x="9847" y="12106"/>
                      </a:cubicBezTo>
                      <a:cubicBezTo>
                        <a:pt x="9839" y="12101"/>
                        <a:pt x="9826" y="12094"/>
                        <a:pt x="9820" y="12088"/>
                      </a:cubicBezTo>
                      <a:cubicBezTo>
                        <a:pt x="9812" y="12082"/>
                        <a:pt x="9808" y="12077"/>
                        <a:pt x="9802" y="12071"/>
                      </a:cubicBezTo>
                      <a:cubicBezTo>
                        <a:pt x="9796" y="12064"/>
                        <a:pt x="9790" y="12051"/>
                        <a:pt x="9784" y="12044"/>
                      </a:cubicBezTo>
                      <a:cubicBezTo>
                        <a:pt x="9778" y="12037"/>
                        <a:pt x="9772" y="12033"/>
                        <a:pt x="9766" y="12026"/>
                      </a:cubicBezTo>
                      <a:cubicBezTo>
                        <a:pt x="9762" y="12020"/>
                        <a:pt x="9761" y="12013"/>
                        <a:pt x="9757" y="12008"/>
                      </a:cubicBezTo>
                      <a:lnTo>
                        <a:pt x="5541" y="6299"/>
                      </a:lnTo>
                      <a:cubicBezTo>
                        <a:pt x="5395" y="6102"/>
                        <a:pt x="5413" y="5828"/>
                        <a:pt x="5586" y="5655"/>
                      </a:cubicBezTo>
                      <a:cubicBezTo>
                        <a:pt x="5673" y="5568"/>
                        <a:pt x="5784" y="5521"/>
                        <a:pt x="5899" y="5512"/>
                      </a:cubicBezTo>
                      <a:close/>
                      <a:moveTo>
                        <a:pt x="10822" y="15990"/>
                      </a:moveTo>
                      <a:cubicBezTo>
                        <a:pt x="11131" y="16010"/>
                        <a:pt x="11477" y="16081"/>
                        <a:pt x="11726" y="16294"/>
                      </a:cubicBezTo>
                      <a:cubicBezTo>
                        <a:pt x="11943" y="16478"/>
                        <a:pt x="12058" y="16728"/>
                        <a:pt x="12058" y="17019"/>
                      </a:cubicBezTo>
                      <a:cubicBezTo>
                        <a:pt x="12058" y="17648"/>
                        <a:pt x="11421" y="17875"/>
                        <a:pt x="11001" y="18021"/>
                      </a:cubicBezTo>
                      <a:cubicBezTo>
                        <a:pt x="10875" y="18064"/>
                        <a:pt x="10673" y="18133"/>
                        <a:pt x="10554" y="18200"/>
                      </a:cubicBezTo>
                      <a:cubicBezTo>
                        <a:pt x="10760" y="18232"/>
                        <a:pt x="11138" y="18209"/>
                        <a:pt x="11458" y="18137"/>
                      </a:cubicBezTo>
                      <a:cubicBezTo>
                        <a:pt x="11725" y="18076"/>
                        <a:pt x="11988" y="18247"/>
                        <a:pt x="12049" y="18513"/>
                      </a:cubicBezTo>
                      <a:cubicBezTo>
                        <a:pt x="12109" y="18780"/>
                        <a:pt x="11940" y="19042"/>
                        <a:pt x="11673" y="19104"/>
                      </a:cubicBezTo>
                      <a:cubicBezTo>
                        <a:pt x="11517" y="19138"/>
                        <a:pt x="11168" y="19211"/>
                        <a:pt x="10796" y="19211"/>
                      </a:cubicBezTo>
                      <a:cubicBezTo>
                        <a:pt x="10441" y="19211"/>
                        <a:pt x="10070" y="19150"/>
                        <a:pt x="9811" y="18942"/>
                      </a:cubicBezTo>
                      <a:cubicBezTo>
                        <a:pt x="9600" y="18774"/>
                        <a:pt x="9480" y="18529"/>
                        <a:pt x="9480" y="18254"/>
                      </a:cubicBezTo>
                      <a:cubicBezTo>
                        <a:pt x="9480" y="17504"/>
                        <a:pt x="10202" y="17247"/>
                        <a:pt x="10679" y="17081"/>
                      </a:cubicBezTo>
                      <a:cubicBezTo>
                        <a:pt x="10753" y="17056"/>
                        <a:pt x="10849" y="17024"/>
                        <a:pt x="10930" y="16992"/>
                      </a:cubicBezTo>
                      <a:cubicBezTo>
                        <a:pt x="10768" y="16964"/>
                        <a:pt x="10519" y="16961"/>
                        <a:pt x="10312" y="16992"/>
                      </a:cubicBezTo>
                      <a:cubicBezTo>
                        <a:pt x="10042" y="17035"/>
                        <a:pt x="9792" y="16851"/>
                        <a:pt x="9748" y="16580"/>
                      </a:cubicBezTo>
                      <a:cubicBezTo>
                        <a:pt x="9706" y="16310"/>
                        <a:pt x="9890" y="16059"/>
                        <a:pt x="10160" y="16017"/>
                      </a:cubicBezTo>
                      <a:cubicBezTo>
                        <a:pt x="10248" y="16003"/>
                        <a:pt x="10514" y="15969"/>
                        <a:pt x="10822" y="1599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lnSpcReduction="1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37" name="ïṧ1ïḑé">
                  <a:extLst>
                    <a:ext uri="{FF2B5EF4-FFF2-40B4-BE49-F238E27FC236}">
                      <a16:creationId xmlns:a16="http://schemas.microsoft.com/office/drawing/2014/main" id="{81FF2583-9CD9-4B0F-B9B1-1F9CFD4FC881}"/>
                    </a:ext>
                  </a:extLst>
                </p:cNvPr>
                <p:cNvSpPr/>
                <p:nvPr/>
              </p:nvSpPr>
              <p:spPr>
                <a:xfrm flipH="1">
                  <a:off x="4108727" y="1503204"/>
                  <a:ext cx="196073" cy="20733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21600"/>
                      </a:moveTo>
                      <a:cubicBezTo>
                        <a:pt x="11931" y="21600"/>
                        <a:pt x="21600" y="11932"/>
                        <a:pt x="21600" y="0"/>
                      </a:cubicBezTo>
                      <a:cubicBezTo>
                        <a:pt x="9671" y="0"/>
                        <a:pt x="0" y="9672"/>
                        <a:pt x="0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38" name="îṣliḓê">
                  <a:extLst>
                    <a:ext uri="{FF2B5EF4-FFF2-40B4-BE49-F238E27FC236}">
                      <a16:creationId xmlns:a16="http://schemas.microsoft.com/office/drawing/2014/main" id="{C1BAA73A-0F69-4B5A-8C65-175AB3047C87}"/>
                    </a:ext>
                  </a:extLst>
                </p:cNvPr>
                <p:cNvSpPr/>
                <p:nvPr/>
              </p:nvSpPr>
              <p:spPr>
                <a:xfrm flipH="1">
                  <a:off x="4163255" y="1228673"/>
                  <a:ext cx="278810" cy="32251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6942"/>
                      </a:moveTo>
                      <a:cubicBezTo>
                        <a:pt x="13131" y="6942"/>
                        <a:pt x="15020" y="8671"/>
                        <a:pt x="15020" y="10798"/>
                      </a:cubicBezTo>
                      <a:cubicBezTo>
                        <a:pt x="15020" y="12930"/>
                        <a:pt x="13129" y="14655"/>
                        <a:pt x="10800" y="14655"/>
                      </a:cubicBezTo>
                      <a:cubicBezTo>
                        <a:pt x="8471" y="14655"/>
                        <a:pt x="6582" y="12930"/>
                        <a:pt x="6582" y="10798"/>
                      </a:cubicBezTo>
                      <a:cubicBezTo>
                        <a:pt x="6582" y="8671"/>
                        <a:pt x="8470" y="6942"/>
                        <a:pt x="10800" y="6942"/>
                      </a:cubicBezTo>
                      <a:close/>
                      <a:moveTo>
                        <a:pt x="0" y="7329"/>
                      </a:moveTo>
                      <a:cubicBezTo>
                        <a:pt x="0" y="8869"/>
                        <a:pt x="994" y="10181"/>
                        <a:pt x="2410" y="10797"/>
                      </a:cubicBezTo>
                      <a:cubicBezTo>
                        <a:pt x="994" y="11418"/>
                        <a:pt x="0" y="12727"/>
                        <a:pt x="0" y="14270"/>
                      </a:cubicBezTo>
                      <a:cubicBezTo>
                        <a:pt x="0" y="16397"/>
                        <a:pt x="1891" y="18128"/>
                        <a:pt x="4219" y="18128"/>
                      </a:cubicBezTo>
                      <a:cubicBezTo>
                        <a:pt x="5110" y="18128"/>
                        <a:pt x="5921" y="17879"/>
                        <a:pt x="6614" y="17451"/>
                      </a:cubicBezTo>
                      <a:lnTo>
                        <a:pt x="6581" y="17743"/>
                      </a:lnTo>
                      <a:cubicBezTo>
                        <a:pt x="6581" y="19870"/>
                        <a:pt x="8470" y="21600"/>
                        <a:pt x="10799" y="21600"/>
                      </a:cubicBezTo>
                      <a:cubicBezTo>
                        <a:pt x="13128" y="21600"/>
                        <a:pt x="15019" y="19870"/>
                        <a:pt x="15019" y="17743"/>
                      </a:cubicBezTo>
                      <a:lnTo>
                        <a:pt x="14986" y="17451"/>
                      </a:lnTo>
                      <a:cubicBezTo>
                        <a:pt x="15661" y="17879"/>
                        <a:pt x="16488" y="18128"/>
                        <a:pt x="17381" y="18128"/>
                      </a:cubicBezTo>
                      <a:cubicBezTo>
                        <a:pt x="19709" y="18128"/>
                        <a:pt x="21600" y="16397"/>
                        <a:pt x="21600" y="14270"/>
                      </a:cubicBezTo>
                      <a:cubicBezTo>
                        <a:pt x="21600" y="12726"/>
                        <a:pt x="20606" y="11418"/>
                        <a:pt x="19189" y="10798"/>
                      </a:cubicBezTo>
                      <a:cubicBezTo>
                        <a:pt x="20606" y="10182"/>
                        <a:pt x="21600" y="8869"/>
                        <a:pt x="21600" y="7331"/>
                      </a:cubicBezTo>
                      <a:cubicBezTo>
                        <a:pt x="21600" y="5198"/>
                        <a:pt x="19709" y="3474"/>
                        <a:pt x="17381" y="3474"/>
                      </a:cubicBezTo>
                      <a:cubicBezTo>
                        <a:pt x="16488" y="3474"/>
                        <a:pt x="15678" y="3722"/>
                        <a:pt x="14986" y="4149"/>
                      </a:cubicBezTo>
                      <a:lnTo>
                        <a:pt x="15019" y="3859"/>
                      </a:lnTo>
                      <a:cubicBezTo>
                        <a:pt x="15020" y="1729"/>
                        <a:pt x="13131" y="0"/>
                        <a:pt x="10800" y="0"/>
                      </a:cubicBezTo>
                      <a:cubicBezTo>
                        <a:pt x="8470" y="0"/>
                        <a:pt x="6582" y="1729"/>
                        <a:pt x="6582" y="3857"/>
                      </a:cubicBezTo>
                      <a:lnTo>
                        <a:pt x="6615" y="4148"/>
                      </a:lnTo>
                      <a:cubicBezTo>
                        <a:pt x="5938" y="3720"/>
                        <a:pt x="5113" y="3472"/>
                        <a:pt x="4219" y="3472"/>
                      </a:cubicBezTo>
                      <a:cubicBezTo>
                        <a:pt x="1889" y="3472"/>
                        <a:pt x="0" y="5197"/>
                        <a:pt x="0" y="7329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39" name="îśliďe">
                  <a:extLst>
                    <a:ext uri="{FF2B5EF4-FFF2-40B4-BE49-F238E27FC236}">
                      <a16:creationId xmlns:a16="http://schemas.microsoft.com/office/drawing/2014/main" id="{BC6F4647-C4D1-4B52-9719-97A148342CF7}"/>
                    </a:ext>
                  </a:extLst>
                </p:cNvPr>
                <p:cNvSpPr/>
                <p:nvPr/>
              </p:nvSpPr>
              <p:spPr>
                <a:xfrm flipH="1">
                  <a:off x="4305676" y="1503204"/>
                  <a:ext cx="196070" cy="20733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0"/>
                      </a:moveTo>
                      <a:cubicBezTo>
                        <a:pt x="0" y="11932"/>
                        <a:pt x="9669" y="21600"/>
                        <a:pt x="21600" y="21600"/>
                      </a:cubicBezTo>
                      <a:cubicBezTo>
                        <a:pt x="21600" y="9672"/>
                        <a:pt x="11929" y="0"/>
                        <a:pt x="0" y="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40" name="îṥļïḋê">
                  <a:extLst>
                    <a:ext uri="{FF2B5EF4-FFF2-40B4-BE49-F238E27FC236}">
                      <a16:creationId xmlns:a16="http://schemas.microsoft.com/office/drawing/2014/main" id="{0A2E67BC-C7E7-4F3E-8349-A2F9FD0A1924}"/>
                    </a:ext>
                  </a:extLst>
                </p:cNvPr>
                <p:cNvSpPr/>
                <p:nvPr/>
              </p:nvSpPr>
              <p:spPr>
                <a:xfrm flipH="1">
                  <a:off x="3161716" y="3938192"/>
                  <a:ext cx="337345" cy="37226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3252" y="0"/>
                      </a:moveTo>
                      <a:lnTo>
                        <a:pt x="6455" y="6171"/>
                      </a:lnTo>
                      <a:cubicBezTo>
                        <a:pt x="6455" y="6171"/>
                        <a:pt x="11575" y="10800"/>
                        <a:pt x="11575" y="10800"/>
                      </a:cubicBezTo>
                      <a:lnTo>
                        <a:pt x="6455" y="15440"/>
                      </a:lnTo>
                      <a:lnTo>
                        <a:pt x="13265" y="21600"/>
                      </a:lnTo>
                      <a:lnTo>
                        <a:pt x="14447" y="21600"/>
                      </a:lnTo>
                      <a:lnTo>
                        <a:pt x="14447" y="13402"/>
                      </a:lnTo>
                      <a:lnTo>
                        <a:pt x="19923" y="18365"/>
                      </a:lnTo>
                      <a:lnTo>
                        <a:pt x="21600" y="16845"/>
                      </a:lnTo>
                      <a:lnTo>
                        <a:pt x="14942" y="10800"/>
                      </a:lnTo>
                      <a:lnTo>
                        <a:pt x="21600" y="4767"/>
                      </a:lnTo>
                      <a:lnTo>
                        <a:pt x="19923" y="3247"/>
                      </a:lnTo>
                      <a:lnTo>
                        <a:pt x="14447" y="8198"/>
                      </a:lnTo>
                      <a:lnTo>
                        <a:pt x="14447" y="0"/>
                      </a:lnTo>
                      <a:lnTo>
                        <a:pt x="13252" y="0"/>
                      </a:lnTo>
                      <a:close/>
                      <a:moveTo>
                        <a:pt x="12058" y="4133"/>
                      </a:moveTo>
                      <a:cubicBezTo>
                        <a:pt x="12058" y="4133"/>
                        <a:pt x="12058" y="8198"/>
                        <a:pt x="12058" y="8198"/>
                      </a:cubicBezTo>
                      <a:lnTo>
                        <a:pt x="9822" y="6171"/>
                      </a:lnTo>
                      <a:lnTo>
                        <a:pt x="12058" y="4133"/>
                      </a:lnTo>
                      <a:close/>
                      <a:moveTo>
                        <a:pt x="1766" y="5193"/>
                      </a:moveTo>
                      <a:cubicBezTo>
                        <a:pt x="656" y="6837"/>
                        <a:pt x="8" y="8757"/>
                        <a:pt x="0" y="10800"/>
                      </a:cubicBezTo>
                      <a:cubicBezTo>
                        <a:pt x="0" y="12907"/>
                        <a:pt x="673" y="14869"/>
                        <a:pt x="1830" y="16534"/>
                      </a:cubicBezTo>
                      <a:lnTo>
                        <a:pt x="3265" y="15244"/>
                      </a:lnTo>
                      <a:cubicBezTo>
                        <a:pt x="2525" y="13951"/>
                        <a:pt x="2096" y="12467"/>
                        <a:pt x="2096" y="10904"/>
                      </a:cubicBezTo>
                      <a:cubicBezTo>
                        <a:pt x="2096" y="9334"/>
                        <a:pt x="2514" y="7869"/>
                        <a:pt x="3265" y="6563"/>
                      </a:cubicBezTo>
                      <a:cubicBezTo>
                        <a:pt x="3265" y="6563"/>
                        <a:pt x="1766" y="5193"/>
                        <a:pt x="1766" y="5193"/>
                      </a:cubicBezTo>
                      <a:close/>
                      <a:moveTo>
                        <a:pt x="5070" y="8313"/>
                      </a:moveTo>
                      <a:cubicBezTo>
                        <a:pt x="4746" y="9091"/>
                        <a:pt x="4549" y="9913"/>
                        <a:pt x="4549" y="10800"/>
                      </a:cubicBezTo>
                      <a:cubicBezTo>
                        <a:pt x="4549" y="11685"/>
                        <a:pt x="4746" y="12542"/>
                        <a:pt x="5082" y="13322"/>
                      </a:cubicBezTo>
                      <a:lnTo>
                        <a:pt x="7852" y="10812"/>
                      </a:lnTo>
                      <a:cubicBezTo>
                        <a:pt x="7852" y="10812"/>
                        <a:pt x="5070" y="8313"/>
                        <a:pt x="5070" y="8313"/>
                      </a:cubicBezTo>
                      <a:close/>
                      <a:moveTo>
                        <a:pt x="12058" y="13402"/>
                      </a:moveTo>
                      <a:lnTo>
                        <a:pt x="12058" y="17467"/>
                      </a:lnTo>
                      <a:lnTo>
                        <a:pt x="9822" y="15440"/>
                      </a:lnTo>
                      <a:cubicBezTo>
                        <a:pt x="9822" y="15440"/>
                        <a:pt x="12058" y="13402"/>
                        <a:pt x="12058" y="13402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41" name="ïSḻïďe">
                  <a:extLst>
                    <a:ext uri="{FF2B5EF4-FFF2-40B4-BE49-F238E27FC236}">
                      <a16:creationId xmlns:a16="http://schemas.microsoft.com/office/drawing/2014/main" id="{842B06FE-21D4-460C-A956-03C7C1B8753E}"/>
                    </a:ext>
                  </a:extLst>
                </p:cNvPr>
                <p:cNvSpPr/>
                <p:nvPr/>
              </p:nvSpPr>
              <p:spPr>
                <a:xfrm flipH="1">
                  <a:off x="3743901" y="2261148"/>
                  <a:ext cx="381855" cy="40861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293" h="20415" extrusionOk="0">
                      <a:moveTo>
                        <a:pt x="12057" y="16331"/>
                      </a:moveTo>
                      <a:lnTo>
                        <a:pt x="10898" y="15917"/>
                      </a:lnTo>
                      <a:cubicBezTo>
                        <a:pt x="11021" y="15668"/>
                        <a:pt x="11091" y="15389"/>
                        <a:pt x="11091" y="15092"/>
                      </a:cubicBezTo>
                      <a:cubicBezTo>
                        <a:pt x="11091" y="14067"/>
                        <a:pt x="10263" y="13235"/>
                        <a:pt x="9240" y="13235"/>
                      </a:cubicBezTo>
                      <a:cubicBezTo>
                        <a:pt x="8219" y="13235"/>
                        <a:pt x="7389" y="14067"/>
                        <a:pt x="7389" y="15092"/>
                      </a:cubicBezTo>
                      <a:cubicBezTo>
                        <a:pt x="7389" y="16119"/>
                        <a:pt x="8219" y="16951"/>
                        <a:pt x="9240" y="16951"/>
                      </a:cubicBezTo>
                      <a:cubicBezTo>
                        <a:pt x="9618" y="16951"/>
                        <a:pt x="9970" y="16837"/>
                        <a:pt x="10263" y="16642"/>
                      </a:cubicBezTo>
                      <a:lnTo>
                        <a:pt x="10898" y="17691"/>
                      </a:lnTo>
                      <a:cubicBezTo>
                        <a:pt x="10419" y="18000"/>
                        <a:pt x="9852" y="18181"/>
                        <a:pt x="9240" y="18181"/>
                      </a:cubicBezTo>
                      <a:cubicBezTo>
                        <a:pt x="7542" y="18181"/>
                        <a:pt x="6167" y="16798"/>
                        <a:pt x="6167" y="15092"/>
                      </a:cubicBezTo>
                      <a:cubicBezTo>
                        <a:pt x="6167" y="13388"/>
                        <a:pt x="7542" y="12005"/>
                        <a:pt x="9240" y="12005"/>
                      </a:cubicBezTo>
                      <a:cubicBezTo>
                        <a:pt x="10939" y="12005"/>
                        <a:pt x="12316" y="13388"/>
                        <a:pt x="12316" y="15092"/>
                      </a:cubicBezTo>
                      <a:cubicBezTo>
                        <a:pt x="12316" y="15533"/>
                        <a:pt x="12222" y="15952"/>
                        <a:pt x="12057" y="16331"/>
                      </a:cubicBezTo>
                      <a:close/>
                      <a:moveTo>
                        <a:pt x="183" y="2376"/>
                      </a:moveTo>
                      <a:lnTo>
                        <a:pt x="56" y="2782"/>
                      </a:lnTo>
                      <a:cubicBezTo>
                        <a:pt x="-145" y="3425"/>
                        <a:pt x="210" y="4110"/>
                        <a:pt x="851" y="4313"/>
                      </a:cubicBezTo>
                      <a:lnTo>
                        <a:pt x="3752" y="5230"/>
                      </a:lnTo>
                      <a:cubicBezTo>
                        <a:pt x="4393" y="5433"/>
                        <a:pt x="5075" y="5076"/>
                        <a:pt x="5277" y="4433"/>
                      </a:cubicBezTo>
                      <a:lnTo>
                        <a:pt x="5404" y="4027"/>
                      </a:lnTo>
                      <a:cubicBezTo>
                        <a:pt x="5981" y="2186"/>
                        <a:pt x="8805" y="3017"/>
                        <a:pt x="10406" y="3523"/>
                      </a:cubicBezTo>
                      <a:cubicBezTo>
                        <a:pt x="12005" y="4029"/>
                        <a:pt x="14795" y="4972"/>
                        <a:pt x="14218" y="6813"/>
                      </a:cubicBezTo>
                      <a:lnTo>
                        <a:pt x="14090" y="7219"/>
                      </a:lnTo>
                      <a:cubicBezTo>
                        <a:pt x="13890" y="7862"/>
                        <a:pt x="14244" y="8548"/>
                        <a:pt x="14885" y="8750"/>
                      </a:cubicBezTo>
                      <a:lnTo>
                        <a:pt x="17787" y="9667"/>
                      </a:lnTo>
                      <a:cubicBezTo>
                        <a:pt x="18427" y="9870"/>
                        <a:pt x="19111" y="9512"/>
                        <a:pt x="19312" y="8869"/>
                      </a:cubicBezTo>
                      <a:lnTo>
                        <a:pt x="19394" y="8589"/>
                      </a:lnTo>
                      <a:cubicBezTo>
                        <a:pt x="19566" y="8660"/>
                        <a:pt x="19750" y="8769"/>
                        <a:pt x="19920" y="8946"/>
                      </a:cubicBezTo>
                      <a:cubicBezTo>
                        <a:pt x="20531" y="9581"/>
                        <a:pt x="20734" y="10808"/>
                        <a:pt x="20506" y="12495"/>
                      </a:cubicBezTo>
                      <a:cubicBezTo>
                        <a:pt x="20113" y="15418"/>
                        <a:pt x="18969" y="16462"/>
                        <a:pt x="17750" y="16809"/>
                      </a:cubicBezTo>
                      <a:lnTo>
                        <a:pt x="17750" y="16301"/>
                      </a:lnTo>
                      <a:cubicBezTo>
                        <a:pt x="17750" y="15785"/>
                        <a:pt x="17621" y="15273"/>
                        <a:pt x="17361" y="14827"/>
                      </a:cubicBezTo>
                      <a:cubicBezTo>
                        <a:pt x="16146" y="12738"/>
                        <a:pt x="14419" y="10884"/>
                        <a:pt x="12226" y="9250"/>
                      </a:cubicBezTo>
                      <a:lnTo>
                        <a:pt x="12226" y="8015"/>
                      </a:lnTo>
                      <a:cubicBezTo>
                        <a:pt x="12226" y="7920"/>
                        <a:pt x="12148" y="7841"/>
                        <a:pt x="12052" y="7841"/>
                      </a:cubicBezTo>
                      <a:lnTo>
                        <a:pt x="10247" y="7841"/>
                      </a:lnTo>
                      <a:cubicBezTo>
                        <a:pt x="10151" y="7841"/>
                        <a:pt x="10074" y="7920"/>
                        <a:pt x="10074" y="8015"/>
                      </a:cubicBezTo>
                      <a:lnTo>
                        <a:pt x="10074" y="9243"/>
                      </a:lnTo>
                      <a:lnTo>
                        <a:pt x="8014" y="9243"/>
                      </a:lnTo>
                      <a:lnTo>
                        <a:pt x="8014" y="8015"/>
                      </a:lnTo>
                      <a:cubicBezTo>
                        <a:pt x="8014" y="7920"/>
                        <a:pt x="7936" y="7841"/>
                        <a:pt x="7842" y="7841"/>
                      </a:cubicBezTo>
                      <a:lnTo>
                        <a:pt x="6035" y="7841"/>
                      </a:lnTo>
                      <a:cubicBezTo>
                        <a:pt x="5939" y="7841"/>
                        <a:pt x="5861" y="7920"/>
                        <a:pt x="5861" y="8015"/>
                      </a:cubicBezTo>
                      <a:lnTo>
                        <a:pt x="5861" y="9243"/>
                      </a:lnTo>
                      <a:cubicBezTo>
                        <a:pt x="3664" y="10880"/>
                        <a:pt x="1936" y="12735"/>
                        <a:pt x="718" y="14827"/>
                      </a:cubicBezTo>
                      <a:cubicBezTo>
                        <a:pt x="458" y="15273"/>
                        <a:pt x="330" y="15784"/>
                        <a:pt x="330" y="16301"/>
                      </a:cubicBezTo>
                      <a:lnTo>
                        <a:pt x="330" y="17450"/>
                      </a:lnTo>
                      <a:cubicBezTo>
                        <a:pt x="330" y="19088"/>
                        <a:pt x="1651" y="20415"/>
                        <a:pt x="3281" y="20415"/>
                      </a:cubicBezTo>
                      <a:lnTo>
                        <a:pt x="14797" y="20415"/>
                      </a:lnTo>
                      <a:cubicBezTo>
                        <a:pt x="16402" y="20415"/>
                        <a:pt x="17706" y="19128"/>
                        <a:pt x="17746" y="17526"/>
                      </a:cubicBezTo>
                      <a:cubicBezTo>
                        <a:pt x="19698" y="17067"/>
                        <a:pt x="20805" y="15467"/>
                        <a:pt x="21195" y="12589"/>
                      </a:cubicBezTo>
                      <a:cubicBezTo>
                        <a:pt x="21455" y="10655"/>
                        <a:pt x="21195" y="9267"/>
                        <a:pt x="20420" y="8461"/>
                      </a:cubicBezTo>
                      <a:cubicBezTo>
                        <a:pt x="20142" y="8173"/>
                        <a:pt x="19840" y="8004"/>
                        <a:pt x="19567" y="7905"/>
                      </a:cubicBezTo>
                      <a:cubicBezTo>
                        <a:pt x="19942" y="5711"/>
                        <a:pt x="19873" y="4484"/>
                        <a:pt x="10985" y="1674"/>
                      </a:cubicBezTo>
                      <a:cubicBezTo>
                        <a:pt x="1940" y="-1185"/>
                        <a:pt x="928" y="0"/>
                        <a:pt x="183" y="237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42" name="íṩľîḋé">
                  <a:extLst>
                    <a:ext uri="{FF2B5EF4-FFF2-40B4-BE49-F238E27FC236}">
                      <a16:creationId xmlns:a16="http://schemas.microsoft.com/office/drawing/2014/main" id="{BC752F56-D375-4A88-B54D-3D9B9A3FBE17}"/>
                    </a:ext>
                  </a:extLst>
                </p:cNvPr>
                <p:cNvSpPr/>
                <p:nvPr/>
              </p:nvSpPr>
              <p:spPr>
                <a:xfrm flipH="1">
                  <a:off x="3673881" y="3113541"/>
                  <a:ext cx="360186" cy="33517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485" h="20485" extrusionOk="0">
                      <a:moveTo>
                        <a:pt x="10633" y="2"/>
                      </a:moveTo>
                      <a:cubicBezTo>
                        <a:pt x="10435" y="-17"/>
                        <a:pt x="10260" y="138"/>
                        <a:pt x="10242" y="341"/>
                      </a:cubicBezTo>
                      <a:lnTo>
                        <a:pt x="10064" y="2209"/>
                      </a:lnTo>
                      <a:cubicBezTo>
                        <a:pt x="10047" y="2412"/>
                        <a:pt x="10198" y="2591"/>
                        <a:pt x="10396" y="2609"/>
                      </a:cubicBezTo>
                      <a:lnTo>
                        <a:pt x="10952" y="2670"/>
                      </a:lnTo>
                      <a:cubicBezTo>
                        <a:pt x="11150" y="2689"/>
                        <a:pt x="11324" y="2533"/>
                        <a:pt x="11343" y="2330"/>
                      </a:cubicBezTo>
                      <a:lnTo>
                        <a:pt x="11508" y="463"/>
                      </a:lnTo>
                      <a:cubicBezTo>
                        <a:pt x="11527" y="260"/>
                        <a:pt x="11388" y="82"/>
                        <a:pt x="11189" y="62"/>
                      </a:cubicBezTo>
                      <a:lnTo>
                        <a:pt x="10633" y="2"/>
                      </a:lnTo>
                      <a:close/>
                      <a:moveTo>
                        <a:pt x="7318" y="378"/>
                      </a:moveTo>
                      <a:lnTo>
                        <a:pt x="6786" y="547"/>
                      </a:lnTo>
                      <a:cubicBezTo>
                        <a:pt x="6595" y="605"/>
                        <a:pt x="6492" y="813"/>
                        <a:pt x="6549" y="1008"/>
                      </a:cubicBezTo>
                      <a:lnTo>
                        <a:pt x="7070" y="2803"/>
                      </a:lnTo>
                      <a:cubicBezTo>
                        <a:pt x="7126" y="2998"/>
                        <a:pt x="7329" y="3117"/>
                        <a:pt x="7519" y="3058"/>
                      </a:cubicBezTo>
                      <a:cubicBezTo>
                        <a:pt x="7520" y="3058"/>
                        <a:pt x="8052" y="2888"/>
                        <a:pt x="8052" y="2888"/>
                      </a:cubicBezTo>
                      <a:cubicBezTo>
                        <a:pt x="8244" y="2831"/>
                        <a:pt x="8357" y="2622"/>
                        <a:pt x="8301" y="2427"/>
                      </a:cubicBezTo>
                      <a:lnTo>
                        <a:pt x="7768" y="632"/>
                      </a:lnTo>
                      <a:cubicBezTo>
                        <a:pt x="7711" y="437"/>
                        <a:pt x="7509" y="319"/>
                        <a:pt x="7318" y="378"/>
                      </a:cubicBezTo>
                      <a:close/>
                      <a:moveTo>
                        <a:pt x="14113" y="1117"/>
                      </a:moveTo>
                      <a:cubicBezTo>
                        <a:pt x="14025" y="1146"/>
                        <a:pt x="13945" y="1209"/>
                        <a:pt x="13899" y="1299"/>
                      </a:cubicBezTo>
                      <a:lnTo>
                        <a:pt x="13059" y="2961"/>
                      </a:lnTo>
                      <a:cubicBezTo>
                        <a:pt x="12966" y="3141"/>
                        <a:pt x="13036" y="3365"/>
                        <a:pt x="13213" y="3458"/>
                      </a:cubicBezTo>
                      <a:lnTo>
                        <a:pt x="13710" y="3725"/>
                      </a:lnTo>
                      <a:cubicBezTo>
                        <a:pt x="13887" y="3819"/>
                        <a:pt x="14104" y="3749"/>
                        <a:pt x="14195" y="3567"/>
                      </a:cubicBezTo>
                      <a:cubicBezTo>
                        <a:pt x="14195" y="3567"/>
                        <a:pt x="15036" y="1894"/>
                        <a:pt x="15036" y="1894"/>
                      </a:cubicBezTo>
                      <a:cubicBezTo>
                        <a:pt x="15127" y="1713"/>
                        <a:pt x="15059" y="1490"/>
                        <a:pt x="14882" y="1396"/>
                      </a:cubicBezTo>
                      <a:lnTo>
                        <a:pt x="14385" y="1142"/>
                      </a:lnTo>
                      <a:cubicBezTo>
                        <a:pt x="14296" y="1095"/>
                        <a:pt x="14200" y="1089"/>
                        <a:pt x="14113" y="1117"/>
                      </a:cubicBezTo>
                      <a:close/>
                      <a:moveTo>
                        <a:pt x="4359" y="1833"/>
                      </a:moveTo>
                      <a:cubicBezTo>
                        <a:pt x="4267" y="1823"/>
                        <a:pt x="4165" y="1842"/>
                        <a:pt x="4087" y="1906"/>
                      </a:cubicBezTo>
                      <a:lnTo>
                        <a:pt x="3661" y="2258"/>
                      </a:lnTo>
                      <a:cubicBezTo>
                        <a:pt x="3505" y="2385"/>
                        <a:pt x="3476" y="2619"/>
                        <a:pt x="3602" y="2779"/>
                      </a:cubicBezTo>
                      <a:lnTo>
                        <a:pt x="4738" y="4247"/>
                      </a:lnTo>
                      <a:cubicBezTo>
                        <a:pt x="4863" y="4406"/>
                        <a:pt x="5092" y="4434"/>
                        <a:pt x="5247" y="4307"/>
                      </a:cubicBezTo>
                      <a:cubicBezTo>
                        <a:pt x="5247" y="4307"/>
                        <a:pt x="5685" y="3955"/>
                        <a:pt x="5685" y="3955"/>
                      </a:cubicBezTo>
                      <a:cubicBezTo>
                        <a:pt x="5840" y="3828"/>
                        <a:pt x="5868" y="3593"/>
                        <a:pt x="5744" y="3434"/>
                      </a:cubicBezTo>
                      <a:lnTo>
                        <a:pt x="4596" y="1966"/>
                      </a:lnTo>
                      <a:cubicBezTo>
                        <a:pt x="4534" y="1887"/>
                        <a:pt x="4451" y="1843"/>
                        <a:pt x="4359" y="1833"/>
                      </a:cubicBezTo>
                      <a:close/>
                      <a:moveTo>
                        <a:pt x="17427" y="3664"/>
                      </a:moveTo>
                      <a:cubicBezTo>
                        <a:pt x="17310" y="3698"/>
                        <a:pt x="17213" y="3793"/>
                        <a:pt x="17178" y="3931"/>
                      </a:cubicBezTo>
                      <a:lnTo>
                        <a:pt x="15924" y="8928"/>
                      </a:lnTo>
                      <a:cubicBezTo>
                        <a:pt x="15855" y="9203"/>
                        <a:pt x="16096" y="9453"/>
                        <a:pt x="16361" y="9377"/>
                      </a:cubicBezTo>
                      <a:lnTo>
                        <a:pt x="17521" y="9049"/>
                      </a:lnTo>
                      <a:cubicBezTo>
                        <a:pt x="18093" y="12917"/>
                        <a:pt x="15711" y="16712"/>
                        <a:pt x="11887" y="17684"/>
                      </a:cubicBezTo>
                      <a:cubicBezTo>
                        <a:pt x="7905" y="18697"/>
                        <a:pt x="3877" y="16142"/>
                        <a:pt x="2773" y="12093"/>
                      </a:cubicBezTo>
                      <a:lnTo>
                        <a:pt x="2584" y="11378"/>
                      </a:lnTo>
                      <a:cubicBezTo>
                        <a:pt x="2531" y="11181"/>
                        <a:pt x="2337" y="11068"/>
                        <a:pt x="2146" y="11123"/>
                      </a:cubicBezTo>
                      <a:lnTo>
                        <a:pt x="406" y="11620"/>
                      </a:lnTo>
                      <a:cubicBezTo>
                        <a:pt x="215" y="11675"/>
                        <a:pt x="104" y="11872"/>
                        <a:pt x="157" y="12069"/>
                      </a:cubicBezTo>
                      <a:lnTo>
                        <a:pt x="347" y="12760"/>
                      </a:lnTo>
                      <a:cubicBezTo>
                        <a:pt x="1830" y="18205"/>
                        <a:pt x="7271" y="21583"/>
                        <a:pt x="12609" y="20159"/>
                      </a:cubicBezTo>
                      <a:cubicBezTo>
                        <a:pt x="17751" y="18787"/>
                        <a:pt x="20895" y="13578"/>
                        <a:pt x="19960" y="8346"/>
                      </a:cubicBezTo>
                      <a:lnTo>
                        <a:pt x="21214" y="7982"/>
                      </a:lnTo>
                      <a:cubicBezTo>
                        <a:pt x="21481" y="7905"/>
                        <a:pt x="21578" y="7562"/>
                        <a:pt x="21380" y="7363"/>
                      </a:cubicBezTo>
                      <a:lnTo>
                        <a:pt x="17770" y="3749"/>
                      </a:lnTo>
                      <a:cubicBezTo>
                        <a:pt x="17671" y="3650"/>
                        <a:pt x="17544" y="3631"/>
                        <a:pt x="17427" y="3664"/>
                      </a:cubicBezTo>
                      <a:close/>
                      <a:moveTo>
                        <a:pt x="1625" y="4756"/>
                      </a:moveTo>
                      <a:cubicBezTo>
                        <a:pt x="1536" y="4781"/>
                        <a:pt x="1461" y="4849"/>
                        <a:pt x="1412" y="4938"/>
                      </a:cubicBezTo>
                      <a:lnTo>
                        <a:pt x="1140" y="5435"/>
                      </a:lnTo>
                      <a:cubicBezTo>
                        <a:pt x="1041" y="5613"/>
                        <a:pt x="1096" y="5832"/>
                        <a:pt x="1270" y="5932"/>
                      </a:cubicBezTo>
                      <a:lnTo>
                        <a:pt x="2868" y="6854"/>
                      </a:lnTo>
                      <a:cubicBezTo>
                        <a:pt x="3040" y="6954"/>
                        <a:pt x="3267" y="6886"/>
                        <a:pt x="3365" y="6709"/>
                      </a:cubicBezTo>
                      <a:cubicBezTo>
                        <a:pt x="3365" y="6709"/>
                        <a:pt x="3637" y="6223"/>
                        <a:pt x="3637" y="6223"/>
                      </a:cubicBezTo>
                      <a:cubicBezTo>
                        <a:pt x="3735" y="6046"/>
                        <a:pt x="3669" y="5814"/>
                        <a:pt x="3495" y="5714"/>
                      </a:cubicBezTo>
                      <a:lnTo>
                        <a:pt x="1897" y="4792"/>
                      </a:lnTo>
                      <a:cubicBezTo>
                        <a:pt x="1811" y="4743"/>
                        <a:pt x="1714" y="4730"/>
                        <a:pt x="1625" y="4756"/>
                      </a:cubicBezTo>
                      <a:close/>
                      <a:moveTo>
                        <a:pt x="477" y="8394"/>
                      </a:moveTo>
                      <a:cubicBezTo>
                        <a:pt x="279" y="8368"/>
                        <a:pt x="99" y="8507"/>
                        <a:pt x="74" y="8710"/>
                      </a:cubicBezTo>
                      <a:lnTo>
                        <a:pt x="3" y="9280"/>
                      </a:lnTo>
                      <a:cubicBezTo>
                        <a:pt x="-22" y="9482"/>
                        <a:pt x="125" y="9666"/>
                        <a:pt x="323" y="9692"/>
                      </a:cubicBezTo>
                      <a:lnTo>
                        <a:pt x="2134" y="9935"/>
                      </a:lnTo>
                      <a:cubicBezTo>
                        <a:pt x="2331" y="9961"/>
                        <a:pt x="2510" y="9822"/>
                        <a:pt x="2536" y="9619"/>
                      </a:cubicBezTo>
                      <a:lnTo>
                        <a:pt x="2607" y="9049"/>
                      </a:lnTo>
                      <a:cubicBezTo>
                        <a:pt x="2634" y="8848"/>
                        <a:pt x="2497" y="8663"/>
                        <a:pt x="2300" y="8637"/>
                      </a:cubicBezTo>
                      <a:lnTo>
                        <a:pt x="477" y="8394"/>
                      </a:lnTo>
                      <a:close/>
                      <a:moveTo>
                        <a:pt x="6490" y="8394"/>
                      </a:moveTo>
                      <a:lnTo>
                        <a:pt x="6490" y="11766"/>
                      </a:lnTo>
                      <a:lnTo>
                        <a:pt x="5768" y="11766"/>
                      </a:lnTo>
                      <a:lnTo>
                        <a:pt x="5768" y="12627"/>
                      </a:lnTo>
                      <a:lnTo>
                        <a:pt x="6490" y="12627"/>
                      </a:lnTo>
                      <a:lnTo>
                        <a:pt x="6490" y="14107"/>
                      </a:lnTo>
                      <a:cubicBezTo>
                        <a:pt x="6490" y="14107"/>
                        <a:pt x="7484" y="14107"/>
                        <a:pt x="7484" y="14107"/>
                      </a:cubicBezTo>
                      <a:lnTo>
                        <a:pt x="7484" y="12627"/>
                      </a:lnTo>
                      <a:lnTo>
                        <a:pt x="10088" y="12627"/>
                      </a:lnTo>
                      <a:lnTo>
                        <a:pt x="10088" y="11996"/>
                      </a:lnTo>
                      <a:lnTo>
                        <a:pt x="7685" y="8394"/>
                      </a:lnTo>
                      <a:lnTo>
                        <a:pt x="6490" y="8394"/>
                      </a:lnTo>
                      <a:close/>
                      <a:moveTo>
                        <a:pt x="12515" y="8394"/>
                      </a:moveTo>
                      <a:cubicBezTo>
                        <a:pt x="11533" y="8394"/>
                        <a:pt x="10704" y="9001"/>
                        <a:pt x="10704" y="10080"/>
                      </a:cubicBezTo>
                      <a:cubicBezTo>
                        <a:pt x="10704" y="11915"/>
                        <a:pt x="13202" y="12228"/>
                        <a:pt x="13225" y="13306"/>
                      </a:cubicBezTo>
                      <a:lnTo>
                        <a:pt x="10621" y="13306"/>
                      </a:lnTo>
                      <a:lnTo>
                        <a:pt x="10621" y="14204"/>
                      </a:lnTo>
                      <a:lnTo>
                        <a:pt x="14314" y="14204"/>
                      </a:lnTo>
                      <a:cubicBezTo>
                        <a:pt x="14337" y="14019"/>
                        <a:pt x="14361" y="13855"/>
                        <a:pt x="14361" y="13694"/>
                      </a:cubicBezTo>
                      <a:cubicBezTo>
                        <a:pt x="14361" y="11634"/>
                        <a:pt x="11757" y="11301"/>
                        <a:pt x="11757" y="10165"/>
                      </a:cubicBezTo>
                      <a:cubicBezTo>
                        <a:pt x="11757" y="9667"/>
                        <a:pt x="12138" y="9377"/>
                        <a:pt x="12609" y="9377"/>
                      </a:cubicBezTo>
                      <a:cubicBezTo>
                        <a:pt x="13261" y="9377"/>
                        <a:pt x="13604" y="10056"/>
                        <a:pt x="13604" y="10056"/>
                      </a:cubicBezTo>
                      <a:lnTo>
                        <a:pt x="14361" y="9534"/>
                      </a:lnTo>
                      <a:cubicBezTo>
                        <a:pt x="14361" y="9534"/>
                        <a:pt x="13850" y="8394"/>
                        <a:pt x="12515" y="8394"/>
                      </a:cubicBezTo>
                      <a:close/>
                      <a:moveTo>
                        <a:pt x="7448" y="9401"/>
                      </a:moveTo>
                      <a:lnTo>
                        <a:pt x="7460" y="9401"/>
                      </a:lnTo>
                      <a:cubicBezTo>
                        <a:pt x="7460" y="9401"/>
                        <a:pt x="7583" y="9717"/>
                        <a:pt x="7733" y="9935"/>
                      </a:cubicBezTo>
                      <a:lnTo>
                        <a:pt x="9023" y="11754"/>
                      </a:lnTo>
                      <a:lnTo>
                        <a:pt x="9023" y="11766"/>
                      </a:lnTo>
                      <a:cubicBezTo>
                        <a:pt x="9023" y="11766"/>
                        <a:pt x="7484" y="11766"/>
                        <a:pt x="7484" y="11766"/>
                      </a:cubicBezTo>
                      <a:lnTo>
                        <a:pt x="7484" y="10007"/>
                      </a:lnTo>
                      <a:cubicBezTo>
                        <a:pt x="7484" y="9726"/>
                        <a:pt x="7448" y="9401"/>
                        <a:pt x="7448" y="9401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43" name="íṧļïḋe">
                  <a:extLst>
                    <a:ext uri="{FF2B5EF4-FFF2-40B4-BE49-F238E27FC236}">
                      <a16:creationId xmlns:a16="http://schemas.microsoft.com/office/drawing/2014/main" id="{7FAD8DA3-FE91-4D96-9011-AB0B8432145F}"/>
                    </a:ext>
                  </a:extLst>
                </p:cNvPr>
                <p:cNvSpPr/>
                <p:nvPr/>
              </p:nvSpPr>
              <p:spPr>
                <a:xfrm flipH="1">
                  <a:off x="3682225" y="2935540"/>
                  <a:ext cx="425627" cy="6611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14879"/>
                      </a:moveTo>
                      <a:lnTo>
                        <a:pt x="21600" y="0"/>
                      </a:lnTo>
                      <a:lnTo>
                        <a:pt x="0" y="0"/>
                      </a:lnTo>
                      <a:lnTo>
                        <a:pt x="0" y="14879"/>
                      </a:lnTo>
                      <a:cubicBezTo>
                        <a:pt x="0" y="18592"/>
                        <a:pt x="468" y="21600"/>
                        <a:pt x="1044" y="21600"/>
                      </a:cubicBezTo>
                      <a:lnTo>
                        <a:pt x="2443" y="21600"/>
                      </a:lnTo>
                      <a:cubicBezTo>
                        <a:pt x="2645" y="12684"/>
                        <a:pt x="3839" y="5828"/>
                        <a:pt x="5275" y="5828"/>
                      </a:cubicBezTo>
                      <a:cubicBezTo>
                        <a:pt x="6713" y="5828"/>
                        <a:pt x="7907" y="12684"/>
                        <a:pt x="8109" y="21600"/>
                      </a:cubicBezTo>
                      <a:lnTo>
                        <a:pt x="13770" y="21600"/>
                      </a:lnTo>
                      <a:cubicBezTo>
                        <a:pt x="13972" y="12684"/>
                        <a:pt x="15166" y="5828"/>
                        <a:pt x="16604" y="5828"/>
                      </a:cubicBezTo>
                      <a:cubicBezTo>
                        <a:pt x="18044" y="5828"/>
                        <a:pt x="19237" y="12684"/>
                        <a:pt x="19439" y="21600"/>
                      </a:cubicBezTo>
                      <a:lnTo>
                        <a:pt x="20556" y="21600"/>
                      </a:lnTo>
                      <a:cubicBezTo>
                        <a:pt x="21133" y="21600"/>
                        <a:pt x="21600" y="18592"/>
                        <a:pt x="21600" y="14879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44" name="ïṧ1idê">
                  <a:extLst>
                    <a:ext uri="{FF2B5EF4-FFF2-40B4-BE49-F238E27FC236}">
                      <a16:creationId xmlns:a16="http://schemas.microsoft.com/office/drawing/2014/main" id="{2880672F-1CFF-4236-AAA0-4890F113BD76}"/>
                    </a:ext>
                  </a:extLst>
                </p:cNvPr>
                <p:cNvSpPr/>
                <p:nvPr/>
              </p:nvSpPr>
              <p:spPr>
                <a:xfrm flipH="1">
                  <a:off x="3962853" y="2965380"/>
                  <a:ext cx="85320" cy="8537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2" y="16205"/>
                      </a:moveTo>
                      <a:cubicBezTo>
                        <a:pt x="7816" y="16205"/>
                        <a:pt x="5399" y="13775"/>
                        <a:pt x="5399" y="10810"/>
                      </a:cubicBezTo>
                      <a:cubicBezTo>
                        <a:pt x="5399" y="7825"/>
                        <a:pt x="7816" y="5415"/>
                        <a:pt x="10802" y="5415"/>
                      </a:cubicBezTo>
                      <a:cubicBezTo>
                        <a:pt x="13789" y="5415"/>
                        <a:pt x="16197" y="7825"/>
                        <a:pt x="16197" y="10810"/>
                      </a:cubicBezTo>
                      <a:cubicBezTo>
                        <a:pt x="16197" y="13775"/>
                        <a:pt x="13789" y="16205"/>
                        <a:pt x="10802" y="16205"/>
                      </a:cubicBezTo>
                      <a:close/>
                      <a:moveTo>
                        <a:pt x="21600" y="10810"/>
                      </a:moveTo>
                      <a:cubicBezTo>
                        <a:pt x="21600" y="4842"/>
                        <a:pt x="16769" y="0"/>
                        <a:pt x="10802" y="0"/>
                      </a:cubicBezTo>
                      <a:cubicBezTo>
                        <a:pt x="4825" y="0"/>
                        <a:pt x="0" y="4842"/>
                        <a:pt x="0" y="10810"/>
                      </a:cubicBezTo>
                      <a:cubicBezTo>
                        <a:pt x="0" y="16760"/>
                        <a:pt x="4825" y="21600"/>
                        <a:pt x="10802" y="21600"/>
                      </a:cubicBezTo>
                      <a:cubicBezTo>
                        <a:pt x="16769" y="21600"/>
                        <a:pt x="21600" y="16760"/>
                        <a:pt x="21600" y="1081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45" name="îṥliḓe">
                  <a:extLst>
                    <a:ext uri="{FF2B5EF4-FFF2-40B4-BE49-F238E27FC236}">
                      <a16:creationId xmlns:a16="http://schemas.microsoft.com/office/drawing/2014/main" id="{93F42761-A205-4771-972C-5FBC9D0522EF}"/>
                    </a:ext>
                  </a:extLst>
                </p:cNvPr>
                <p:cNvSpPr/>
                <p:nvPr/>
              </p:nvSpPr>
              <p:spPr>
                <a:xfrm flipH="1">
                  <a:off x="3686351" y="2762466"/>
                  <a:ext cx="511022" cy="15826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6325" y="8573"/>
                      </a:moveTo>
                      <a:cubicBezTo>
                        <a:pt x="16325" y="8330"/>
                        <a:pt x="16386" y="8133"/>
                        <a:pt x="16461" y="8133"/>
                      </a:cubicBezTo>
                      <a:lnTo>
                        <a:pt x="17090" y="8133"/>
                      </a:lnTo>
                      <a:cubicBezTo>
                        <a:pt x="17125" y="8133"/>
                        <a:pt x="17160" y="8179"/>
                        <a:pt x="17186" y="8254"/>
                      </a:cubicBezTo>
                      <a:lnTo>
                        <a:pt x="19861" y="16500"/>
                      </a:lnTo>
                      <a:cubicBezTo>
                        <a:pt x="19951" y="16772"/>
                        <a:pt x="19890" y="17258"/>
                        <a:pt x="19768" y="17258"/>
                      </a:cubicBezTo>
                      <a:lnTo>
                        <a:pt x="16461" y="17258"/>
                      </a:lnTo>
                      <a:cubicBezTo>
                        <a:pt x="16386" y="17258"/>
                        <a:pt x="16325" y="17062"/>
                        <a:pt x="16325" y="16818"/>
                      </a:cubicBezTo>
                      <a:cubicBezTo>
                        <a:pt x="16325" y="16818"/>
                        <a:pt x="16325" y="8573"/>
                        <a:pt x="16325" y="8573"/>
                      </a:cubicBezTo>
                      <a:close/>
                      <a:moveTo>
                        <a:pt x="21600" y="21600"/>
                      </a:moveTo>
                      <a:lnTo>
                        <a:pt x="21600" y="19550"/>
                      </a:lnTo>
                      <a:cubicBezTo>
                        <a:pt x="21600" y="18549"/>
                        <a:pt x="21475" y="17595"/>
                        <a:pt x="21259" y="16893"/>
                      </a:cubicBezTo>
                      <a:lnTo>
                        <a:pt x="17841" y="5981"/>
                      </a:lnTo>
                      <a:cubicBezTo>
                        <a:pt x="17623" y="5288"/>
                        <a:pt x="17331" y="4895"/>
                        <a:pt x="17027" y="4895"/>
                      </a:cubicBezTo>
                      <a:lnTo>
                        <a:pt x="15302" y="4895"/>
                      </a:lnTo>
                      <a:lnTo>
                        <a:pt x="15302" y="2807"/>
                      </a:lnTo>
                      <a:cubicBezTo>
                        <a:pt x="15302" y="1254"/>
                        <a:pt x="14913" y="0"/>
                        <a:pt x="14433" y="0"/>
                      </a:cubicBezTo>
                      <a:lnTo>
                        <a:pt x="4479" y="0"/>
                      </a:lnTo>
                      <a:cubicBezTo>
                        <a:pt x="4001" y="0"/>
                        <a:pt x="3609" y="1254"/>
                        <a:pt x="3609" y="2807"/>
                      </a:cubicBezTo>
                      <a:lnTo>
                        <a:pt x="3609" y="3248"/>
                      </a:lnTo>
                      <a:lnTo>
                        <a:pt x="81" y="4560"/>
                      </a:lnTo>
                      <a:lnTo>
                        <a:pt x="6334" y="7189"/>
                      </a:lnTo>
                      <a:lnTo>
                        <a:pt x="0" y="9220"/>
                      </a:lnTo>
                      <a:lnTo>
                        <a:pt x="6311" y="12119"/>
                      </a:lnTo>
                      <a:lnTo>
                        <a:pt x="0" y="13886"/>
                      </a:lnTo>
                      <a:lnTo>
                        <a:pt x="3610" y="16084"/>
                      </a:lnTo>
                      <a:lnTo>
                        <a:pt x="3609" y="21600"/>
                      </a:lnTo>
                      <a:cubicBezTo>
                        <a:pt x="3609" y="21600"/>
                        <a:pt x="21600" y="21600"/>
                        <a:pt x="21600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46" name="işľiďé">
                  <a:extLst>
                    <a:ext uri="{FF2B5EF4-FFF2-40B4-BE49-F238E27FC236}">
                      <a16:creationId xmlns:a16="http://schemas.microsoft.com/office/drawing/2014/main" id="{26798043-216E-4B70-9797-F131835DA93B}"/>
                    </a:ext>
                  </a:extLst>
                </p:cNvPr>
                <p:cNvSpPr/>
                <p:nvPr/>
              </p:nvSpPr>
              <p:spPr>
                <a:xfrm flipH="1">
                  <a:off x="3741964" y="2965380"/>
                  <a:ext cx="85389" cy="8537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11" y="5415"/>
                      </a:moveTo>
                      <a:cubicBezTo>
                        <a:pt x="13776" y="5415"/>
                        <a:pt x="16201" y="7825"/>
                        <a:pt x="16201" y="10810"/>
                      </a:cubicBezTo>
                      <a:cubicBezTo>
                        <a:pt x="16201" y="13775"/>
                        <a:pt x="13776" y="16205"/>
                        <a:pt x="10811" y="16205"/>
                      </a:cubicBezTo>
                      <a:cubicBezTo>
                        <a:pt x="7827" y="16205"/>
                        <a:pt x="5417" y="13775"/>
                        <a:pt x="5417" y="10810"/>
                      </a:cubicBezTo>
                      <a:cubicBezTo>
                        <a:pt x="5417" y="7825"/>
                        <a:pt x="7827" y="5415"/>
                        <a:pt x="10811" y="5415"/>
                      </a:cubicBezTo>
                      <a:close/>
                      <a:moveTo>
                        <a:pt x="10811" y="21600"/>
                      </a:moveTo>
                      <a:cubicBezTo>
                        <a:pt x="16760" y="21600"/>
                        <a:pt x="21600" y="16760"/>
                        <a:pt x="21600" y="10810"/>
                      </a:cubicBezTo>
                      <a:cubicBezTo>
                        <a:pt x="21600" y="4842"/>
                        <a:pt x="16760" y="0"/>
                        <a:pt x="10811" y="0"/>
                      </a:cubicBezTo>
                      <a:cubicBezTo>
                        <a:pt x="4839" y="0"/>
                        <a:pt x="0" y="4842"/>
                        <a:pt x="0" y="10810"/>
                      </a:cubicBezTo>
                      <a:cubicBezTo>
                        <a:pt x="0" y="16760"/>
                        <a:pt x="4843" y="21600"/>
                        <a:pt x="10811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47" name="îṧļiḓè">
                  <a:extLst>
                    <a:ext uri="{FF2B5EF4-FFF2-40B4-BE49-F238E27FC236}">
                      <a16:creationId xmlns:a16="http://schemas.microsoft.com/office/drawing/2014/main" id="{8C47EF13-5B34-4732-8365-9ADFCAA64DD4}"/>
                    </a:ext>
                  </a:extLst>
                </p:cNvPr>
                <p:cNvSpPr/>
                <p:nvPr/>
              </p:nvSpPr>
              <p:spPr>
                <a:xfrm flipH="1">
                  <a:off x="3717350" y="3866558"/>
                  <a:ext cx="32419" cy="4810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285" h="20689" extrusionOk="0">
                      <a:moveTo>
                        <a:pt x="4968" y="19943"/>
                      </a:moveTo>
                      <a:cubicBezTo>
                        <a:pt x="9512" y="21600"/>
                        <a:pt x="15128" y="20404"/>
                        <a:pt x="17528" y="17281"/>
                      </a:cubicBezTo>
                      <a:cubicBezTo>
                        <a:pt x="19939" y="14150"/>
                        <a:pt x="20285" y="0"/>
                        <a:pt x="20285" y="0"/>
                      </a:cubicBezTo>
                      <a:cubicBezTo>
                        <a:pt x="20285" y="0"/>
                        <a:pt x="3481" y="8179"/>
                        <a:pt x="1074" y="11303"/>
                      </a:cubicBezTo>
                      <a:cubicBezTo>
                        <a:pt x="-1315" y="14426"/>
                        <a:pt x="414" y="18304"/>
                        <a:pt x="4968" y="19943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48" name="íS1îḓe">
                  <a:extLst>
                    <a:ext uri="{FF2B5EF4-FFF2-40B4-BE49-F238E27FC236}">
                      <a16:creationId xmlns:a16="http://schemas.microsoft.com/office/drawing/2014/main" id="{1DB4E285-D33D-4ED1-B97E-98EC0B0D1CE1}"/>
                    </a:ext>
                  </a:extLst>
                </p:cNvPr>
                <p:cNvSpPr/>
                <p:nvPr/>
              </p:nvSpPr>
              <p:spPr>
                <a:xfrm flipH="1">
                  <a:off x="3537704" y="3932207"/>
                  <a:ext cx="456756" cy="40387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1446" y="1278"/>
                      </a:moveTo>
                      <a:lnTo>
                        <a:pt x="11446" y="731"/>
                      </a:lnTo>
                      <a:cubicBezTo>
                        <a:pt x="11446" y="327"/>
                        <a:pt x="11156" y="0"/>
                        <a:pt x="10799" y="0"/>
                      </a:cubicBezTo>
                      <a:cubicBezTo>
                        <a:pt x="10443" y="0"/>
                        <a:pt x="10153" y="327"/>
                        <a:pt x="10153" y="731"/>
                      </a:cubicBezTo>
                      <a:lnTo>
                        <a:pt x="10153" y="1278"/>
                      </a:lnTo>
                      <a:cubicBezTo>
                        <a:pt x="4754" y="1587"/>
                        <a:pt x="422" y="5726"/>
                        <a:pt x="0" y="10935"/>
                      </a:cubicBezTo>
                      <a:cubicBezTo>
                        <a:pt x="524" y="10509"/>
                        <a:pt x="1321" y="10237"/>
                        <a:pt x="2213" y="10237"/>
                      </a:cubicBezTo>
                      <a:cubicBezTo>
                        <a:pt x="3600" y="10237"/>
                        <a:pt x="4757" y="10896"/>
                        <a:pt x="5019" y="11769"/>
                      </a:cubicBezTo>
                      <a:lnTo>
                        <a:pt x="5134" y="11769"/>
                      </a:lnTo>
                      <a:cubicBezTo>
                        <a:pt x="5402" y="10901"/>
                        <a:pt x="6555" y="10248"/>
                        <a:pt x="7937" y="10248"/>
                      </a:cubicBezTo>
                      <a:cubicBezTo>
                        <a:pt x="8831" y="10248"/>
                        <a:pt x="9628" y="10522"/>
                        <a:pt x="10152" y="10950"/>
                      </a:cubicBezTo>
                      <a:lnTo>
                        <a:pt x="10152" y="18284"/>
                      </a:lnTo>
                      <a:cubicBezTo>
                        <a:pt x="10152" y="19306"/>
                        <a:pt x="9418" y="20137"/>
                        <a:pt x="8515" y="20137"/>
                      </a:cubicBezTo>
                      <a:cubicBezTo>
                        <a:pt x="7612" y="20137"/>
                        <a:pt x="6876" y="19306"/>
                        <a:pt x="6876" y="18284"/>
                      </a:cubicBezTo>
                      <a:cubicBezTo>
                        <a:pt x="6876" y="17881"/>
                        <a:pt x="6587" y="17553"/>
                        <a:pt x="6229" y="17553"/>
                      </a:cubicBezTo>
                      <a:cubicBezTo>
                        <a:pt x="5873" y="17553"/>
                        <a:pt x="5583" y="17881"/>
                        <a:pt x="5583" y="18284"/>
                      </a:cubicBezTo>
                      <a:cubicBezTo>
                        <a:pt x="5583" y="20113"/>
                        <a:pt x="6898" y="21600"/>
                        <a:pt x="8515" y="21600"/>
                      </a:cubicBezTo>
                      <a:cubicBezTo>
                        <a:pt x="10131" y="21600"/>
                        <a:pt x="11446" y="20113"/>
                        <a:pt x="11446" y="18284"/>
                      </a:cubicBezTo>
                      <a:lnTo>
                        <a:pt x="11446" y="10939"/>
                      </a:lnTo>
                      <a:cubicBezTo>
                        <a:pt x="11971" y="10511"/>
                        <a:pt x="12767" y="10237"/>
                        <a:pt x="13661" y="10237"/>
                      </a:cubicBezTo>
                      <a:cubicBezTo>
                        <a:pt x="15049" y="10237"/>
                        <a:pt x="16206" y="10896"/>
                        <a:pt x="16467" y="11769"/>
                      </a:cubicBezTo>
                      <a:lnTo>
                        <a:pt x="16582" y="11769"/>
                      </a:lnTo>
                      <a:cubicBezTo>
                        <a:pt x="16851" y="10901"/>
                        <a:pt x="18003" y="10248"/>
                        <a:pt x="19386" y="10248"/>
                      </a:cubicBezTo>
                      <a:cubicBezTo>
                        <a:pt x="20278" y="10248"/>
                        <a:pt x="21074" y="10521"/>
                        <a:pt x="21600" y="10946"/>
                      </a:cubicBezTo>
                      <a:cubicBezTo>
                        <a:pt x="21183" y="5733"/>
                        <a:pt x="16848" y="1587"/>
                        <a:pt x="11446" y="1278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49" name="îŝlídè">
                  <a:extLst>
                    <a:ext uri="{FF2B5EF4-FFF2-40B4-BE49-F238E27FC236}">
                      <a16:creationId xmlns:a16="http://schemas.microsoft.com/office/drawing/2014/main" id="{7E2F9D6C-9FDD-47A1-838E-D41F981E1024}"/>
                    </a:ext>
                  </a:extLst>
                </p:cNvPr>
                <p:cNvSpPr/>
                <p:nvPr/>
              </p:nvSpPr>
              <p:spPr>
                <a:xfrm flipH="1">
                  <a:off x="3657675" y="3890430"/>
                  <a:ext cx="32412" cy="4809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280" h="20692" extrusionOk="0">
                      <a:moveTo>
                        <a:pt x="4956" y="19953"/>
                      </a:moveTo>
                      <a:cubicBezTo>
                        <a:pt x="9511" y="21600"/>
                        <a:pt x="15138" y="20404"/>
                        <a:pt x="17538" y="17279"/>
                      </a:cubicBezTo>
                      <a:cubicBezTo>
                        <a:pt x="19934" y="14163"/>
                        <a:pt x="20280" y="0"/>
                        <a:pt x="20280" y="0"/>
                      </a:cubicBezTo>
                      <a:cubicBezTo>
                        <a:pt x="20280" y="0"/>
                        <a:pt x="3468" y="8185"/>
                        <a:pt x="1080" y="11309"/>
                      </a:cubicBezTo>
                      <a:cubicBezTo>
                        <a:pt x="-1320" y="14433"/>
                        <a:pt x="412" y="18303"/>
                        <a:pt x="4956" y="19953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50" name="ïṧḻïdè">
                  <a:extLst>
                    <a:ext uri="{FF2B5EF4-FFF2-40B4-BE49-F238E27FC236}">
                      <a16:creationId xmlns:a16="http://schemas.microsoft.com/office/drawing/2014/main" id="{6D618B93-930C-4332-B449-46E10ECE0783}"/>
                    </a:ext>
                  </a:extLst>
                </p:cNvPr>
                <p:cNvSpPr/>
                <p:nvPr/>
              </p:nvSpPr>
              <p:spPr>
                <a:xfrm flipH="1">
                  <a:off x="3783011" y="3866558"/>
                  <a:ext cx="32406" cy="4810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277" h="20689" extrusionOk="0">
                      <a:moveTo>
                        <a:pt x="1077" y="11303"/>
                      </a:moveTo>
                      <a:cubicBezTo>
                        <a:pt x="-1323" y="14426"/>
                        <a:pt x="427" y="18304"/>
                        <a:pt x="4960" y="19943"/>
                      </a:cubicBezTo>
                      <a:cubicBezTo>
                        <a:pt x="9504" y="21600"/>
                        <a:pt x="15146" y="20404"/>
                        <a:pt x="17546" y="17281"/>
                      </a:cubicBezTo>
                      <a:cubicBezTo>
                        <a:pt x="19931" y="14150"/>
                        <a:pt x="20277" y="0"/>
                        <a:pt x="20277" y="0"/>
                      </a:cubicBezTo>
                      <a:cubicBezTo>
                        <a:pt x="20277" y="0"/>
                        <a:pt x="3473" y="8179"/>
                        <a:pt x="1077" y="11303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51" name="ïṡḷíḑè">
                  <a:extLst>
                    <a:ext uri="{FF2B5EF4-FFF2-40B4-BE49-F238E27FC236}">
                      <a16:creationId xmlns:a16="http://schemas.microsoft.com/office/drawing/2014/main" id="{BD1E1F11-58F3-4BB9-A561-4186201B6515}"/>
                    </a:ext>
                  </a:extLst>
                </p:cNvPr>
                <p:cNvSpPr/>
                <p:nvPr/>
              </p:nvSpPr>
              <p:spPr>
                <a:xfrm flipH="1">
                  <a:off x="3842706" y="3890430"/>
                  <a:ext cx="32391" cy="4810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278" h="20694" extrusionOk="0">
                      <a:moveTo>
                        <a:pt x="4954" y="19958"/>
                      </a:moveTo>
                      <a:cubicBezTo>
                        <a:pt x="9511" y="21600"/>
                        <a:pt x="15144" y="20402"/>
                        <a:pt x="17545" y="17285"/>
                      </a:cubicBezTo>
                      <a:cubicBezTo>
                        <a:pt x="19942" y="14163"/>
                        <a:pt x="20278" y="0"/>
                        <a:pt x="20278" y="0"/>
                      </a:cubicBezTo>
                      <a:cubicBezTo>
                        <a:pt x="20278" y="0"/>
                        <a:pt x="3480" y="8184"/>
                        <a:pt x="1079" y="11308"/>
                      </a:cubicBezTo>
                      <a:cubicBezTo>
                        <a:pt x="-1322" y="14432"/>
                        <a:pt x="422" y="18300"/>
                        <a:pt x="4954" y="19958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52" name="isḷiḋé">
                  <a:extLst>
                    <a:ext uri="{FF2B5EF4-FFF2-40B4-BE49-F238E27FC236}">
                      <a16:creationId xmlns:a16="http://schemas.microsoft.com/office/drawing/2014/main" id="{CEE6B012-30B8-4CAD-B490-0609F8132E59}"/>
                    </a:ext>
                  </a:extLst>
                </p:cNvPr>
                <p:cNvSpPr/>
                <p:nvPr/>
              </p:nvSpPr>
              <p:spPr>
                <a:xfrm flipH="1">
                  <a:off x="3930463" y="1771849"/>
                  <a:ext cx="475854" cy="40878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4810" y="0"/>
                      </a:moveTo>
                      <a:cubicBezTo>
                        <a:pt x="3153" y="0"/>
                        <a:pt x="1792" y="1493"/>
                        <a:pt x="1666" y="3387"/>
                      </a:cubicBezTo>
                      <a:cubicBezTo>
                        <a:pt x="677" y="4008"/>
                        <a:pt x="0" y="5219"/>
                        <a:pt x="0" y="6616"/>
                      </a:cubicBezTo>
                      <a:lnTo>
                        <a:pt x="0" y="17930"/>
                      </a:lnTo>
                      <a:cubicBezTo>
                        <a:pt x="0" y="19956"/>
                        <a:pt x="1422" y="21600"/>
                        <a:pt x="3162" y="21600"/>
                      </a:cubicBezTo>
                      <a:lnTo>
                        <a:pt x="18438" y="21600"/>
                      </a:lnTo>
                      <a:cubicBezTo>
                        <a:pt x="20179" y="21600"/>
                        <a:pt x="21600" y="19956"/>
                        <a:pt x="21600" y="17930"/>
                      </a:cubicBezTo>
                      <a:lnTo>
                        <a:pt x="21600" y="3670"/>
                      </a:lnTo>
                      <a:cubicBezTo>
                        <a:pt x="21600" y="1644"/>
                        <a:pt x="20179" y="0"/>
                        <a:pt x="18438" y="0"/>
                      </a:cubicBezTo>
                      <a:lnTo>
                        <a:pt x="4810" y="0"/>
                      </a:lnTo>
                      <a:close/>
                      <a:moveTo>
                        <a:pt x="4810" y="1982"/>
                      </a:moveTo>
                      <a:lnTo>
                        <a:pt x="18438" y="1982"/>
                      </a:lnTo>
                      <a:cubicBezTo>
                        <a:pt x="19237" y="1982"/>
                        <a:pt x="19889" y="2741"/>
                        <a:pt x="19889" y="3670"/>
                      </a:cubicBezTo>
                      <a:lnTo>
                        <a:pt x="19889" y="17930"/>
                      </a:lnTo>
                      <a:cubicBezTo>
                        <a:pt x="19888" y="18859"/>
                        <a:pt x="19237" y="19608"/>
                        <a:pt x="18438" y="19608"/>
                      </a:cubicBezTo>
                      <a:lnTo>
                        <a:pt x="4810" y="19608"/>
                      </a:lnTo>
                      <a:cubicBezTo>
                        <a:pt x="4014" y="19608"/>
                        <a:pt x="3369" y="18859"/>
                        <a:pt x="3369" y="17930"/>
                      </a:cubicBezTo>
                      <a:cubicBezTo>
                        <a:pt x="3369" y="17930"/>
                        <a:pt x="3369" y="3670"/>
                        <a:pt x="3369" y="3670"/>
                      </a:cubicBezTo>
                      <a:cubicBezTo>
                        <a:pt x="3369" y="2741"/>
                        <a:pt x="4014" y="1982"/>
                        <a:pt x="4810" y="1982"/>
                      </a:cubicBezTo>
                      <a:close/>
                      <a:moveTo>
                        <a:pt x="5450" y="3146"/>
                      </a:moveTo>
                      <a:cubicBezTo>
                        <a:pt x="5103" y="3146"/>
                        <a:pt x="4730" y="3267"/>
                        <a:pt x="4459" y="3460"/>
                      </a:cubicBezTo>
                      <a:cubicBezTo>
                        <a:pt x="4357" y="3532"/>
                        <a:pt x="4279" y="3650"/>
                        <a:pt x="4252" y="3785"/>
                      </a:cubicBezTo>
                      <a:cubicBezTo>
                        <a:pt x="4224" y="3920"/>
                        <a:pt x="4251" y="4056"/>
                        <a:pt x="4315" y="4173"/>
                      </a:cubicBezTo>
                      <a:lnTo>
                        <a:pt x="4333" y="4205"/>
                      </a:lnTo>
                      <a:cubicBezTo>
                        <a:pt x="4460" y="4445"/>
                        <a:pt x="4728" y="4519"/>
                        <a:pt x="4936" y="4372"/>
                      </a:cubicBezTo>
                      <a:cubicBezTo>
                        <a:pt x="5060" y="4286"/>
                        <a:pt x="5273" y="4226"/>
                        <a:pt x="5450" y="4226"/>
                      </a:cubicBezTo>
                      <a:cubicBezTo>
                        <a:pt x="5715" y="4226"/>
                        <a:pt x="5891" y="4317"/>
                        <a:pt x="5891" y="4404"/>
                      </a:cubicBezTo>
                      <a:cubicBezTo>
                        <a:pt x="5891" y="4549"/>
                        <a:pt x="5842" y="4623"/>
                        <a:pt x="5332" y="4802"/>
                      </a:cubicBezTo>
                      <a:cubicBezTo>
                        <a:pt x="4873" y="4964"/>
                        <a:pt x="4102" y="5232"/>
                        <a:pt x="4107" y="6260"/>
                      </a:cubicBezTo>
                      <a:cubicBezTo>
                        <a:pt x="4107" y="6918"/>
                        <a:pt x="4553" y="7591"/>
                        <a:pt x="5540" y="7591"/>
                      </a:cubicBezTo>
                      <a:cubicBezTo>
                        <a:pt x="6008" y="7591"/>
                        <a:pt x="6508" y="7356"/>
                        <a:pt x="6837" y="6983"/>
                      </a:cubicBezTo>
                      <a:cubicBezTo>
                        <a:pt x="6921" y="6886"/>
                        <a:pt x="6970" y="6755"/>
                        <a:pt x="6972" y="6616"/>
                      </a:cubicBezTo>
                      <a:cubicBezTo>
                        <a:pt x="6973" y="6478"/>
                        <a:pt x="6921" y="6347"/>
                        <a:pt x="6837" y="6249"/>
                      </a:cubicBezTo>
                      <a:lnTo>
                        <a:pt x="6810" y="6218"/>
                      </a:lnTo>
                      <a:cubicBezTo>
                        <a:pt x="6726" y="6121"/>
                        <a:pt x="6612" y="6071"/>
                        <a:pt x="6494" y="6071"/>
                      </a:cubicBezTo>
                      <a:cubicBezTo>
                        <a:pt x="6376" y="6071"/>
                        <a:pt x="6271" y="6120"/>
                        <a:pt x="6188" y="6218"/>
                      </a:cubicBezTo>
                      <a:cubicBezTo>
                        <a:pt x="6038" y="6392"/>
                        <a:pt x="5776" y="6511"/>
                        <a:pt x="5540" y="6511"/>
                      </a:cubicBezTo>
                      <a:cubicBezTo>
                        <a:pt x="5298" y="6511"/>
                        <a:pt x="5035" y="6433"/>
                        <a:pt x="5035" y="6260"/>
                      </a:cubicBezTo>
                      <a:cubicBezTo>
                        <a:pt x="5034" y="6093"/>
                        <a:pt x="5088" y="6015"/>
                        <a:pt x="5612" y="5830"/>
                      </a:cubicBezTo>
                      <a:cubicBezTo>
                        <a:pt x="6093" y="5660"/>
                        <a:pt x="6819" y="5405"/>
                        <a:pt x="6819" y="4404"/>
                      </a:cubicBezTo>
                      <a:cubicBezTo>
                        <a:pt x="6819" y="3778"/>
                        <a:pt x="6396" y="3146"/>
                        <a:pt x="5450" y="3146"/>
                      </a:cubicBezTo>
                      <a:close/>
                      <a:moveTo>
                        <a:pt x="7629" y="3146"/>
                      </a:moveTo>
                      <a:cubicBezTo>
                        <a:pt x="7485" y="3146"/>
                        <a:pt x="7344" y="3230"/>
                        <a:pt x="7260" y="3366"/>
                      </a:cubicBezTo>
                      <a:cubicBezTo>
                        <a:pt x="7177" y="3502"/>
                        <a:pt x="7160" y="3680"/>
                        <a:pt x="7206" y="3838"/>
                      </a:cubicBezTo>
                      <a:lnTo>
                        <a:pt x="8197" y="7235"/>
                      </a:lnTo>
                      <a:cubicBezTo>
                        <a:pt x="8259" y="7445"/>
                        <a:pt x="8429" y="7591"/>
                        <a:pt x="8620" y="7591"/>
                      </a:cubicBezTo>
                      <a:lnTo>
                        <a:pt x="8638" y="7591"/>
                      </a:lnTo>
                      <a:lnTo>
                        <a:pt x="8674" y="7591"/>
                      </a:lnTo>
                      <a:cubicBezTo>
                        <a:pt x="8866" y="7591"/>
                        <a:pt x="9028" y="7446"/>
                        <a:pt x="9089" y="7235"/>
                      </a:cubicBezTo>
                      <a:lnTo>
                        <a:pt x="9647" y="5316"/>
                      </a:lnTo>
                      <a:lnTo>
                        <a:pt x="10206" y="7235"/>
                      </a:lnTo>
                      <a:cubicBezTo>
                        <a:pt x="10267" y="7445"/>
                        <a:pt x="10438" y="7591"/>
                        <a:pt x="10629" y="7591"/>
                      </a:cubicBezTo>
                      <a:lnTo>
                        <a:pt x="10647" y="7591"/>
                      </a:lnTo>
                      <a:cubicBezTo>
                        <a:pt x="10648" y="7591"/>
                        <a:pt x="10653" y="7591"/>
                        <a:pt x="10656" y="7591"/>
                      </a:cubicBezTo>
                      <a:lnTo>
                        <a:pt x="10683" y="7591"/>
                      </a:lnTo>
                      <a:cubicBezTo>
                        <a:pt x="10874" y="7591"/>
                        <a:pt x="11037" y="7445"/>
                        <a:pt x="11097" y="7235"/>
                      </a:cubicBezTo>
                      <a:lnTo>
                        <a:pt x="12088" y="3838"/>
                      </a:lnTo>
                      <a:cubicBezTo>
                        <a:pt x="12134" y="3680"/>
                        <a:pt x="12118" y="3502"/>
                        <a:pt x="12034" y="3366"/>
                      </a:cubicBezTo>
                      <a:cubicBezTo>
                        <a:pt x="11950" y="3230"/>
                        <a:pt x="11817" y="3146"/>
                        <a:pt x="11674" y="3146"/>
                      </a:cubicBezTo>
                      <a:lnTo>
                        <a:pt x="11629" y="3146"/>
                      </a:lnTo>
                      <a:cubicBezTo>
                        <a:pt x="11437" y="3146"/>
                        <a:pt x="11265" y="3290"/>
                        <a:pt x="11205" y="3502"/>
                      </a:cubicBezTo>
                      <a:lnTo>
                        <a:pt x="10647" y="5431"/>
                      </a:lnTo>
                      <a:lnTo>
                        <a:pt x="10097" y="3502"/>
                      </a:lnTo>
                      <a:cubicBezTo>
                        <a:pt x="10036" y="3290"/>
                        <a:pt x="9866" y="3146"/>
                        <a:pt x="9674" y="3146"/>
                      </a:cubicBezTo>
                      <a:lnTo>
                        <a:pt x="9620" y="3146"/>
                      </a:lnTo>
                      <a:cubicBezTo>
                        <a:pt x="9429" y="3146"/>
                        <a:pt x="9257" y="3290"/>
                        <a:pt x="9197" y="3502"/>
                      </a:cubicBezTo>
                      <a:lnTo>
                        <a:pt x="8638" y="5431"/>
                      </a:lnTo>
                      <a:lnTo>
                        <a:pt x="8089" y="3502"/>
                      </a:lnTo>
                      <a:cubicBezTo>
                        <a:pt x="8029" y="3290"/>
                        <a:pt x="7866" y="3146"/>
                        <a:pt x="7674" y="3146"/>
                      </a:cubicBezTo>
                      <a:lnTo>
                        <a:pt x="7629" y="3146"/>
                      </a:lnTo>
                      <a:close/>
                      <a:moveTo>
                        <a:pt x="12565" y="3146"/>
                      </a:moveTo>
                      <a:cubicBezTo>
                        <a:pt x="12319" y="3146"/>
                        <a:pt x="12124" y="3384"/>
                        <a:pt x="12124" y="3670"/>
                      </a:cubicBezTo>
                      <a:lnTo>
                        <a:pt x="12124" y="3712"/>
                      </a:lnTo>
                      <a:cubicBezTo>
                        <a:pt x="12124" y="3999"/>
                        <a:pt x="12319" y="4226"/>
                        <a:pt x="12565" y="4226"/>
                      </a:cubicBezTo>
                      <a:lnTo>
                        <a:pt x="13899" y="4226"/>
                      </a:lnTo>
                      <a:lnTo>
                        <a:pt x="13899" y="4781"/>
                      </a:lnTo>
                      <a:lnTo>
                        <a:pt x="12764" y="4781"/>
                      </a:lnTo>
                      <a:cubicBezTo>
                        <a:pt x="12518" y="4781"/>
                        <a:pt x="12322" y="5008"/>
                        <a:pt x="12322" y="5295"/>
                      </a:cubicBezTo>
                      <a:lnTo>
                        <a:pt x="12322" y="5337"/>
                      </a:lnTo>
                      <a:cubicBezTo>
                        <a:pt x="12322" y="5623"/>
                        <a:pt x="12518" y="5861"/>
                        <a:pt x="12764" y="5861"/>
                      </a:cubicBezTo>
                      <a:lnTo>
                        <a:pt x="13899" y="5861"/>
                      </a:lnTo>
                      <a:lnTo>
                        <a:pt x="13899" y="6553"/>
                      </a:lnTo>
                      <a:lnTo>
                        <a:pt x="12511" y="6553"/>
                      </a:lnTo>
                      <a:cubicBezTo>
                        <a:pt x="12265" y="6553"/>
                        <a:pt x="12061" y="6781"/>
                        <a:pt x="12061" y="7067"/>
                      </a:cubicBezTo>
                      <a:cubicBezTo>
                        <a:pt x="12061" y="7354"/>
                        <a:pt x="12266" y="7591"/>
                        <a:pt x="12511" y="7591"/>
                      </a:cubicBezTo>
                      <a:lnTo>
                        <a:pt x="14376" y="7591"/>
                      </a:lnTo>
                      <a:cubicBezTo>
                        <a:pt x="14623" y="7591"/>
                        <a:pt x="14826" y="7354"/>
                        <a:pt x="14826" y="7067"/>
                      </a:cubicBezTo>
                      <a:lnTo>
                        <a:pt x="14826" y="3670"/>
                      </a:lnTo>
                      <a:cubicBezTo>
                        <a:pt x="14826" y="3384"/>
                        <a:pt x="14623" y="3146"/>
                        <a:pt x="14376" y="3146"/>
                      </a:cubicBezTo>
                      <a:lnTo>
                        <a:pt x="12565" y="3146"/>
                      </a:lnTo>
                      <a:close/>
                      <a:moveTo>
                        <a:pt x="15907" y="3146"/>
                      </a:moveTo>
                      <a:cubicBezTo>
                        <a:pt x="15661" y="3146"/>
                        <a:pt x="15466" y="3384"/>
                        <a:pt x="15466" y="3670"/>
                      </a:cubicBezTo>
                      <a:lnTo>
                        <a:pt x="15466" y="7067"/>
                      </a:lnTo>
                      <a:cubicBezTo>
                        <a:pt x="15466" y="7354"/>
                        <a:pt x="15661" y="7591"/>
                        <a:pt x="15907" y="7591"/>
                      </a:cubicBezTo>
                      <a:lnTo>
                        <a:pt x="15943" y="7591"/>
                      </a:lnTo>
                      <a:cubicBezTo>
                        <a:pt x="15946" y="7591"/>
                        <a:pt x="15950" y="7591"/>
                        <a:pt x="15952" y="7591"/>
                      </a:cubicBezTo>
                      <a:cubicBezTo>
                        <a:pt x="15954" y="7591"/>
                        <a:pt x="15960" y="7591"/>
                        <a:pt x="15961" y="7591"/>
                      </a:cubicBezTo>
                      <a:lnTo>
                        <a:pt x="15997" y="7591"/>
                      </a:lnTo>
                      <a:cubicBezTo>
                        <a:pt x="16140" y="7591"/>
                        <a:pt x="16273" y="7516"/>
                        <a:pt x="16358" y="7382"/>
                      </a:cubicBezTo>
                      <a:lnTo>
                        <a:pt x="17691" y="5243"/>
                      </a:lnTo>
                      <a:lnTo>
                        <a:pt x="17691" y="7067"/>
                      </a:lnTo>
                      <a:cubicBezTo>
                        <a:pt x="17691" y="7354"/>
                        <a:pt x="17894" y="7591"/>
                        <a:pt x="18141" y="7591"/>
                      </a:cubicBezTo>
                      <a:lnTo>
                        <a:pt x="18168" y="7591"/>
                      </a:lnTo>
                      <a:cubicBezTo>
                        <a:pt x="18414" y="7591"/>
                        <a:pt x="18619" y="7354"/>
                        <a:pt x="18619" y="7067"/>
                      </a:cubicBezTo>
                      <a:lnTo>
                        <a:pt x="18619" y="3670"/>
                      </a:lnTo>
                      <a:cubicBezTo>
                        <a:pt x="18618" y="3384"/>
                        <a:pt x="18414" y="3146"/>
                        <a:pt x="18168" y="3146"/>
                      </a:cubicBezTo>
                      <a:lnTo>
                        <a:pt x="18141" y="3146"/>
                      </a:lnTo>
                      <a:cubicBezTo>
                        <a:pt x="18138" y="3146"/>
                        <a:pt x="18135" y="3146"/>
                        <a:pt x="18132" y="3146"/>
                      </a:cubicBezTo>
                      <a:cubicBezTo>
                        <a:pt x="18131" y="3146"/>
                        <a:pt x="18125" y="3146"/>
                        <a:pt x="18123" y="3146"/>
                      </a:cubicBezTo>
                      <a:lnTo>
                        <a:pt x="18078" y="3146"/>
                      </a:lnTo>
                      <a:cubicBezTo>
                        <a:pt x="17936" y="3146"/>
                        <a:pt x="17802" y="3231"/>
                        <a:pt x="17718" y="3366"/>
                      </a:cubicBezTo>
                      <a:lnTo>
                        <a:pt x="16394" y="5494"/>
                      </a:lnTo>
                      <a:lnTo>
                        <a:pt x="16394" y="3670"/>
                      </a:lnTo>
                      <a:cubicBezTo>
                        <a:pt x="16394" y="3384"/>
                        <a:pt x="16189" y="3146"/>
                        <a:pt x="15943" y="3146"/>
                      </a:cubicBezTo>
                      <a:lnTo>
                        <a:pt x="15907" y="3146"/>
                      </a:lnTo>
                      <a:close/>
                      <a:moveTo>
                        <a:pt x="4819" y="8829"/>
                      </a:moveTo>
                      <a:cubicBezTo>
                        <a:pt x="4544" y="8829"/>
                        <a:pt x="4324" y="9087"/>
                        <a:pt x="4324" y="9405"/>
                      </a:cubicBezTo>
                      <a:lnTo>
                        <a:pt x="4324" y="17154"/>
                      </a:lnTo>
                      <a:cubicBezTo>
                        <a:pt x="4324" y="17472"/>
                        <a:pt x="4544" y="17731"/>
                        <a:pt x="4819" y="17731"/>
                      </a:cubicBezTo>
                      <a:lnTo>
                        <a:pt x="11349" y="17731"/>
                      </a:lnTo>
                      <a:cubicBezTo>
                        <a:pt x="11622" y="17731"/>
                        <a:pt x="11845" y="17472"/>
                        <a:pt x="11845" y="17154"/>
                      </a:cubicBezTo>
                      <a:lnTo>
                        <a:pt x="11845" y="9405"/>
                      </a:lnTo>
                      <a:cubicBezTo>
                        <a:pt x="11845" y="9087"/>
                        <a:pt x="11622" y="8829"/>
                        <a:pt x="11349" y="8829"/>
                      </a:cubicBezTo>
                      <a:lnTo>
                        <a:pt x="4819" y="8829"/>
                      </a:lnTo>
                      <a:close/>
                      <a:moveTo>
                        <a:pt x="13529" y="9143"/>
                      </a:moveTo>
                      <a:cubicBezTo>
                        <a:pt x="13057" y="9143"/>
                        <a:pt x="12674" y="9590"/>
                        <a:pt x="12674" y="10139"/>
                      </a:cubicBezTo>
                      <a:cubicBezTo>
                        <a:pt x="12674" y="10688"/>
                        <a:pt x="13058" y="11136"/>
                        <a:pt x="13529" y="11136"/>
                      </a:cubicBezTo>
                      <a:lnTo>
                        <a:pt x="17763" y="11136"/>
                      </a:lnTo>
                      <a:cubicBezTo>
                        <a:pt x="18235" y="11136"/>
                        <a:pt x="18619" y="10688"/>
                        <a:pt x="18619" y="10139"/>
                      </a:cubicBezTo>
                      <a:cubicBezTo>
                        <a:pt x="18618" y="9590"/>
                        <a:pt x="18235" y="9143"/>
                        <a:pt x="17763" y="9143"/>
                      </a:cubicBezTo>
                      <a:lnTo>
                        <a:pt x="13529" y="9143"/>
                      </a:lnTo>
                      <a:close/>
                      <a:moveTo>
                        <a:pt x="13529" y="12299"/>
                      </a:moveTo>
                      <a:cubicBezTo>
                        <a:pt x="13057" y="12299"/>
                        <a:pt x="12674" y="12736"/>
                        <a:pt x="12674" y="13285"/>
                      </a:cubicBezTo>
                      <a:cubicBezTo>
                        <a:pt x="12674" y="13835"/>
                        <a:pt x="13058" y="14281"/>
                        <a:pt x="13529" y="14281"/>
                      </a:cubicBezTo>
                      <a:lnTo>
                        <a:pt x="17763" y="14281"/>
                      </a:lnTo>
                      <a:cubicBezTo>
                        <a:pt x="18235" y="14281"/>
                        <a:pt x="18619" y="13835"/>
                        <a:pt x="18619" y="13285"/>
                      </a:cubicBezTo>
                      <a:cubicBezTo>
                        <a:pt x="18618" y="12736"/>
                        <a:pt x="18235" y="12299"/>
                        <a:pt x="17763" y="12299"/>
                      </a:cubicBezTo>
                      <a:lnTo>
                        <a:pt x="13529" y="12299"/>
                      </a:lnTo>
                      <a:close/>
                      <a:moveTo>
                        <a:pt x="13529" y="15760"/>
                      </a:moveTo>
                      <a:cubicBezTo>
                        <a:pt x="13057" y="15760"/>
                        <a:pt x="12674" y="16206"/>
                        <a:pt x="12674" y="16756"/>
                      </a:cubicBezTo>
                      <a:cubicBezTo>
                        <a:pt x="12674" y="17305"/>
                        <a:pt x="13058" y="17752"/>
                        <a:pt x="13529" y="17752"/>
                      </a:cubicBezTo>
                      <a:lnTo>
                        <a:pt x="17763" y="17752"/>
                      </a:lnTo>
                      <a:cubicBezTo>
                        <a:pt x="18235" y="17752"/>
                        <a:pt x="18619" y="17305"/>
                        <a:pt x="18619" y="16756"/>
                      </a:cubicBezTo>
                      <a:cubicBezTo>
                        <a:pt x="18618" y="16206"/>
                        <a:pt x="18235" y="15760"/>
                        <a:pt x="17763" y="15760"/>
                      </a:cubicBezTo>
                      <a:lnTo>
                        <a:pt x="13529" y="15760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53" name="íṣ1ïḑe">
                  <a:extLst>
                    <a:ext uri="{FF2B5EF4-FFF2-40B4-BE49-F238E27FC236}">
                      <a16:creationId xmlns:a16="http://schemas.microsoft.com/office/drawing/2014/main" id="{7BE2BCE2-40BA-4A2F-80F6-3997D15DCF25}"/>
                    </a:ext>
                  </a:extLst>
                </p:cNvPr>
                <p:cNvSpPr/>
                <p:nvPr/>
              </p:nvSpPr>
              <p:spPr>
                <a:xfrm flipH="1">
                  <a:off x="3589563" y="673643"/>
                  <a:ext cx="321344" cy="30790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7033" y="9278"/>
                      </a:moveTo>
                      <a:cubicBezTo>
                        <a:pt x="9373" y="9278"/>
                        <a:pt x="11270" y="11258"/>
                        <a:pt x="11270" y="13700"/>
                      </a:cubicBezTo>
                      <a:cubicBezTo>
                        <a:pt x="11270" y="16142"/>
                        <a:pt x="9373" y="18121"/>
                        <a:pt x="7033" y="18121"/>
                      </a:cubicBezTo>
                      <a:cubicBezTo>
                        <a:pt x="4694" y="18121"/>
                        <a:pt x="2797" y="16142"/>
                        <a:pt x="2797" y="13700"/>
                      </a:cubicBezTo>
                      <a:cubicBezTo>
                        <a:pt x="2797" y="11258"/>
                        <a:pt x="4694" y="9278"/>
                        <a:pt x="7033" y="9278"/>
                      </a:cubicBezTo>
                      <a:close/>
                      <a:moveTo>
                        <a:pt x="15036" y="14654"/>
                      </a:moveTo>
                      <a:lnTo>
                        <a:pt x="19316" y="14654"/>
                      </a:lnTo>
                      <a:lnTo>
                        <a:pt x="19316" y="16907"/>
                      </a:lnTo>
                      <a:lnTo>
                        <a:pt x="15036" y="16907"/>
                      </a:lnTo>
                      <a:cubicBezTo>
                        <a:pt x="14441" y="16907"/>
                        <a:pt x="13957" y="16403"/>
                        <a:pt x="13957" y="15781"/>
                      </a:cubicBezTo>
                      <a:cubicBezTo>
                        <a:pt x="13957" y="15157"/>
                        <a:pt x="14441" y="14654"/>
                        <a:pt x="15036" y="14654"/>
                      </a:cubicBezTo>
                      <a:close/>
                      <a:moveTo>
                        <a:pt x="15036" y="10491"/>
                      </a:moveTo>
                      <a:lnTo>
                        <a:pt x="19316" y="10491"/>
                      </a:lnTo>
                      <a:lnTo>
                        <a:pt x="19316" y="12746"/>
                      </a:lnTo>
                      <a:lnTo>
                        <a:pt x="15036" y="12746"/>
                      </a:lnTo>
                      <a:cubicBezTo>
                        <a:pt x="14441" y="12746"/>
                        <a:pt x="13957" y="12241"/>
                        <a:pt x="13957" y="11618"/>
                      </a:cubicBezTo>
                      <a:cubicBezTo>
                        <a:pt x="13957" y="10996"/>
                        <a:pt x="14441" y="10491"/>
                        <a:pt x="15036" y="10491"/>
                      </a:cubicBezTo>
                      <a:close/>
                      <a:moveTo>
                        <a:pt x="1757" y="21600"/>
                      </a:moveTo>
                      <a:lnTo>
                        <a:pt x="19843" y="21600"/>
                      </a:lnTo>
                      <a:cubicBezTo>
                        <a:pt x="20813" y="21600"/>
                        <a:pt x="21600" y="20779"/>
                        <a:pt x="21600" y="19766"/>
                      </a:cubicBezTo>
                      <a:lnTo>
                        <a:pt x="21600" y="7633"/>
                      </a:lnTo>
                      <a:cubicBezTo>
                        <a:pt x="21600" y="6620"/>
                        <a:pt x="20813" y="5799"/>
                        <a:pt x="19843" y="5799"/>
                      </a:cubicBezTo>
                      <a:lnTo>
                        <a:pt x="9895" y="5799"/>
                      </a:lnTo>
                      <a:lnTo>
                        <a:pt x="18162" y="2908"/>
                      </a:lnTo>
                      <a:cubicBezTo>
                        <a:pt x="18435" y="3143"/>
                        <a:pt x="18783" y="3285"/>
                        <a:pt x="19164" y="3285"/>
                      </a:cubicBezTo>
                      <a:cubicBezTo>
                        <a:pt x="20031" y="3285"/>
                        <a:pt x="20738" y="2548"/>
                        <a:pt x="20738" y="1642"/>
                      </a:cubicBezTo>
                      <a:cubicBezTo>
                        <a:pt x="20738" y="737"/>
                        <a:pt x="20031" y="0"/>
                        <a:pt x="19164" y="0"/>
                      </a:cubicBezTo>
                      <a:cubicBezTo>
                        <a:pt x="18421" y="0"/>
                        <a:pt x="17797" y="540"/>
                        <a:pt x="17633" y="1263"/>
                      </a:cubicBezTo>
                      <a:lnTo>
                        <a:pt x="4665" y="5799"/>
                      </a:lnTo>
                      <a:lnTo>
                        <a:pt x="1757" y="5799"/>
                      </a:lnTo>
                      <a:cubicBezTo>
                        <a:pt x="787" y="5799"/>
                        <a:pt x="0" y="6620"/>
                        <a:pt x="0" y="7633"/>
                      </a:cubicBezTo>
                      <a:lnTo>
                        <a:pt x="0" y="19766"/>
                      </a:lnTo>
                      <a:cubicBezTo>
                        <a:pt x="0" y="20779"/>
                        <a:pt x="787" y="21600"/>
                        <a:pt x="1757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54" name="ïsḷiḍê">
                  <a:extLst>
                    <a:ext uri="{FF2B5EF4-FFF2-40B4-BE49-F238E27FC236}">
                      <a16:creationId xmlns:a16="http://schemas.microsoft.com/office/drawing/2014/main" id="{5A091D4F-2CB6-4C98-A66E-24351B80BF22}"/>
                    </a:ext>
                  </a:extLst>
                </p:cNvPr>
                <p:cNvSpPr/>
                <p:nvPr/>
              </p:nvSpPr>
              <p:spPr>
                <a:xfrm flipH="1">
                  <a:off x="3705573" y="3532346"/>
                  <a:ext cx="282918" cy="29057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4430" y="7801"/>
                      </a:moveTo>
                      <a:lnTo>
                        <a:pt x="14286" y="0"/>
                      </a:lnTo>
                      <a:lnTo>
                        <a:pt x="8626" y="5523"/>
                      </a:lnTo>
                      <a:lnTo>
                        <a:pt x="950" y="3222"/>
                      </a:lnTo>
                      <a:lnTo>
                        <a:pt x="4618" y="10190"/>
                      </a:lnTo>
                      <a:lnTo>
                        <a:pt x="0" y="16593"/>
                      </a:lnTo>
                      <a:lnTo>
                        <a:pt x="7933" y="15347"/>
                      </a:lnTo>
                      <a:lnTo>
                        <a:pt x="12763" y="21600"/>
                      </a:lnTo>
                      <a:lnTo>
                        <a:pt x="13993" y="13869"/>
                      </a:lnTo>
                      <a:lnTo>
                        <a:pt x="21600" y="11325"/>
                      </a:lnTo>
                      <a:cubicBezTo>
                        <a:pt x="21600" y="11325"/>
                        <a:pt x="14430" y="7801"/>
                        <a:pt x="14430" y="7801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5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55" name="ïṣḷiḍe">
                  <a:extLst>
                    <a:ext uri="{FF2B5EF4-FFF2-40B4-BE49-F238E27FC236}">
                      <a16:creationId xmlns:a16="http://schemas.microsoft.com/office/drawing/2014/main" id="{E0C11F30-688D-494F-8E83-B18BEDE2347A}"/>
                    </a:ext>
                  </a:extLst>
                </p:cNvPr>
                <p:cNvSpPr/>
                <p:nvPr/>
              </p:nvSpPr>
              <p:spPr>
                <a:xfrm flipH="1">
                  <a:off x="2986915" y="3120550"/>
                  <a:ext cx="303313" cy="33240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84" h="21600" extrusionOk="0">
                      <a:moveTo>
                        <a:pt x="9150" y="9969"/>
                      </a:moveTo>
                      <a:lnTo>
                        <a:pt x="10691" y="9149"/>
                      </a:lnTo>
                      <a:lnTo>
                        <a:pt x="12233" y="9969"/>
                      </a:lnTo>
                      <a:lnTo>
                        <a:pt x="12233" y="11610"/>
                      </a:lnTo>
                      <a:lnTo>
                        <a:pt x="10691" y="12432"/>
                      </a:lnTo>
                      <a:lnTo>
                        <a:pt x="9150" y="11610"/>
                      </a:lnTo>
                      <a:cubicBezTo>
                        <a:pt x="9150" y="11610"/>
                        <a:pt x="9150" y="9969"/>
                        <a:pt x="9150" y="9969"/>
                      </a:cubicBezTo>
                      <a:close/>
                      <a:moveTo>
                        <a:pt x="6524" y="14068"/>
                      </a:moveTo>
                      <a:lnTo>
                        <a:pt x="8155" y="13201"/>
                      </a:lnTo>
                      <a:lnTo>
                        <a:pt x="9690" y="14016"/>
                      </a:lnTo>
                      <a:lnTo>
                        <a:pt x="9690" y="15791"/>
                      </a:lnTo>
                      <a:lnTo>
                        <a:pt x="6570" y="18667"/>
                      </a:lnTo>
                      <a:cubicBezTo>
                        <a:pt x="6179" y="19026"/>
                        <a:pt x="6179" y="19606"/>
                        <a:pt x="6570" y="19964"/>
                      </a:cubicBezTo>
                      <a:cubicBezTo>
                        <a:pt x="6763" y="20146"/>
                        <a:pt x="7017" y="20233"/>
                        <a:pt x="7273" y="20233"/>
                      </a:cubicBezTo>
                      <a:cubicBezTo>
                        <a:pt x="7526" y="20233"/>
                        <a:pt x="7784" y="20146"/>
                        <a:pt x="7977" y="19964"/>
                      </a:cubicBezTo>
                      <a:lnTo>
                        <a:pt x="9690" y="18387"/>
                      </a:lnTo>
                      <a:lnTo>
                        <a:pt x="9690" y="20682"/>
                      </a:lnTo>
                      <a:cubicBezTo>
                        <a:pt x="9690" y="21189"/>
                        <a:pt x="10135" y="21600"/>
                        <a:pt x="10685" y="21600"/>
                      </a:cubicBezTo>
                      <a:cubicBezTo>
                        <a:pt x="11235" y="21600"/>
                        <a:pt x="11682" y="21189"/>
                        <a:pt x="11682" y="20682"/>
                      </a:cubicBezTo>
                      <a:lnTo>
                        <a:pt x="11682" y="18375"/>
                      </a:lnTo>
                      <a:lnTo>
                        <a:pt x="13406" y="19964"/>
                      </a:lnTo>
                      <a:cubicBezTo>
                        <a:pt x="13601" y="20146"/>
                        <a:pt x="13855" y="20233"/>
                        <a:pt x="14110" y="20233"/>
                      </a:cubicBezTo>
                      <a:cubicBezTo>
                        <a:pt x="14365" y="20233"/>
                        <a:pt x="14619" y="20146"/>
                        <a:pt x="14813" y="19964"/>
                      </a:cubicBezTo>
                      <a:cubicBezTo>
                        <a:pt x="15204" y="19606"/>
                        <a:pt x="15204" y="19026"/>
                        <a:pt x="14813" y="18667"/>
                      </a:cubicBezTo>
                      <a:lnTo>
                        <a:pt x="11682" y="15780"/>
                      </a:lnTo>
                      <a:lnTo>
                        <a:pt x="11682" y="14023"/>
                      </a:lnTo>
                      <a:lnTo>
                        <a:pt x="13229" y="13201"/>
                      </a:lnTo>
                      <a:lnTo>
                        <a:pt x="14861" y="14068"/>
                      </a:lnTo>
                      <a:lnTo>
                        <a:pt x="16007" y="18014"/>
                      </a:lnTo>
                      <a:cubicBezTo>
                        <a:pt x="16127" y="18425"/>
                        <a:pt x="16528" y="18696"/>
                        <a:pt x="16969" y="18696"/>
                      </a:cubicBezTo>
                      <a:cubicBezTo>
                        <a:pt x="17054" y="18696"/>
                        <a:pt x="17139" y="18686"/>
                        <a:pt x="17226" y="18665"/>
                      </a:cubicBezTo>
                      <a:cubicBezTo>
                        <a:pt x="17759" y="18533"/>
                        <a:pt x="18073" y="18028"/>
                        <a:pt x="17930" y="17539"/>
                      </a:cubicBezTo>
                      <a:lnTo>
                        <a:pt x="17298" y="15367"/>
                      </a:lnTo>
                      <a:lnTo>
                        <a:pt x="19468" y="16520"/>
                      </a:lnTo>
                      <a:cubicBezTo>
                        <a:pt x="19623" y="16604"/>
                        <a:pt x="19795" y="16645"/>
                        <a:pt x="19965" y="16645"/>
                      </a:cubicBezTo>
                      <a:cubicBezTo>
                        <a:pt x="20308" y="16645"/>
                        <a:pt x="20644" y="16480"/>
                        <a:pt x="20828" y="16185"/>
                      </a:cubicBezTo>
                      <a:cubicBezTo>
                        <a:pt x="21103" y="15747"/>
                        <a:pt x="20940" y="15185"/>
                        <a:pt x="20463" y="14931"/>
                      </a:cubicBezTo>
                      <a:lnTo>
                        <a:pt x="18306" y="13783"/>
                      </a:lnTo>
                      <a:lnTo>
                        <a:pt x="20646" y="13205"/>
                      </a:lnTo>
                      <a:cubicBezTo>
                        <a:pt x="21175" y="13076"/>
                        <a:pt x="21492" y="12572"/>
                        <a:pt x="21349" y="12081"/>
                      </a:cubicBezTo>
                      <a:cubicBezTo>
                        <a:pt x="21207" y="11593"/>
                        <a:pt x="20660" y="11304"/>
                        <a:pt x="20130" y="11433"/>
                      </a:cubicBezTo>
                      <a:lnTo>
                        <a:pt x="15869" y="12484"/>
                      </a:lnTo>
                      <a:lnTo>
                        <a:pt x="14225" y="11610"/>
                      </a:lnTo>
                      <a:lnTo>
                        <a:pt x="14225" y="9972"/>
                      </a:lnTo>
                      <a:lnTo>
                        <a:pt x="15847" y="9113"/>
                      </a:lnTo>
                      <a:lnTo>
                        <a:pt x="20130" y="10169"/>
                      </a:lnTo>
                      <a:cubicBezTo>
                        <a:pt x="20216" y="10191"/>
                        <a:pt x="20303" y="10201"/>
                        <a:pt x="20388" y="10201"/>
                      </a:cubicBezTo>
                      <a:cubicBezTo>
                        <a:pt x="20828" y="10201"/>
                        <a:pt x="21229" y="9931"/>
                        <a:pt x="21349" y="9519"/>
                      </a:cubicBezTo>
                      <a:cubicBezTo>
                        <a:pt x="21492" y="9031"/>
                        <a:pt x="21175" y="8526"/>
                        <a:pt x="20646" y="8394"/>
                      </a:cubicBezTo>
                      <a:lnTo>
                        <a:pt x="18298" y="7817"/>
                      </a:lnTo>
                      <a:lnTo>
                        <a:pt x="20460" y="6671"/>
                      </a:lnTo>
                      <a:cubicBezTo>
                        <a:pt x="20939" y="6419"/>
                        <a:pt x="21103" y="5858"/>
                        <a:pt x="20829" y="5417"/>
                      </a:cubicBezTo>
                      <a:cubicBezTo>
                        <a:pt x="20554" y="4979"/>
                        <a:pt x="19948" y="4825"/>
                        <a:pt x="19469" y="5078"/>
                      </a:cubicBezTo>
                      <a:lnTo>
                        <a:pt x="17301" y="6226"/>
                      </a:lnTo>
                      <a:lnTo>
                        <a:pt x="17930" y="4063"/>
                      </a:lnTo>
                      <a:cubicBezTo>
                        <a:pt x="18073" y="3574"/>
                        <a:pt x="17759" y="3070"/>
                        <a:pt x="17226" y="2938"/>
                      </a:cubicBezTo>
                      <a:cubicBezTo>
                        <a:pt x="16697" y="2810"/>
                        <a:pt x="16150" y="3098"/>
                        <a:pt x="16007" y="3588"/>
                      </a:cubicBezTo>
                      <a:lnTo>
                        <a:pt x="14864" y="7515"/>
                      </a:lnTo>
                      <a:lnTo>
                        <a:pt x="13230" y="8380"/>
                      </a:lnTo>
                      <a:lnTo>
                        <a:pt x="11682" y="7555"/>
                      </a:lnTo>
                      <a:lnTo>
                        <a:pt x="11682" y="5823"/>
                      </a:lnTo>
                      <a:lnTo>
                        <a:pt x="14813" y="2935"/>
                      </a:lnTo>
                      <a:cubicBezTo>
                        <a:pt x="15204" y="2577"/>
                        <a:pt x="15204" y="1997"/>
                        <a:pt x="14813" y="1639"/>
                      </a:cubicBezTo>
                      <a:cubicBezTo>
                        <a:pt x="14426" y="1278"/>
                        <a:pt x="13796" y="1278"/>
                        <a:pt x="13406" y="1639"/>
                      </a:cubicBezTo>
                      <a:lnTo>
                        <a:pt x="11682" y="3228"/>
                      </a:lnTo>
                      <a:lnTo>
                        <a:pt x="11682" y="920"/>
                      </a:lnTo>
                      <a:cubicBezTo>
                        <a:pt x="11682" y="411"/>
                        <a:pt x="11235" y="0"/>
                        <a:pt x="10685" y="0"/>
                      </a:cubicBezTo>
                      <a:cubicBezTo>
                        <a:pt x="10135" y="0"/>
                        <a:pt x="9690" y="411"/>
                        <a:pt x="9690" y="920"/>
                      </a:cubicBezTo>
                      <a:lnTo>
                        <a:pt x="9690" y="3216"/>
                      </a:lnTo>
                      <a:lnTo>
                        <a:pt x="7977" y="1639"/>
                      </a:lnTo>
                      <a:cubicBezTo>
                        <a:pt x="7587" y="1278"/>
                        <a:pt x="6958" y="1278"/>
                        <a:pt x="6570" y="1639"/>
                      </a:cubicBezTo>
                      <a:cubicBezTo>
                        <a:pt x="6179" y="1997"/>
                        <a:pt x="6179" y="2577"/>
                        <a:pt x="6570" y="2935"/>
                      </a:cubicBezTo>
                      <a:lnTo>
                        <a:pt x="9690" y="5811"/>
                      </a:lnTo>
                      <a:lnTo>
                        <a:pt x="9690" y="7562"/>
                      </a:lnTo>
                      <a:lnTo>
                        <a:pt x="8153" y="8378"/>
                      </a:lnTo>
                      <a:lnTo>
                        <a:pt x="6519" y="7515"/>
                      </a:lnTo>
                      <a:lnTo>
                        <a:pt x="5376" y="3588"/>
                      </a:lnTo>
                      <a:cubicBezTo>
                        <a:pt x="5235" y="3098"/>
                        <a:pt x="4687" y="2810"/>
                        <a:pt x="4158" y="2938"/>
                      </a:cubicBezTo>
                      <a:cubicBezTo>
                        <a:pt x="3627" y="3070"/>
                        <a:pt x="3309" y="3574"/>
                        <a:pt x="3452" y="4063"/>
                      </a:cubicBezTo>
                      <a:lnTo>
                        <a:pt x="4080" y="6226"/>
                      </a:lnTo>
                      <a:lnTo>
                        <a:pt x="1913" y="5078"/>
                      </a:lnTo>
                      <a:cubicBezTo>
                        <a:pt x="1434" y="4825"/>
                        <a:pt x="825" y="4976"/>
                        <a:pt x="554" y="5417"/>
                      </a:cubicBezTo>
                      <a:cubicBezTo>
                        <a:pt x="279" y="5858"/>
                        <a:pt x="444" y="6419"/>
                        <a:pt x="921" y="6671"/>
                      </a:cubicBezTo>
                      <a:lnTo>
                        <a:pt x="3085" y="7817"/>
                      </a:lnTo>
                      <a:lnTo>
                        <a:pt x="739" y="8394"/>
                      </a:lnTo>
                      <a:cubicBezTo>
                        <a:pt x="207" y="8526"/>
                        <a:pt x="-108" y="9031"/>
                        <a:pt x="34" y="9519"/>
                      </a:cubicBezTo>
                      <a:cubicBezTo>
                        <a:pt x="153" y="9931"/>
                        <a:pt x="555" y="10201"/>
                        <a:pt x="994" y="10201"/>
                      </a:cubicBezTo>
                      <a:cubicBezTo>
                        <a:pt x="1079" y="10201"/>
                        <a:pt x="1167" y="10191"/>
                        <a:pt x="1252" y="10169"/>
                      </a:cubicBezTo>
                      <a:lnTo>
                        <a:pt x="5534" y="9113"/>
                      </a:lnTo>
                      <a:lnTo>
                        <a:pt x="7156" y="9972"/>
                      </a:lnTo>
                      <a:lnTo>
                        <a:pt x="7159" y="11610"/>
                      </a:lnTo>
                      <a:lnTo>
                        <a:pt x="5515" y="12487"/>
                      </a:lnTo>
                      <a:lnTo>
                        <a:pt x="1252" y="11433"/>
                      </a:lnTo>
                      <a:cubicBezTo>
                        <a:pt x="727" y="11306"/>
                        <a:pt x="176" y="11593"/>
                        <a:pt x="34" y="12081"/>
                      </a:cubicBezTo>
                      <a:cubicBezTo>
                        <a:pt x="-108" y="12572"/>
                        <a:pt x="207" y="13076"/>
                        <a:pt x="739" y="13205"/>
                      </a:cubicBezTo>
                      <a:lnTo>
                        <a:pt x="3077" y="13783"/>
                      </a:lnTo>
                      <a:lnTo>
                        <a:pt x="920" y="14931"/>
                      </a:lnTo>
                      <a:cubicBezTo>
                        <a:pt x="443" y="15185"/>
                        <a:pt x="279" y="15747"/>
                        <a:pt x="555" y="16185"/>
                      </a:cubicBezTo>
                      <a:cubicBezTo>
                        <a:pt x="739" y="16480"/>
                        <a:pt x="1073" y="16645"/>
                        <a:pt x="1419" y="16645"/>
                      </a:cubicBezTo>
                      <a:cubicBezTo>
                        <a:pt x="1588" y="16645"/>
                        <a:pt x="1758" y="16604"/>
                        <a:pt x="1915" y="16520"/>
                      </a:cubicBezTo>
                      <a:lnTo>
                        <a:pt x="4084" y="15367"/>
                      </a:lnTo>
                      <a:lnTo>
                        <a:pt x="3452" y="17539"/>
                      </a:lnTo>
                      <a:cubicBezTo>
                        <a:pt x="3309" y="18028"/>
                        <a:pt x="3627" y="18533"/>
                        <a:pt x="4158" y="18665"/>
                      </a:cubicBezTo>
                      <a:cubicBezTo>
                        <a:pt x="4242" y="18686"/>
                        <a:pt x="4330" y="18696"/>
                        <a:pt x="4414" y="18696"/>
                      </a:cubicBezTo>
                      <a:cubicBezTo>
                        <a:pt x="4853" y="18696"/>
                        <a:pt x="5256" y="18425"/>
                        <a:pt x="5376" y="18014"/>
                      </a:cubicBezTo>
                      <a:cubicBezTo>
                        <a:pt x="5376" y="18014"/>
                        <a:pt x="6524" y="14068"/>
                        <a:pt x="6524" y="14068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56" name="îŝḷiḋè">
                  <a:extLst>
                    <a:ext uri="{FF2B5EF4-FFF2-40B4-BE49-F238E27FC236}">
                      <a16:creationId xmlns:a16="http://schemas.microsoft.com/office/drawing/2014/main" id="{83426B60-A19E-4CDA-91F6-7F52033AB260}"/>
                    </a:ext>
                  </a:extLst>
                </p:cNvPr>
                <p:cNvSpPr/>
                <p:nvPr/>
              </p:nvSpPr>
              <p:spPr>
                <a:xfrm flipH="1">
                  <a:off x="2813271" y="978014"/>
                  <a:ext cx="77096" cy="9913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716" y="21600"/>
                      </a:moveTo>
                      <a:lnTo>
                        <a:pt x="18878" y="21600"/>
                      </a:lnTo>
                      <a:cubicBezTo>
                        <a:pt x="20382" y="21600"/>
                        <a:pt x="21600" y="20652"/>
                        <a:pt x="21600" y="19486"/>
                      </a:cubicBezTo>
                      <a:cubicBezTo>
                        <a:pt x="21600" y="18318"/>
                        <a:pt x="20382" y="17371"/>
                        <a:pt x="18878" y="17371"/>
                      </a:cubicBezTo>
                      <a:lnTo>
                        <a:pt x="5431" y="17371"/>
                      </a:lnTo>
                      <a:lnTo>
                        <a:pt x="5431" y="2114"/>
                      </a:lnTo>
                      <a:cubicBezTo>
                        <a:pt x="5431" y="947"/>
                        <a:pt x="4218" y="0"/>
                        <a:pt x="2716" y="0"/>
                      </a:cubicBezTo>
                      <a:cubicBezTo>
                        <a:pt x="1213" y="0"/>
                        <a:pt x="0" y="947"/>
                        <a:pt x="0" y="2114"/>
                      </a:cubicBezTo>
                      <a:lnTo>
                        <a:pt x="0" y="19486"/>
                      </a:lnTo>
                      <a:cubicBezTo>
                        <a:pt x="0" y="20652"/>
                        <a:pt x="1213" y="21600"/>
                        <a:pt x="2716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57" name="ísľïḍé">
                  <a:extLst>
                    <a:ext uri="{FF2B5EF4-FFF2-40B4-BE49-F238E27FC236}">
                      <a16:creationId xmlns:a16="http://schemas.microsoft.com/office/drawing/2014/main" id="{5F77C712-E4CC-4A89-A9B6-C75575729DAD}"/>
                    </a:ext>
                  </a:extLst>
                </p:cNvPr>
                <p:cNvSpPr/>
                <p:nvPr/>
              </p:nvSpPr>
              <p:spPr>
                <a:xfrm flipH="1">
                  <a:off x="2697744" y="846717"/>
                  <a:ext cx="365697" cy="39281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363" h="21529" extrusionOk="0">
                      <a:moveTo>
                        <a:pt x="10647" y="5708"/>
                      </a:moveTo>
                      <a:cubicBezTo>
                        <a:pt x="14353" y="5708"/>
                        <a:pt x="17368" y="8537"/>
                        <a:pt x="17368" y="12013"/>
                      </a:cubicBezTo>
                      <a:cubicBezTo>
                        <a:pt x="17368" y="15490"/>
                        <a:pt x="14353" y="18319"/>
                        <a:pt x="10647" y="18319"/>
                      </a:cubicBezTo>
                      <a:cubicBezTo>
                        <a:pt x="6942" y="18319"/>
                        <a:pt x="3926" y="15490"/>
                        <a:pt x="3926" y="12013"/>
                      </a:cubicBezTo>
                      <a:cubicBezTo>
                        <a:pt x="3926" y="8537"/>
                        <a:pt x="6942" y="5708"/>
                        <a:pt x="10647" y="5708"/>
                      </a:cubicBezTo>
                      <a:close/>
                      <a:moveTo>
                        <a:pt x="1326" y="6988"/>
                      </a:moveTo>
                      <a:cubicBezTo>
                        <a:pt x="1443" y="6988"/>
                        <a:pt x="1564" y="6953"/>
                        <a:pt x="1665" y="6881"/>
                      </a:cubicBezTo>
                      <a:lnTo>
                        <a:pt x="4147" y="5129"/>
                      </a:lnTo>
                      <a:lnTo>
                        <a:pt x="4618" y="5738"/>
                      </a:lnTo>
                      <a:cubicBezTo>
                        <a:pt x="2796" y="7290"/>
                        <a:pt x="1650" y="9528"/>
                        <a:pt x="1650" y="12013"/>
                      </a:cubicBezTo>
                      <a:cubicBezTo>
                        <a:pt x="1650" y="14676"/>
                        <a:pt x="2967" y="17055"/>
                        <a:pt x="5021" y="18609"/>
                      </a:cubicBezTo>
                      <a:lnTo>
                        <a:pt x="4129" y="20808"/>
                      </a:lnTo>
                      <a:cubicBezTo>
                        <a:pt x="4018" y="21083"/>
                        <a:pt x="4166" y="21390"/>
                        <a:pt x="4458" y="21495"/>
                      </a:cubicBezTo>
                      <a:cubicBezTo>
                        <a:pt x="4525" y="21518"/>
                        <a:pt x="4593" y="21529"/>
                        <a:pt x="4660" y="21529"/>
                      </a:cubicBezTo>
                      <a:cubicBezTo>
                        <a:pt x="4888" y="21529"/>
                        <a:pt x="5103" y="21399"/>
                        <a:pt x="5189" y="21186"/>
                      </a:cubicBezTo>
                      <a:lnTo>
                        <a:pt x="5976" y="19243"/>
                      </a:lnTo>
                      <a:cubicBezTo>
                        <a:pt x="7348" y="20032"/>
                        <a:pt x="8959" y="20487"/>
                        <a:pt x="10683" y="20487"/>
                      </a:cubicBezTo>
                      <a:cubicBezTo>
                        <a:pt x="12404" y="20487"/>
                        <a:pt x="14016" y="20032"/>
                        <a:pt x="15387" y="19243"/>
                      </a:cubicBezTo>
                      <a:lnTo>
                        <a:pt x="16174" y="21186"/>
                      </a:lnTo>
                      <a:cubicBezTo>
                        <a:pt x="16260" y="21399"/>
                        <a:pt x="16475" y="21529"/>
                        <a:pt x="16705" y="21529"/>
                      </a:cubicBezTo>
                      <a:cubicBezTo>
                        <a:pt x="16772" y="21529"/>
                        <a:pt x="16839" y="21518"/>
                        <a:pt x="16905" y="21494"/>
                      </a:cubicBezTo>
                      <a:cubicBezTo>
                        <a:pt x="17199" y="21390"/>
                        <a:pt x="17345" y="21083"/>
                        <a:pt x="17233" y="20808"/>
                      </a:cubicBezTo>
                      <a:lnTo>
                        <a:pt x="16343" y="18609"/>
                      </a:lnTo>
                      <a:cubicBezTo>
                        <a:pt x="18397" y="17054"/>
                        <a:pt x="19714" y="14676"/>
                        <a:pt x="19714" y="12013"/>
                      </a:cubicBezTo>
                      <a:cubicBezTo>
                        <a:pt x="19714" y="9513"/>
                        <a:pt x="18553" y="7264"/>
                        <a:pt x="16712" y="5711"/>
                      </a:cubicBezTo>
                      <a:lnTo>
                        <a:pt x="17186" y="5108"/>
                      </a:lnTo>
                      <a:lnTo>
                        <a:pt x="19698" y="6881"/>
                      </a:lnTo>
                      <a:cubicBezTo>
                        <a:pt x="19799" y="6953"/>
                        <a:pt x="19920" y="6988"/>
                        <a:pt x="20038" y="6988"/>
                      </a:cubicBezTo>
                      <a:cubicBezTo>
                        <a:pt x="20210" y="6988"/>
                        <a:pt x="20381" y="6914"/>
                        <a:pt x="20492" y="6775"/>
                      </a:cubicBezTo>
                      <a:cubicBezTo>
                        <a:pt x="21188" y="5908"/>
                        <a:pt x="21482" y="4838"/>
                        <a:pt x="21321" y="3762"/>
                      </a:cubicBezTo>
                      <a:cubicBezTo>
                        <a:pt x="21185" y="2866"/>
                        <a:pt x="20747" y="2057"/>
                        <a:pt x="20070" y="1434"/>
                      </a:cubicBezTo>
                      <a:lnTo>
                        <a:pt x="20531" y="848"/>
                      </a:lnTo>
                      <a:cubicBezTo>
                        <a:pt x="20718" y="611"/>
                        <a:pt x="20663" y="278"/>
                        <a:pt x="20411" y="104"/>
                      </a:cubicBezTo>
                      <a:cubicBezTo>
                        <a:pt x="20159" y="-71"/>
                        <a:pt x="19804" y="-20"/>
                        <a:pt x="19618" y="217"/>
                      </a:cubicBezTo>
                      <a:lnTo>
                        <a:pt x="19166" y="792"/>
                      </a:lnTo>
                      <a:cubicBezTo>
                        <a:pt x="18517" y="445"/>
                        <a:pt x="17788" y="263"/>
                        <a:pt x="17031" y="263"/>
                      </a:cubicBezTo>
                      <a:cubicBezTo>
                        <a:pt x="15655" y="263"/>
                        <a:pt x="14392" y="855"/>
                        <a:pt x="13565" y="1885"/>
                      </a:cubicBezTo>
                      <a:cubicBezTo>
                        <a:pt x="13473" y="1998"/>
                        <a:pt x="13436" y="2140"/>
                        <a:pt x="13456" y="2279"/>
                      </a:cubicBezTo>
                      <a:cubicBezTo>
                        <a:pt x="13478" y="2419"/>
                        <a:pt x="13556" y="2545"/>
                        <a:pt x="13676" y="2630"/>
                      </a:cubicBezTo>
                      <a:lnTo>
                        <a:pt x="16281" y="4468"/>
                      </a:lnTo>
                      <a:lnTo>
                        <a:pt x="15823" y="5051"/>
                      </a:lnTo>
                      <a:cubicBezTo>
                        <a:pt x="14362" y="4099"/>
                        <a:pt x="12592" y="3540"/>
                        <a:pt x="10681" y="3540"/>
                      </a:cubicBezTo>
                      <a:cubicBezTo>
                        <a:pt x="8757" y="3540"/>
                        <a:pt x="6972" y="4109"/>
                        <a:pt x="5506" y="5075"/>
                      </a:cubicBezTo>
                      <a:lnTo>
                        <a:pt x="5053" y="4490"/>
                      </a:lnTo>
                      <a:lnTo>
                        <a:pt x="7687" y="2630"/>
                      </a:lnTo>
                      <a:cubicBezTo>
                        <a:pt x="7807" y="2545"/>
                        <a:pt x="7887" y="2419"/>
                        <a:pt x="7908" y="2279"/>
                      </a:cubicBezTo>
                      <a:cubicBezTo>
                        <a:pt x="7928" y="2140"/>
                        <a:pt x="7890" y="1998"/>
                        <a:pt x="7799" y="1885"/>
                      </a:cubicBezTo>
                      <a:cubicBezTo>
                        <a:pt x="6972" y="855"/>
                        <a:pt x="5709" y="263"/>
                        <a:pt x="4332" y="263"/>
                      </a:cubicBezTo>
                      <a:cubicBezTo>
                        <a:pt x="3573" y="263"/>
                        <a:pt x="2843" y="446"/>
                        <a:pt x="2194" y="795"/>
                      </a:cubicBezTo>
                      <a:lnTo>
                        <a:pt x="1748" y="220"/>
                      </a:lnTo>
                      <a:cubicBezTo>
                        <a:pt x="1564" y="-18"/>
                        <a:pt x="1210" y="-71"/>
                        <a:pt x="956" y="102"/>
                      </a:cubicBezTo>
                      <a:cubicBezTo>
                        <a:pt x="703" y="274"/>
                        <a:pt x="647" y="607"/>
                        <a:pt x="831" y="845"/>
                      </a:cubicBezTo>
                      <a:lnTo>
                        <a:pt x="1289" y="1438"/>
                      </a:lnTo>
                      <a:cubicBezTo>
                        <a:pt x="615" y="2060"/>
                        <a:pt x="178" y="2868"/>
                        <a:pt x="44" y="3762"/>
                      </a:cubicBezTo>
                      <a:cubicBezTo>
                        <a:pt x="-118" y="4838"/>
                        <a:pt x="176" y="5908"/>
                        <a:pt x="872" y="6775"/>
                      </a:cubicBezTo>
                      <a:cubicBezTo>
                        <a:pt x="983" y="6914"/>
                        <a:pt x="1154" y="6988"/>
                        <a:pt x="1326" y="6988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58" name="íṥļîdè">
                  <a:extLst>
                    <a:ext uri="{FF2B5EF4-FFF2-40B4-BE49-F238E27FC236}">
                      <a16:creationId xmlns:a16="http://schemas.microsoft.com/office/drawing/2014/main" id="{B199FCF3-506E-4872-8B62-5E4E98630DB5}"/>
                    </a:ext>
                  </a:extLst>
                </p:cNvPr>
                <p:cNvSpPr/>
                <p:nvPr/>
              </p:nvSpPr>
              <p:spPr>
                <a:xfrm flipH="1">
                  <a:off x="2477668" y="1521108"/>
                  <a:ext cx="132200" cy="13221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340" h="20343" extrusionOk="0">
                      <a:moveTo>
                        <a:pt x="11469" y="83"/>
                      </a:moveTo>
                      <a:cubicBezTo>
                        <a:pt x="5893" y="-630"/>
                        <a:pt x="795" y="3312"/>
                        <a:pt x="84" y="8873"/>
                      </a:cubicBezTo>
                      <a:cubicBezTo>
                        <a:pt x="-631" y="14446"/>
                        <a:pt x="3314" y="19546"/>
                        <a:pt x="8886" y="20260"/>
                      </a:cubicBezTo>
                      <a:cubicBezTo>
                        <a:pt x="14432" y="20970"/>
                        <a:pt x="19542" y="17029"/>
                        <a:pt x="20257" y="11455"/>
                      </a:cubicBezTo>
                      <a:cubicBezTo>
                        <a:pt x="20969" y="5895"/>
                        <a:pt x="17015" y="793"/>
                        <a:pt x="11469" y="83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59" name="íşlïdê">
                  <a:extLst>
                    <a:ext uri="{FF2B5EF4-FFF2-40B4-BE49-F238E27FC236}">
                      <a16:creationId xmlns:a16="http://schemas.microsoft.com/office/drawing/2014/main" id="{388A2A65-5929-4F2A-B2A5-89D838F9FD26}"/>
                    </a:ext>
                  </a:extLst>
                </p:cNvPr>
                <p:cNvSpPr/>
                <p:nvPr/>
              </p:nvSpPr>
              <p:spPr>
                <a:xfrm flipH="1">
                  <a:off x="2448753" y="1359970"/>
                  <a:ext cx="334189" cy="27445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45" h="20307" extrusionOk="0">
                      <a:moveTo>
                        <a:pt x="21159" y="157"/>
                      </a:moveTo>
                      <a:lnTo>
                        <a:pt x="21017" y="156"/>
                      </a:lnTo>
                      <a:cubicBezTo>
                        <a:pt x="10732" y="-1261"/>
                        <a:pt x="1318" y="7138"/>
                        <a:pt x="3" y="18944"/>
                      </a:cubicBezTo>
                      <a:cubicBezTo>
                        <a:pt x="-28" y="19220"/>
                        <a:pt x="146" y="19479"/>
                        <a:pt x="392" y="19516"/>
                      </a:cubicBezTo>
                      <a:lnTo>
                        <a:pt x="5757" y="20303"/>
                      </a:lnTo>
                      <a:cubicBezTo>
                        <a:pt x="5997" y="20339"/>
                        <a:pt x="6221" y="20138"/>
                        <a:pt x="6252" y="19862"/>
                      </a:cubicBezTo>
                      <a:cubicBezTo>
                        <a:pt x="7135" y="11952"/>
                        <a:pt x="13457" y="6338"/>
                        <a:pt x="20355" y="7351"/>
                      </a:cubicBezTo>
                      <a:cubicBezTo>
                        <a:pt x="20597" y="7387"/>
                        <a:pt x="20820" y="7192"/>
                        <a:pt x="20852" y="6910"/>
                      </a:cubicBezTo>
                      <a:lnTo>
                        <a:pt x="21541" y="728"/>
                      </a:lnTo>
                      <a:cubicBezTo>
                        <a:pt x="21572" y="445"/>
                        <a:pt x="21399" y="192"/>
                        <a:pt x="21159" y="157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47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60" name="îṧḻïḑe">
                  <a:extLst>
                    <a:ext uri="{FF2B5EF4-FFF2-40B4-BE49-F238E27FC236}">
                      <a16:creationId xmlns:a16="http://schemas.microsoft.com/office/drawing/2014/main" id="{3A37E8A3-EB27-47DF-B0E0-8969588ABE9D}"/>
                    </a:ext>
                  </a:extLst>
                </p:cNvPr>
                <p:cNvSpPr/>
                <p:nvPr/>
              </p:nvSpPr>
              <p:spPr>
                <a:xfrm flipH="1">
                  <a:off x="2429107" y="1216737"/>
                  <a:ext cx="497068" cy="40185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63" h="20261" extrusionOk="0">
                      <a:moveTo>
                        <a:pt x="21304" y="163"/>
                      </a:moveTo>
                      <a:lnTo>
                        <a:pt x="21208" y="167"/>
                      </a:lnTo>
                      <a:cubicBezTo>
                        <a:pt x="10829" y="-1318"/>
                        <a:pt x="1331" y="7256"/>
                        <a:pt x="3" y="19316"/>
                      </a:cubicBezTo>
                      <a:cubicBezTo>
                        <a:pt x="-18" y="19504"/>
                        <a:pt x="100" y="19681"/>
                        <a:pt x="262" y="19705"/>
                      </a:cubicBezTo>
                      <a:lnTo>
                        <a:pt x="3979" y="20258"/>
                      </a:lnTo>
                      <a:cubicBezTo>
                        <a:pt x="4141" y="20282"/>
                        <a:pt x="4293" y="20145"/>
                        <a:pt x="4313" y="19957"/>
                      </a:cubicBezTo>
                      <a:cubicBezTo>
                        <a:pt x="5342" y="10619"/>
                        <a:pt x="12714" y="3995"/>
                        <a:pt x="20750" y="5190"/>
                      </a:cubicBezTo>
                      <a:cubicBezTo>
                        <a:pt x="20911" y="5214"/>
                        <a:pt x="21062" y="5082"/>
                        <a:pt x="21083" y="4894"/>
                      </a:cubicBezTo>
                      <a:lnTo>
                        <a:pt x="21561" y="551"/>
                      </a:lnTo>
                      <a:cubicBezTo>
                        <a:pt x="21582" y="364"/>
                        <a:pt x="21465" y="187"/>
                        <a:pt x="21304" y="163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61" name="ísļîḍè">
                  <a:extLst>
                    <a:ext uri="{FF2B5EF4-FFF2-40B4-BE49-F238E27FC236}">
                      <a16:creationId xmlns:a16="http://schemas.microsoft.com/office/drawing/2014/main" id="{AC9D834C-CC50-443D-B7C0-FF3DDA6F19B4}"/>
                    </a:ext>
                  </a:extLst>
                </p:cNvPr>
                <p:cNvSpPr/>
                <p:nvPr/>
              </p:nvSpPr>
              <p:spPr>
                <a:xfrm flipH="1">
                  <a:off x="2486690" y="1706118"/>
                  <a:ext cx="427550" cy="43068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47" h="21573" extrusionOk="0">
                      <a:moveTo>
                        <a:pt x="8154" y="8234"/>
                      </a:moveTo>
                      <a:lnTo>
                        <a:pt x="8195" y="9960"/>
                      </a:lnTo>
                      <a:lnTo>
                        <a:pt x="6459" y="10000"/>
                      </a:lnTo>
                      <a:lnTo>
                        <a:pt x="6419" y="8274"/>
                      </a:lnTo>
                      <a:cubicBezTo>
                        <a:pt x="6419" y="8274"/>
                        <a:pt x="8154" y="8234"/>
                        <a:pt x="8154" y="8234"/>
                      </a:cubicBezTo>
                      <a:close/>
                      <a:moveTo>
                        <a:pt x="11625" y="8154"/>
                      </a:moveTo>
                      <a:lnTo>
                        <a:pt x="11665" y="9880"/>
                      </a:lnTo>
                      <a:lnTo>
                        <a:pt x="9931" y="9920"/>
                      </a:lnTo>
                      <a:lnTo>
                        <a:pt x="9891" y="8194"/>
                      </a:lnTo>
                      <a:cubicBezTo>
                        <a:pt x="9891" y="8194"/>
                        <a:pt x="11625" y="8154"/>
                        <a:pt x="11625" y="8154"/>
                      </a:cubicBezTo>
                      <a:close/>
                      <a:moveTo>
                        <a:pt x="15095" y="8073"/>
                      </a:moveTo>
                      <a:lnTo>
                        <a:pt x="15136" y="9800"/>
                      </a:lnTo>
                      <a:lnTo>
                        <a:pt x="13401" y="9840"/>
                      </a:lnTo>
                      <a:lnTo>
                        <a:pt x="13360" y="8113"/>
                      </a:lnTo>
                      <a:cubicBezTo>
                        <a:pt x="13360" y="8113"/>
                        <a:pt x="15095" y="8073"/>
                        <a:pt x="15095" y="8073"/>
                      </a:cubicBezTo>
                      <a:close/>
                      <a:moveTo>
                        <a:pt x="1" y="2554"/>
                      </a:moveTo>
                      <a:lnTo>
                        <a:pt x="436" y="21573"/>
                      </a:lnTo>
                      <a:lnTo>
                        <a:pt x="4589" y="17248"/>
                      </a:lnTo>
                      <a:lnTo>
                        <a:pt x="19470" y="16904"/>
                      </a:lnTo>
                      <a:cubicBezTo>
                        <a:pt x="20639" y="16877"/>
                        <a:pt x="21574" y="15904"/>
                        <a:pt x="21547" y="14743"/>
                      </a:cubicBezTo>
                      <a:lnTo>
                        <a:pt x="21251" y="2062"/>
                      </a:lnTo>
                      <a:cubicBezTo>
                        <a:pt x="21223" y="902"/>
                        <a:pt x="20244" y="-27"/>
                        <a:pt x="19075" y="0"/>
                      </a:cubicBezTo>
                      <a:lnTo>
                        <a:pt x="2066" y="393"/>
                      </a:lnTo>
                      <a:cubicBezTo>
                        <a:pt x="897" y="420"/>
                        <a:pt x="-26" y="1393"/>
                        <a:pt x="1" y="2554"/>
                      </a:cubicBezTo>
                      <a:close/>
                    </a:path>
                  </a:pathLst>
                </a:custGeom>
                <a:solidFill>
                  <a:schemeClr val="tx2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 dirty="0"/>
                </a:p>
              </p:txBody>
            </p:sp>
            <p:sp>
              <p:nvSpPr>
                <p:cNvPr id="162" name="ï$ľïḋé">
                  <a:extLst>
                    <a:ext uri="{FF2B5EF4-FFF2-40B4-BE49-F238E27FC236}">
                      <a16:creationId xmlns:a16="http://schemas.microsoft.com/office/drawing/2014/main" id="{35FEFC6B-6743-41F0-92BD-B23D9826BE1B}"/>
                    </a:ext>
                  </a:extLst>
                </p:cNvPr>
                <p:cNvSpPr/>
                <p:nvPr/>
              </p:nvSpPr>
              <p:spPr>
                <a:xfrm flipH="1">
                  <a:off x="2325183" y="3168294"/>
                  <a:ext cx="648737" cy="40542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15118"/>
                      </a:moveTo>
                      <a:cubicBezTo>
                        <a:pt x="21600" y="12134"/>
                        <a:pt x="20338" y="9619"/>
                        <a:pt x="18621" y="8869"/>
                      </a:cubicBezTo>
                      <a:cubicBezTo>
                        <a:pt x="17994" y="6213"/>
                        <a:pt x="16389" y="4318"/>
                        <a:pt x="14511" y="4318"/>
                      </a:cubicBezTo>
                      <a:cubicBezTo>
                        <a:pt x="14079" y="4318"/>
                        <a:pt x="13661" y="4418"/>
                        <a:pt x="13264" y="4609"/>
                      </a:cubicBezTo>
                      <a:cubicBezTo>
                        <a:pt x="12194" y="1840"/>
                        <a:pt x="10283" y="0"/>
                        <a:pt x="8101" y="0"/>
                      </a:cubicBezTo>
                      <a:cubicBezTo>
                        <a:pt x="4789" y="0"/>
                        <a:pt x="2096" y="4241"/>
                        <a:pt x="2027" y="9508"/>
                      </a:cubicBezTo>
                      <a:cubicBezTo>
                        <a:pt x="814" y="10631"/>
                        <a:pt x="0" y="12725"/>
                        <a:pt x="0" y="15118"/>
                      </a:cubicBezTo>
                      <a:cubicBezTo>
                        <a:pt x="0" y="18694"/>
                        <a:pt x="1816" y="21600"/>
                        <a:pt x="4050" y="21600"/>
                      </a:cubicBezTo>
                      <a:lnTo>
                        <a:pt x="8101" y="21600"/>
                      </a:lnTo>
                      <a:lnTo>
                        <a:pt x="8101" y="19438"/>
                      </a:lnTo>
                      <a:lnTo>
                        <a:pt x="4047" y="19438"/>
                      </a:lnTo>
                      <a:cubicBezTo>
                        <a:pt x="2561" y="19438"/>
                        <a:pt x="1352" y="17508"/>
                        <a:pt x="1352" y="15118"/>
                      </a:cubicBezTo>
                      <a:cubicBezTo>
                        <a:pt x="1352" y="13077"/>
                        <a:pt x="2237" y="11359"/>
                        <a:pt x="3434" y="10911"/>
                      </a:cubicBezTo>
                      <a:cubicBezTo>
                        <a:pt x="3395" y="10526"/>
                        <a:pt x="3375" y="10125"/>
                        <a:pt x="3375" y="9718"/>
                      </a:cubicBezTo>
                      <a:cubicBezTo>
                        <a:pt x="3375" y="5542"/>
                        <a:pt x="5491" y="2163"/>
                        <a:pt x="8101" y="2163"/>
                      </a:cubicBezTo>
                      <a:cubicBezTo>
                        <a:pt x="10233" y="2163"/>
                        <a:pt x="12036" y="4424"/>
                        <a:pt x="12623" y="7530"/>
                      </a:cubicBezTo>
                      <a:cubicBezTo>
                        <a:pt x="13143" y="6871"/>
                        <a:pt x="13795" y="6481"/>
                        <a:pt x="14511" y="6481"/>
                      </a:cubicBezTo>
                      <a:cubicBezTo>
                        <a:pt x="16076" y="6481"/>
                        <a:pt x="17361" y="8369"/>
                        <a:pt x="17530" y="10800"/>
                      </a:cubicBezTo>
                      <a:lnTo>
                        <a:pt x="17549" y="10800"/>
                      </a:lnTo>
                      <a:cubicBezTo>
                        <a:pt x="19039" y="10800"/>
                        <a:pt x="20249" y="12736"/>
                        <a:pt x="20249" y="15118"/>
                      </a:cubicBezTo>
                      <a:cubicBezTo>
                        <a:pt x="20249" y="17503"/>
                        <a:pt x="19042" y="19438"/>
                        <a:pt x="17549" y="19438"/>
                      </a:cubicBezTo>
                      <a:lnTo>
                        <a:pt x="13499" y="19438"/>
                      </a:lnTo>
                      <a:lnTo>
                        <a:pt x="13499" y="21600"/>
                      </a:lnTo>
                      <a:lnTo>
                        <a:pt x="17549" y="21600"/>
                      </a:lnTo>
                      <a:cubicBezTo>
                        <a:pt x="19784" y="21600"/>
                        <a:pt x="21600" y="18689"/>
                        <a:pt x="21600" y="15118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85000" lnSpcReduction="1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63" name="ïsḷiḑê">
                  <a:extLst>
                    <a:ext uri="{FF2B5EF4-FFF2-40B4-BE49-F238E27FC236}">
                      <a16:creationId xmlns:a16="http://schemas.microsoft.com/office/drawing/2014/main" id="{13A2E47C-6243-46F9-B4A9-0E119D6E9362}"/>
                    </a:ext>
                  </a:extLst>
                </p:cNvPr>
                <p:cNvSpPr/>
                <p:nvPr/>
              </p:nvSpPr>
              <p:spPr>
                <a:xfrm flipH="1">
                  <a:off x="2550397" y="3353304"/>
                  <a:ext cx="202705" cy="28378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5115" y="21600"/>
                      </a:moveTo>
                      <a:lnTo>
                        <a:pt x="15115" y="9260"/>
                      </a:lnTo>
                      <a:lnTo>
                        <a:pt x="21600" y="9260"/>
                      </a:lnTo>
                      <a:lnTo>
                        <a:pt x="10800" y="0"/>
                      </a:lnTo>
                      <a:lnTo>
                        <a:pt x="0" y="9260"/>
                      </a:lnTo>
                      <a:lnTo>
                        <a:pt x="6475" y="9260"/>
                      </a:lnTo>
                      <a:lnTo>
                        <a:pt x="6475" y="21600"/>
                      </a:lnTo>
                      <a:cubicBezTo>
                        <a:pt x="6475" y="21600"/>
                        <a:pt x="15115" y="21600"/>
                        <a:pt x="15115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47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64" name="íSļíḓè">
                  <a:extLst>
                    <a:ext uri="{FF2B5EF4-FFF2-40B4-BE49-F238E27FC236}">
                      <a16:creationId xmlns:a16="http://schemas.microsoft.com/office/drawing/2014/main" id="{E74A47DA-E3B7-491D-BB89-09A9E3F62202}"/>
                    </a:ext>
                  </a:extLst>
                </p:cNvPr>
                <p:cNvSpPr/>
                <p:nvPr/>
              </p:nvSpPr>
              <p:spPr>
                <a:xfrm flipH="1">
                  <a:off x="2966663" y="2684881"/>
                  <a:ext cx="126618" cy="17911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3936"/>
                      </a:moveTo>
                      <a:lnTo>
                        <a:pt x="16048" y="0"/>
                      </a:lnTo>
                      <a:cubicBezTo>
                        <a:pt x="6735" y="5009"/>
                        <a:pt x="579" y="12798"/>
                        <a:pt x="0" y="21600"/>
                      </a:cubicBezTo>
                      <a:lnTo>
                        <a:pt x="7788" y="21600"/>
                      </a:lnTo>
                      <a:cubicBezTo>
                        <a:pt x="8367" y="14313"/>
                        <a:pt x="13665" y="7924"/>
                        <a:pt x="21600" y="393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65" name="ïşļîḑé">
                  <a:extLst>
                    <a:ext uri="{FF2B5EF4-FFF2-40B4-BE49-F238E27FC236}">
                      <a16:creationId xmlns:a16="http://schemas.microsoft.com/office/drawing/2014/main" id="{069C07DF-AD91-46B2-9609-48496B0E2F13}"/>
                    </a:ext>
                  </a:extLst>
                </p:cNvPr>
                <p:cNvSpPr/>
                <p:nvPr/>
              </p:nvSpPr>
              <p:spPr>
                <a:xfrm flipH="1">
                  <a:off x="2810998" y="3090709"/>
                  <a:ext cx="91305" cy="4566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4" y="21600"/>
                      </a:moveTo>
                      <a:cubicBezTo>
                        <a:pt x="11562" y="21600"/>
                        <a:pt x="12256" y="21508"/>
                        <a:pt x="12966" y="21163"/>
                      </a:cubicBezTo>
                      <a:cubicBezTo>
                        <a:pt x="16468" y="19774"/>
                        <a:pt x="19390" y="14908"/>
                        <a:pt x="20729" y="8408"/>
                      </a:cubicBezTo>
                      <a:cubicBezTo>
                        <a:pt x="21273" y="5854"/>
                        <a:pt x="21600" y="3038"/>
                        <a:pt x="21600" y="0"/>
                      </a:cubicBezTo>
                      <a:lnTo>
                        <a:pt x="0" y="0"/>
                      </a:lnTo>
                      <a:cubicBezTo>
                        <a:pt x="0" y="11883"/>
                        <a:pt x="4862" y="21600"/>
                        <a:pt x="10804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66" name="íṣļíḋè">
                  <a:extLst>
                    <a:ext uri="{FF2B5EF4-FFF2-40B4-BE49-F238E27FC236}">
                      <a16:creationId xmlns:a16="http://schemas.microsoft.com/office/drawing/2014/main" id="{81CFF4FD-4F63-4324-90EB-F2B6FB467C65}"/>
                    </a:ext>
                  </a:extLst>
                </p:cNvPr>
                <p:cNvSpPr/>
                <p:nvPr/>
              </p:nvSpPr>
              <p:spPr>
                <a:xfrm flipH="1">
                  <a:off x="2663568" y="2678913"/>
                  <a:ext cx="387937" cy="38789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20330"/>
                      </a:moveTo>
                      <a:lnTo>
                        <a:pt x="19058" y="17790"/>
                      </a:lnTo>
                      <a:lnTo>
                        <a:pt x="19058" y="10802"/>
                      </a:lnTo>
                      <a:cubicBezTo>
                        <a:pt x="19058" y="6901"/>
                        <a:pt x="16354" y="3634"/>
                        <a:pt x="12705" y="2771"/>
                      </a:cubicBezTo>
                      <a:lnTo>
                        <a:pt x="12705" y="1906"/>
                      </a:lnTo>
                      <a:cubicBezTo>
                        <a:pt x="12705" y="853"/>
                        <a:pt x="11855" y="0"/>
                        <a:pt x="10800" y="0"/>
                      </a:cubicBezTo>
                      <a:cubicBezTo>
                        <a:pt x="9744" y="0"/>
                        <a:pt x="8895" y="853"/>
                        <a:pt x="8895" y="1906"/>
                      </a:cubicBezTo>
                      <a:lnTo>
                        <a:pt x="8895" y="2771"/>
                      </a:lnTo>
                      <a:cubicBezTo>
                        <a:pt x="5245" y="3634"/>
                        <a:pt x="2541" y="6902"/>
                        <a:pt x="2541" y="10802"/>
                      </a:cubicBezTo>
                      <a:lnTo>
                        <a:pt x="2541" y="17790"/>
                      </a:lnTo>
                      <a:lnTo>
                        <a:pt x="0" y="20330"/>
                      </a:lnTo>
                      <a:lnTo>
                        <a:pt x="0" y="21600"/>
                      </a:lnTo>
                      <a:lnTo>
                        <a:pt x="21600" y="21600"/>
                      </a:lnTo>
                      <a:cubicBezTo>
                        <a:pt x="21600" y="21600"/>
                        <a:pt x="21600" y="20330"/>
                        <a:pt x="21600" y="2033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67" name="ïṣliďê">
                  <a:extLst>
                    <a:ext uri="{FF2B5EF4-FFF2-40B4-BE49-F238E27FC236}">
                      <a16:creationId xmlns:a16="http://schemas.microsoft.com/office/drawing/2014/main" id="{DE27DA94-9661-4AC0-B7D5-0EBD5EEE40F5}"/>
                    </a:ext>
                  </a:extLst>
                </p:cNvPr>
                <p:cNvSpPr/>
                <p:nvPr/>
              </p:nvSpPr>
              <p:spPr>
                <a:xfrm flipH="1">
                  <a:off x="2614285" y="2684881"/>
                  <a:ext cx="126881" cy="17911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3936"/>
                      </a:moveTo>
                      <a:cubicBezTo>
                        <a:pt x="7957" y="7924"/>
                        <a:pt x="13248" y="14313"/>
                        <a:pt x="13828" y="21600"/>
                      </a:cubicBezTo>
                      <a:lnTo>
                        <a:pt x="21600" y="21600"/>
                      </a:lnTo>
                      <a:cubicBezTo>
                        <a:pt x="21020" y="12798"/>
                        <a:pt x="14873" y="5009"/>
                        <a:pt x="5554" y="0"/>
                      </a:cubicBezTo>
                      <a:cubicBezTo>
                        <a:pt x="5554" y="0"/>
                        <a:pt x="0" y="3936"/>
                        <a:pt x="0" y="393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68" name="iṩḷîďe">
                  <a:extLst>
                    <a:ext uri="{FF2B5EF4-FFF2-40B4-BE49-F238E27FC236}">
                      <a16:creationId xmlns:a16="http://schemas.microsoft.com/office/drawing/2014/main" id="{44431083-AAD6-4DE4-841F-2DB0AF0D792A}"/>
                    </a:ext>
                  </a:extLst>
                </p:cNvPr>
                <p:cNvSpPr/>
                <p:nvPr/>
              </p:nvSpPr>
              <p:spPr>
                <a:xfrm flipH="1">
                  <a:off x="2945968" y="1407715"/>
                  <a:ext cx="475558" cy="57534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19804" extrusionOk="0">
                      <a:moveTo>
                        <a:pt x="13214" y="199"/>
                      </a:moveTo>
                      <a:cubicBezTo>
                        <a:pt x="13214" y="199"/>
                        <a:pt x="11791" y="1749"/>
                        <a:pt x="10114" y="5045"/>
                      </a:cubicBezTo>
                      <a:cubicBezTo>
                        <a:pt x="4927" y="3268"/>
                        <a:pt x="0" y="5758"/>
                        <a:pt x="0" y="10087"/>
                      </a:cubicBezTo>
                      <a:cubicBezTo>
                        <a:pt x="0" y="14608"/>
                        <a:pt x="4591" y="21478"/>
                        <a:pt x="10797" y="19403"/>
                      </a:cubicBezTo>
                      <a:cubicBezTo>
                        <a:pt x="17336" y="21547"/>
                        <a:pt x="21600" y="14608"/>
                        <a:pt x="21600" y="10087"/>
                      </a:cubicBezTo>
                      <a:cubicBezTo>
                        <a:pt x="21600" y="5719"/>
                        <a:pt x="17169" y="3159"/>
                        <a:pt x="11411" y="5084"/>
                      </a:cubicBezTo>
                      <a:cubicBezTo>
                        <a:pt x="11892" y="4476"/>
                        <a:pt x="12654" y="3604"/>
                        <a:pt x="13614" y="2769"/>
                      </a:cubicBezTo>
                      <a:cubicBezTo>
                        <a:pt x="14429" y="2060"/>
                        <a:pt x="16024" y="1150"/>
                        <a:pt x="16024" y="1150"/>
                      </a:cubicBezTo>
                      <a:cubicBezTo>
                        <a:pt x="16264" y="1012"/>
                        <a:pt x="16237" y="822"/>
                        <a:pt x="15964" y="724"/>
                      </a:cubicBezTo>
                      <a:lnTo>
                        <a:pt x="14040" y="42"/>
                      </a:lnTo>
                      <a:cubicBezTo>
                        <a:pt x="13767" y="-53"/>
                        <a:pt x="13395" y="16"/>
                        <a:pt x="13214" y="199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69" name="íṩ1ïḍè">
                  <a:extLst>
                    <a:ext uri="{FF2B5EF4-FFF2-40B4-BE49-F238E27FC236}">
                      <a16:creationId xmlns:a16="http://schemas.microsoft.com/office/drawing/2014/main" id="{1F0E36EB-0B07-4167-BF5B-80CF49922F00}"/>
                    </a:ext>
                  </a:extLst>
                </p:cNvPr>
                <p:cNvSpPr/>
                <p:nvPr/>
              </p:nvSpPr>
              <p:spPr>
                <a:xfrm flipH="1">
                  <a:off x="3182067" y="1377875"/>
                  <a:ext cx="132033" cy="13208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328" h="20338" extrusionOk="0">
                      <a:moveTo>
                        <a:pt x="18304" y="20314"/>
                      </a:moveTo>
                      <a:cubicBezTo>
                        <a:pt x="19330" y="20224"/>
                        <a:pt x="20221" y="19326"/>
                        <a:pt x="20304" y="18315"/>
                      </a:cubicBezTo>
                      <a:cubicBezTo>
                        <a:pt x="20304" y="18315"/>
                        <a:pt x="20956" y="10401"/>
                        <a:pt x="15443" y="4887"/>
                      </a:cubicBezTo>
                      <a:cubicBezTo>
                        <a:pt x="9912" y="-635"/>
                        <a:pt x="2021" y="25"/>
                        <a:pt x="2021" y="25"/>
                      </a:cubicBezTo>
                      <a:cubicBezTo>
                        <a:pt x="1005" y="107"/>
                        <a:pt x="111" y="1004"/>
                        <a:pt x="25" y="2019"/>
                      </a:cubicBezTo>
                      <a:cubicBezTo>
                        <a:pt x="25" y="2019"/>
                        <a:pt x="-644" y="9941"/>
                        <a:pt x="4878" y="15452"/>
                      </a:cubicBezTo>
                      <a:cubicBezTo>
                        <a:pt x="10392" y="20965"/>
                        <a:pt x="18304" y="20314"/>
                        <a:pt x="18304" y="20314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70" name="ísľiḓè">
                  <a:extLst>
                    <a:ext uri="{FF2B5EF4-FFF2-40B4-BE49-F238E27FC236}">
                      <a16:creationId xmlns:a16="http://schemas.microsoft.com/office/drawing/2014/main" id="{DB3F4B49-C588-4345-A615-EF972AB3E941}"/>
                    </a:ext>
                  </a:extLst>
                </p:cNvPr>
                <p:cNvSpPr/>
                <p:nvPr/>
              </p:nvSpPr>
              <p:spPr>
                <a:xfrm flipH="1">
                  <a:off x="2493743" y="3633803"/>
                  <a:ext cx="444369" cy="37201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478" h="20928" extrusionOk="0">
                      <a:moveTo>
                        <a:pt x="21478" y="15912"/>
                      </a:moveTo>
                      <a:cubicBezTo>
                        <a:pt x="21478" y="10469"/>
                        <a:pt x="17257" y="6049"/>
                        <a:pt x="11998" y="5888"/>
                      </a:cubicBezTo>
                      <a:cubicBezTo>
                        <a:pt x="11736" y="6054"/>
                        <a:pt x="12438" y="6360"/>
                        <a:pt x="12727" y="6622"/>
                      </a:cubicBezTo>
                      <a:cubicBezTo>
                        <a:pt x="13302" y="7147"/>
                        <a:pt x="13038" y="7728"/>
                        <a:pt x="12754" y="7599"/>
                      </a:cubicBezTo>
                      <a:cubicBezTo>
                        <a:pt x="12090" y="6937"/>
                        <a:pt x="11303" y="6538"/>
                        <a:pt x="10484" y="6408"/>
                      </a:cubicBezTo>
                      <a:lnTo>
                        <a:pt x="10486" y="6403"/>
                      </a:lnTo>
                      <a:cubicBezTo>
                        <a:pt x="10486" y="6403"/>
                        <a:pt x="6439" y="6013"/>
                        <a:pt x="5127" y="4484"/>
                      </a:cubicBezTo>
                      <a:cubicBezTo>
                        <a:pt x="4640" y="3920"/>
                        <a:pt x="4004" y="2858"/>
                        <a:pt x="4081" y="1537"/>
                      </a:cubicBezTo>
                      <a:cubicBezTo>
                        <a:pt x="4099" y="1138"/>
                        <a:pt x="3988" y="732"/>
                        <a:pt x="3726" y="427"/>
                      </a:cubicBezTo>
                      <a:cubicBezTo>
                        <a:pt x="3237" y="-143"/>
                        <a:pt x="2445" y="-143"/>
                        <a:pt x="1954" y="427"/>
                      </a:cubicBezTo>
                      <a:cubicBezTo>
                        <a:pt x="1602" y="837"/>
                        <a:pt x="1513" y="1429"/>
                        <a:pt x="1668" y="1942"/>
                      </a:cubicBezTo>
                      <a:cubicBezTo>
                        <a:pt x="1228" y="1761"/>
                        <a:pt x="720" y="1864"/>
                        <a:pt x="366" y="2275"/>
                      </a:cubicBezTo>
                      <a:cubicBezTo>
                        <a:pt x="-122" y="2845"/>
                        <a:pt x="-122" y="3768"/>
                        <a:pt x="366" y="4337"/>
                      </a:cubicBezTo>
                      <a:cubicBezTo>
                        <a:pt x="604" y="4613"/>
                        <a:pt x="910" y="4749"/>
                        <a:pt x="1221" y="4758"/>
                      </a:cubicBezTo>
                      <a:lnTo>
                        <a:pt x="1221" y="4763"/>
                      </a:lnTo>
                      <a:cubicBezTo>
                        <a:pt x="1229" y="4762"/>
                        <a:pt x="1236" y="4765"/>
                        <a:pt x="1245" y="4762"/>
                      </a:cubicBezTo>
                      <a:cubicBezTo>
                        <a:pt x="1252" y="4762"/>
                        <a:pt x="1257" y="4762"/>
                        <a:pt x="1263" y="4762"/>
                      </a:cubicBezTo>
                      <a:cubicBezTo>
                        <a:pt x="2421" y="4648"/>
                        <a:pt x="3351" y="5405"/>
                        <a:pt x="3843" y="5980"/>
                      </a:cubicBezTo>
                      <a:cubicBezTo>
                        <a:pt x="5155" y="7506"/>
                        <a:pt x="5491" y="12217"/>
                        <a:pt x="5491" y="12217"/>
                      </a:cubicBezTo>
                      <a:lnTo>
                        <a:pt x="5505" y="12215"/>
                      </a:lnTo>
                      <a:cubicBezTo>
                        <a:pt x="5635" y="13287"/>
                        <a:pt x="6036" y="14322"/>
                        <a:pt x="6746" y="15146"/>
                      </a:cubicBezTo>
                      <a:cubicBezTo>
                        <a:pt x="7234" y="15715"/>
                        <a:pt x="7813" y="16105"/>
                        <a:pt x="8423" y="16353"/>
                      </a:cubicBezTo>
                      <a:cubicBezTo>
                        <a:pt x="8904" y="16547"/>
                        <a:pt x="9402" y="16657"/>
                        <a:pt x="9905" y="16654"/>
                      </a:cubicBezTo>
                      <a:cubicBezTo>
                        <a:pt x="10148" y="16651"/>
                        <a:pt x="10391" y="16622"/>
                        <a:pt x="10631" y="16573"/>
                      </a:cubicBezTo>
                      <a:cubicBezTo>
                        <a:pt x="10761" y="16547"/>
                        <a:pt x="10885" y="16503"/>
                        <a:pt x="11014" y="16464"/>
                      </a:cubicBezTo>
                      <a:cubicBezTo>
                        <a:pt x="11119" y="16428"/>
                        <a:pt x="11224" y="16397"/>
                        <a:pt x="11329" y="16355"/>
                      </a:cubicBezTo>
                      <a:cubicBezTo>
                        <a:pt x="11494" y="16287"/>
                        <a:pt x="11656" y="16206"/>
                        <a:pt x="11817" y="16114"/>
                      </a:cubicBezTo>
                      <a:cubicBezTo>
                        <a:pt x="11864" y="16087"/>
                        <a:pt x="11910" y="16057"/>
                        <a:pt x="11957" y="16027"/>
                      </a:cubicBezTo>
                      <a:cubicBezTo>
                        <a:pt x="12150" y="15908"/>
                        <a:pt x="12337" y="15774"/>
                        <a:pt x="12516" y="15619"/>
                      </a:cubicBezTo>
                      <a:cubicBezTo>
                        <a:pt x="13085" y="14986"/>
                        <a:pt x="13690" y="15697"/>
                        <a:pt x="13183" y="16237"/>
                      </a:cubicBezTo>
                      <a:cubicBezTo>
                        <a:pt x="12235" y="17173"/>
                        <a:pt x="11135" y="17603"/>
                        <a:pt x="9879" y="17603"/>
                      </a:cubicBezTo>
                      <a:cubicBezTo>
                        <a:pt x="8479" y="17603"/>
                        <a:pt x="7162" y="16968"/>
                        <a:pt x="6171" y="15816"/>
                      </a:cubicBezTo>
                      <a:cubicBezTo>
                        <a:pt x="5370" y="14884"/>
                        <a:pt x="4863" y="13684"/>
                        <a:pt x="4702" y="12345"/>
                      </a:cubicBezTo>
                      <a:lnTo>
                        <a:pt x="4697" y="12321"/>
                      </a:lnTo>
                      <a:lnTo>
                        <a:pt x="4696" y="12295"/>
                      </a:lnTo>
                      <a:cubicBezTo>
                        <a:pt x="4637" y="11504"/>
                        <a:pt x="4492" y="10423"/>
                        <a:pt x="4276" y="9400"/>
                      </a:cubicBezTo>
                      <a:cubicBezTo>
                        <a:pt x="2817" y="11153"/>
                        <a:pt x="1931" y="13425"/>
                        <a:pt x="1931" y="15912"/>
                      </a:cubicBezTo>
                      <a:cubicBezTo>
                        <a:pt x="1931" y="21457"/>
                        <a:pt x="3494" y="20913"/>
                        <a:pt x="11706" y="20913"/>
                      </a:cubicBezTo>
                      <a:cubicBezTo>
                        <a:pt x="19296" y="20913"/>
                        <a:pt x="21478" y="21457"/>
                        <a:pt x="21478" y="15912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71" name="ïsļïḍé">
                  <a:extLst>
                    <a:ext uri="{FF2B5EF4-FFF2-40B4-BE49-F238E27FC236}">
                      <a16:creationId xmlns:a16="http://schemas.microsoft.com/office/drawing/2014/main" id="{58BF4B75-43DF-4AA6-8B32-015F2428114E}"/>
                    </a:ext>
                  </a:extLst>
                </p:cNvPr>
                <p:cNvSpPr/>
                <p:nvPr/>
              </p:nvSpPr>
              <p:spPr>
                <a:xfrm rot="19390261">
                  <a:off x="1267091" y="1370212"/>
                  <a:ext cx="385833" cy="49840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554" extrusionOk="0">
                      <a:moveTo>
                        <a:pt x="3282" y="12464"/>
                      </a:moveTo>
                      <a:cubicBezTo>
                        <a:pt x="3648" y="12579"/>
                        <a:pt x="3978" y="12468"/>
                        <a:pt x="4084" y="12153"/>
                      </a:cubicBezTo>
                      <a:cubicBezTo>
                        <a:pt x="4158" y="11937"/>
                        <a:pt x="4334" y="11388"/>
                        <a:pt x="4411" y="11160"/>
                      </a:cubicBezTo>
                      <a:cubicBezTo>
                        <a:pt x="4519" y="10850"/>
                        <a:pt x="4478" y="10741"/>
                        <a:pt x="4181" y="10470"/>
                      </a:cubicBezTo>
                      <a:cubicBezTo>
                        <a:pt x="3536" y="9882"/>
                        <a:pt x="3123" y="9121"/>
                        <a:pt x="3123" y="8043"/>
                      </a:cubicBezTo>
                      <a:cubicBezTo>
                        <a:pt x="3123" y="4914"/>
                        <a:pt x="6154" y="2113"/>
                        <a:pt x="11014" y="2113"/>
                      </a:cubicBezTo>
                      <a:cubicBezTo>
                        <a:pt x="15318" y="2113"/>
                        <a:pt x="17682" y="4144"/>
                        <a:pt x="17682" y="6858"/>
                      </a:cubicBezTo>
                      <a:cubicBezTo>
                        <a:pt x="17682" y="10427"/>
                        <a:pt x="15637" y="13440"/>
                        <a:pt x="12601" y="13440"/>
                      </a:cubicBezTo>
                      <a:cubicBezTo>
                        <a:pt x="10925" y="13440"/>
                        <a:pt x="9669" y="12369"/>
                        <a:pt x="10072" y="11055"/>
                      </a:cubicBezTo>
                      <a:cubicBezTo>
                        <a:pt x="10553" y="9487"/>
                        <a:pt x="11486" y="7794"/>
                        <a:pt x="11486" y="6662"/>
                      </a:cubicBezTo>
                      <a:cubicBezTo>
                        <a:pt x="11486" y="5649"/>
                        <a:pt x="10782" y="4804"/>
                        <a:pt x="9323" y="4804"/>
                      </a:cubicBezTo>
                      <a:cubicBezTo>
                        <a:pt x="7612" y="4804"/>
                        <a:pt x="6235" y="6173"/>
                        <a:pt x="6235" y="8008"/>
                      </a:cubicBezTo>
                      <a:cubicBezTo>
                        <a:pt x="6235" y="9176"/>
                        <a:pt x="6746" y="9967"/>
                        <a:pt x="6746" y="9967"/>
                      </a:cubicBezTo>
                      <a:cubicBezTo>
                        <a:pt x="6746" y="9967"/>
                        <a:pt x="4991" y="15708"/>
                        <a:pt x="4684" y="16714"/>
                      </a:cubicBezTo>
                      <a:cubicBezTo>
                        <a:pt x="4072" y="18715"/>
                        <a:pt x="4593" y="21170"/>
                        <a:pt x="4636" y="21418"/>
                      </a:cubicBezTo>
                      <a:cubicBezTo>
                        <a:pt x="4662" y="21564"/>
                        <a:pt x="4905" y="21600"/>
                        <a:pt x="5018" y="21489"/>
                      </a:cubicBezTo>
                      <a:cubicBezTo>
                        <a:pt x="5176" y="21329"/>
                        <a:pt x="7217" y="19382"/>
                        <a:pt x="7910" y="17437"/>
                      </a:cubicBezTo>
                      <a:cubicBezTo>
                        <a:pt x="8107" y="16887"/>
                        <a:pt x="9038" y="14035"/>
                        <a:pt x="9038" y="14035"/>
                      </a:cubicBezTo>
                      <a:cubicBezTo>
                        <a:pt x="9594" y="14855"/>
                        <a:pt x="11221" y="15578"/>
                        <a:pt x="12952" y="15578"/>
                      </a:cubicBezTo>
                      <a:cubicBezTo>
                        <a:pt x="18103" y="15578"/>
                        <a:pt x="21600" y="11950"/>
                        <a:pt x="21600" y="7092"/>
                      </a:cubicBezTo>
                      <a:cubicBezTo>
                        <a:pt x="21600" y="3420"/>
                        <a:pt x="17573" y="0"/>
                        <a:pt x="11454" y="0"/>
                      </a:cubicBezTo>
                      <a:cubicBezTo>
                        <a:pt x="3839" y="0"/>
                        <a:pt x="0" y="4218"/>
                        <a:pt x="0" y="7734"/>
                      </a:cubicBezTo>
                      <a:cubicBezTo>
                        <a:pt x="0" y="9864"/>
                        <a:pt x="1043" y="11758"/>
                        <a:pt x="3282" y="12464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72" name="ïṩḷíḋê">
                  <a:extLst>
                    <a:ext uri="{FF2B5EF4-FFF2-40B4-BE49-F238E27FC236}">
                      <a16:creationId xmlns:a16="http://schemas.microsoft.com/office/drawing/2014/main" id="{18C99AB9-D552-40FB-9525-9061A69B1A87}"/>
                    </a:ext>
                  </a:extLst>
                </p:cNvPr>
                <p:cNvSpPr/>
                <p:nvPr/>
              </p:nvSpPr>
              <p:spPr>
                <a:xfrm flipH="1">
                  <a:off x="1078348" y="2816178"/>
                  <a:ext cx="409524" cy="40950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19440"/>
                      </a:moveTo>
                      <a:cubicBezTo>
                        <a:pt x="6027" y="19440"/>
                        <a:pt x="2159" y="15575"/>
                        <a:pt x="2159" y="10800"/>
                      </a:cubicBezTo>
                      <a:cubicBezTo>
                        <a:pt x="2159" y="6025"/>
                        <a:pt x="6027" y="2160"/>
                        <a:pt x="10800" y="2160"/>
                      </a:cubicBezTo>
                      <a:cubicBezTo>
                        <a:pt x="15573" y="2160"/>
                        <a:pt x="19442" y="6025"/>
                        <a:pt x="19442" y="10800"/>
                      </a:cubicBezTo>
                      <a:cubicBezTo>
                        <a:pt x="19442" y="15575"/>
                        <a:pt x="15573" y="19440"/>
                        <a:pt x="10800" y="19440"/>
                      </a:cubicBezTo>
                      <a:close/>
                      <a:moveTo>
                        <a:pt x="10791" y="0"/>
                      </a:moveTo>
                      <a:cubicBezTo>
                        <a:pt x="4830" y="0"/>
                        <a:pt x="0" y="4838"/>
                        <a:pt x="0" y="10800"/>
                      </a:cubicBezTo>
                      <a:cubicBezTo>
                        <a:pt x="0" y="16760"/>
                        <a:pt x="4830" y="21600"/>
                        <a:pt x="10791" y="21600"/>
                      </a:cubicBezTo>
                      <a:cubicBezTo>
                        <a:pt x="16762" y="21600"/>
                        <a:pt x="21600" y="16760"/>
                        <a:pt x="21600" y="10800"/>
                      </a:cubicBezTo>
                      <a:cubicBezTo>
                        <a:pt x="21600" y="4838"/>
                        <a:pt x="16762" y="0"/>
                        <a:pt x="10791" y="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73" name="ï$1ïḋe">
                  <a:extLst>
                    <a:ext uri="{FF2B5EF4-FFF2-40B4-BE49-F238E27FC236}">
                      <a16:creationId xmlns:a16="http://schemas.microsoft.com/office/drawing/2014/main" id="{491AE1D5-10CF-4F7F-8C71-DFFB87EB4F31}"/>
                    </a:ext>
                  </a:extLst>
                </p:cNvPr>
                <p:cNvSpPr/>
                <p:nvPr/>
              </p:nvSpPr>
              <p:spPr>
                <a:xfrm flipH="1">
                  <a:off x="1175766" y="2941508"/>
                  <a:ext cx="61447" cy="6146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1" y="21600"/>
                      </a:moveTo>
                      <a:cubicBezTo>
                        <a:pt x="16787" y="21600"/>
                        <a:pt x="21600" y="16771"/>
                        <a:pt x="21600" y="10803"/>
                      </a:cubicBezTo>
                      <a:cubicBezTo>
                        <a:pt x="21600" y="4828"/>
                        <a:pt x="16787" y="0"/>
                        <a:pt x="10801" y="0"/>
                      </a:cubicBezTo>
                      <a:cubicBezTo>
                        <a:pt x="4833" y="0"/>
                        <a:pt x="0" y="4828"/>
                        <a:pt x="0" y="10803"/>
                      </a:cubicBezTo>
                      <a:cubicBezTo>
                        <a:pt x="0" y="16771"/>
                        <a:pt x="4833" y="21600"/>
                        <a:pt x="10801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74" name="ïśḻîḍe">
                  <a:extLst>
                    <a:ext uri="{FF2B5EF4-FFF2-40B4-BE49-F238E27FC236}">
                      <a16:creationId xmlns:a16="http://schemas.microsoft.com/office/drawing/2014/main" id="{0616D674-4E01-4D8B-873F-80149028E8C4}"/>
                    </a:ext>
                  </a:extLst>
                </p:cNvPr>
                <p:cNvSpPr/>
                <p:nvPr/>
              </p:nvSpPr>
              <p:spPr>
                <a:xfrm flipH="1">
                  <a:off x="1177129" y="3060869"/>
                  <a:ext cx="209285" cy="7164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1" y="21600"/>
                      </a:moveTo>
                      <a:cubicBezTo>
                        <a:pt x="15724" y="21600"/>
                        <a:pt x="19913" y="12593"/>
                        <a:pt x="21600" y="0"/>
                      </a:cubicBezTo>
                      <a:lnTo>
                        <a:pt x="0" y="0"/>
                      </a:lnTo>
                      <a:cubicBezTo>
                        <a:pt x="1690" y="12593"/>
                        <a:pt x="5878" y="21600"/>
                        <a:pt x="10801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75" name="íṩ1iḓe">
                  <a:extLst>
                    <a:ext uri="{FF2B5EF4-FFF2-40B4-BE49-F238E27FC236}">
                      <a16:creationId xmlns:a16="http://schemas.microsoft.com/office/drawing/2014/main" id="{32EDA4BA-63A1-43C5-A4FA-175415EB205C}"/>
                    </a:ext>
                  </a:extLst>
                </p:cNvPr>
                <p:cNvSpPr/>
                <p:nvPr/>
              </p:nvSpPr>
              <p:spPr>
                <a:xfrm flipH="1">
                  <a:off x="1318976" y="2941508"/>
                  <a:ext cx="61471" cy="6146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3" y="21600"/>
                      </a:moveTo>
                      <a:cubicBezTo>
                        <a:pt x="16763" y="21600"/>
                        <a:pt x="21600" y="16771"/>
                        <a:pt x="21600" y="10803"/>
                      </a:cubicBezTo>
                      <a:cubicBezTo>
                        <a:pt x="21600" y="4831"/>
                        <a:pt x="16763" y="0"/>
                        <a:pt x="10803" y="0"/>
                      </a:cubicBezTo>
                      <a:cubicBezTo>
                        <a:pt x="4819" y="0"/>
                        <a:pt x="0" y="4828"/>
                        <a:pt x="0" y="10803"/>
                      </a:cubicBezTo>
                      <a:cubicBezTo>
                        <a:pt x="0" y="16771"/>
                        <a:pt x="4819" y="21600"/>
                        <a:pt x="10803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76" name="ïṧḻïḋê">
                  <a:extLst>
                    <a:ext uri="{FF2B5EF4-FFF2-40B4-BE49-F238E27FC236}">
                      <a16:creationId xmlns:a16="http://schemas.microsoft.com/office/drawing/2014/main" id="{9172EA6E-538D-4EA2-96D1-841E6C045D28}"/>
                    </a:ext>
                  </a:extLst>
                </p:cNvPr>
                <p:cNvSpPr/>
                <p:nvPr/>
              </p:nvSpPr>
              <p:spPr>
                <a:xfrm flipH="1">
                  <a:off x="2024058" y="1157056"/>
                  <a:ext cx="54652" cy="5446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12085"/>
                      </a:moveTo>
                      <a:lnTo>
                        <a:pt x="9486" y="0"/>
                      </a:lnTo>
                      <a:lnTo>
                        <a:pt x="0" y="9523"/>
                      </a:lnTo>
                      <a:lnTo>
                        <a:pt x="12043" y="21600"/>
                      </a:lnTo>
                      <a:cubicBezTo>
                        <a:pt x="12043" y="21600"/>
                        <a:pt x="21600" y="12085"/>
                        <a:pt x="21600" y="12085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77" name="iś1iḓè">
                  <a:extLst>
                    <a:ext uri="{FF2B5EF4-FFF2-40B4-BE49-F238E27FC236}">
                      <a16:creationId xmlns:a16="http://schemas.microsoft.com/office/drawing/2014/main" id="{D3D243FB-651B-4618-972B-AFE95F9D7814}"/>
                    </a:ext>
                  </a:extLst>
                </p:cNvPr>
                <p:cNvSpPr/>
                <p:nvPr/>
              </p:nvSpPr>
              <p:spPr>
                <a:xfrm flipH="1">
                  <a:off x="1747155" y="1282386"/>
                  <a:ext cx="51056" cy="3404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21600"/>
                      </a:moveTo>
                      <a:lnTo>
                        <a:pt x="21600" y="21600"/>
                      </a:lnTo>
                      <a:lnTo>
                        <a:pt x="21600" y="0"/>
                      </a:lnTo>
                      <a:lnTo>
                        <a:pt x="0" y="0"/>
                      </a:lnTo>
                      <a:cubicBezTo>
                        <a:pt x="0" y="0"/>
                        <a:pt x="0" y="21600"/>
                        <a:pt x="0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78" name="išliḋe">
                  <a:extLst>
                    <a:ext uri="{FF2B5EF4-FFF2-40B4-BE49-F238E27FC236}">
                      <a16:creationId xmlns:a16="http://schemas.microsoft.com/office/drawing/2014/main" id="{647E58C6-7AFF-4D44-88DB-E941A6D852D3}"/>
                    </a:ext>
                  </a:extLst>
                </p:cNvPr>
                <p:cNvSpPr/>
                <p:nvPr/>
              </p:nvSpPr>
              <p:spPr>
                <a:xfrm flipH="1">
                  <a:off x="1919338" y="1115280"/>
                  <a:ext cx="34043" cy="5021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0"/>
                      </a:moveTo>
                      <a:lnTo>
                        <a:pt x="0" y="0"/>
                      </a:lnTo>
                      <a:lnTo>
                        <a:pt x="0" y="21600"/>
                      </a:lnTo>
                      <a:lnTo>
                        <a:pt x="21600" y="21600"/>
                      </a:lnTo>
                      <a:cubicBezTo>
                        <a:pt x="21600" y="21600"/>
                        <a:pt x="21600" y="0"/>
                        <a:pt x="21600" y="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79" name="íŝḻíḍè">
                  <a:extLst>
                    <a:ext uri="{FF2B5EF4-FFF2-40B4-BE49-F238E27FC236}">
                      <a16:creationId xmlns:a16="http://schemas.microsoft.com/office/drawing/2014/main" id="{1B3D0FFB-D1D3-43E9-8611-349713A4F8BC}"/>
                    </a:ext>
                  </a:extLst>
                </p:cNvPr>
                <p:cNvSpPr/>
                <p:nvPr/>
              </p:nvSpPr>
              <p:spPr>
                <a:xfrm flipH="1">
                  <a:off x="1791508" y="1389811"/>
                  <a:ext cx="54447" cy="5446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12077"/>
                      </a:moveTo>
                      <a:lnTo>
                        <a:pt x="9447" y="0"/>
                      </a:lnTo>
                      <a:lnTo>
                        <a:pt x="0" y="9443"/>
                      </a:lnTo>
                      <a:lnTo>
                        <a:pt x="12072" y="21600"/>
                      </a:lnTo>
                      <a:cubicBezTo>
                        <a:pt x="12072" y="21600"/>
                        <a:pt x="21600" y="12077"/>
                        <a:pt x="21600" y="12077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80" name="í$ļîḍê">
                  <a:extLst>
                    <a:ext uri="{FF2B5EF4-FFF2-40B4-BE49-F238E27FC236}">
                      <a16:creationId xmlns:a16="http://schemas.microsoft.com/office/drawing/2014/main" id="{7B248C11-B15A-416D-A2BE-6509164C5D95}"/>
                    </a:ext>
                  </a:extLst>
                </p:cNvPr>
                <p:cNvSpPr/>
                <p:nvPr/>
              </p:nvSpPr>
              <p:spPr>
                <a:xfrm flipH="1">
                  <a:off x="1919338" y="1437555"/>
                  <a:ext cx="34043" cy="5020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0"/>
                      </a:moveTo>
                      <a:lnTo>
                        <a:pt x="0" y="21600"/>
                      </a:lnTo>
                      <a:lnTo>
                        <a:pt x="21600" y="21600"/>
                      </a:lnTo>
                      <a:lnTo>
                        <a:pt x="21600" y="0"/>
                      </a:lnTo>
                      <a:cubicBezTo>
                        <a:pt x="2160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81" name="îṧḷîḑè">
                  <a:extLst>
                    <a:ext uri="{FF2B5EF4-FFF2-40B4-BE49-F238E27FC236}">
                      <a16:creationId xmlns:a16="http://schemas.microsoft.com/office/drawing/2014/main" id="{62ECC8A7-7CB6-49D0-A8B9-FA851CBAAC94}"/>
                    </a:ext>
                  </a:extLst>
                </p:cNvPr>
                <p:cNvSpPr/>
                <p:nvPr/>
              </p:nvSpPr>
              <p:spPr>
                <a:xfrm flipH="1">
                  <a:off x="2024239" y="1389811"/>
                  <a:ext cx="54471" cy="5464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9486"/>
                      </a:moveTo>
                      <a:lnTo>
                        <a:pt x="12083" y="0"/>
                      </a:lnTo>
                      <a:lnTo>
                        <a:pt x="0" y="12107"/>
                      </a:lnTo>
                      <a:lnTo>
                        <a:pt x="9517" y="21600"/>
                      </a:lnTo>
                      <a:cubicBezTo>
                        <a:pt x="9517" y="21600"/>
                        <a:pt x="21600" y="9486"/>
                        <a:pt x="21600" y="948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82" name="işḻíḓê">
                  <a:extLst>
                    <a:ext uri="{FF2B5EF4-FFF2-40B4-BE49-F238E27FC236}">
                      <a16:creationId xmlns:a16="http://schemas.microsoft.com/office/drawing/2014/main" id="{62C05F67-B1D0-4982-A7B3-6EB44E192DB6}"/>
                    </a:ext>
                  </a:extLst>
                </p:cNvPr>
                <p:cNvSpPr/>
                <p:nvPr/>
              </p:nvSpPr>
              <p:spPr>
                <a:xfrm flipH="1">
                  <a:off x="1791490" y="1157056"/>
                  <a:ext cx="54465" cy="5446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9523"/>
                      </a:moveTo>
                      <a:lnTo>
                        <a:pt x="12084" y="0"/>
                      </a:lnTo>
                      <a:lnTo>
                        <a:pt x="0" y="12085"/>
                      </a:lnTo>
                      <a:lnTo>
                        <a:pt x="9511" y="21600"/>
                      </a:lnTo>
                      <a:cubicBezTo>
                        <a:pt x="9511" y="21600"/>
                        <a:pt x="21600" y="9523"/>
                        <a:pt x="21600" y="9523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83" name="iṧļíḍé">
                  <a:extLst>
                    <a:ext uri="{FF2B5EF4-FFF2-40B4-BE49-F238E27FC236}">
                      <a16:creationId xmlns:a16="http://schemas.microsoft.com/office/drawing/2014/main" id="{C571FB0B-E354-4E0E-85A9-D23525F2548F}"/>
                    </a:ext>
                  </a:extLst>
                </p:cNvPr>
                <p:cNvSpPr/>
                <p:nvPr/>
              </p:nvSpPr>
              <p:spPr>
                <a:xfrm flipH="1">
                  <a:off x="1832661" y="1198833"/>
                  <a:ext cx="204273" cy="20426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1" y="21600"/>
                      </a:moveTo>
                      <a:cubicBezTo>
                        <a:pt x="16759" y="21600"/>
                        <a:pt x="21600" y="16758"/>
                        <a:pt x="21600" y="10800"/>
                      </a:cubicBezTo>
                      <a:cubicBezTo>
                        <a:pt x="21600" y="4843"/>
                        <a:pt x="16759" y="0"/>
                        <a:pt x="10801" y="0"/>
                      </a:cubicBezTo>
                      <a:cubicBezTo>
                        <a:pt x="4843" y="0"/>
                        <a:pt x="0" y="4843"/>
                        <a:pt x="0" y="10800"/>
                      </a:cubicBezTo>
                      <a:cubicBezTo>
                        <a:pt x="0" y="16758"/>
                        <a:pt x="4843" y="21600"/>
                        <a:pt x="10801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84" name="ï$lïḓe">
                  <a:extLst>
                    <a:ext uri="{FF2B5EF4-FFF2-40B4-BE49-F238E27FC236}">
                      <a16:creationId xmlns:a16="http://schemas.microsoft.com/office/drawing/2014/main" id="{DBC8685D-5C23-4C22-A815-4CFCEDCCA8A6}"/>
                    </a:ext>
                  </a:extLst>
                </p:cNvPr>
                <p:cNvSpPr/>
                <p:nvPr/>
              </p:nvSpPr>
              <p:spPr>
                <a:xfrm flipH="1">
                  <a:off x="2069448" y="1282386"/>
                  <a:ext cx="51039" cy="3404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0"/>
                      </a:moveTo>
                      <a:lnTo>
                        <a:pt x="0" y="0"/>
                      </a:lnTo>
                      <a:lnTo>
                        <a:pt x="0" y="21600"/>
                      </a:lnTo>
                      <a:lnTo>
                        <a:pt x="21600" y="21600"/>
                      </a:lnTo>
                      <a:cubicBezTo>
                        <a:pt x="21600" y="21600"/>
                        <a:pt x="21600" y="0"/>
                        <a:pt x="21600" y="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85" name="íṥľíḍe">
                  <a:extLst>
                    <a:ext uri="{FF2B5EF4-FFF2-40B4-BE49-F238E27FC236}">
                      <a16:creationId xmlns:a16="http://schemas.microsoft.com/office/drawing/2014/main" id="{C4A50B8D-4075-4A23-B5DB-3315591215F9}"/>
                    </a:ext>
                  </a:extLst>
                </p:cNvPr>
                <p:cNvSpPr/>
                <p:nvPr/>
              </p:nvSpPr>
              <p:spPr>
                <a:xfrm flipH="1">
                  <a:off x="2386327" y="2493902"/>
                  <a:ext cx="396615" cy="3606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10810"/>
                      </a:moveTo>
                      <a:cubicBezTo>
                        <a:pt x="21598" y="4838"/>
                        <a:pt x="21160" y="0"/>
                        <a:pt x="20617" y="0"/>
                      </a:cubicBezTo>
                      <a:lnTo>
                        <a:pt x="981" y="0"/>
                      </a:lnTo>
                      <a:cubicBezTo>
                        <a:pt x="441" y="0"/>
                        <a:pt x="0" y="4838"/>
                        <a:pt x="0" y="10810"/>
                      </a:cubicBezTo>
                      <a:cubicBezTo>
                        <a:pt x="0" y="16771"/>
                        <a:pt x="441" y="21600"/>
                        <a:pt x="981" y="21600"/>
                      </a:cubicBezTo>
                      <a:lnTo>
                        <a:pt x="20617" y="21600"/>
                      </a:lnTo>
                      <a:cubicBezTo>
                        <a:pt x="21160" y="21600"/>
                        <a:pt x="21600" y="16771"/>
                        <a:pt x="21600" y="1081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86" name="iṣḷiḍê">
                  <a:extLst>
                    <a:ext uri="{FF2B5EF4-FFF2-40B4-BE49-F238E27FC236}">
                      <a16:creationId xmlns:a16="http://schemas.microsoft.com/office/drawing/2014/main" id="{249FAA29-8FDA-457D-9495-4BAA1902743F}"/>
                    </a:ext>
                  </a:extLst>
                </p:cNvPr>
                <p:cNvSpPr/>
                <p:nvPr/>
              </p:nvSpPr>
              <p:spPr>
                <a:xfrm flipH="1">
                  <a:off x="2407547" y="2267116"/>
                  <a:ext cx="351522" cy="21632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3599" y="1799"/>
                      </a:moveTo>
                      <a:lnTo>
                        <a:pt x="6922" y="1799"/>
                      </a:lnTo>
                      <a:lnTo>
                        <a:pt x="6922" y="17999"/>
                      </a:lnTo>
                      <a:lnTo>
                        <a:pt x="3599" y="17999"/>
                      </a:lnTo>
                      <a:cubicBezTo>
                        <a:pt x="3599" y="17999"/>
                        <a:pt x="3599" y="1799"/>
                        <a:pt x="3599" y="1799"/>
                      </a:cubicBezTo>
                      <a:close/>
                      <a:moveTo>
                        <a:pt x="9139" y="1799"/>
                      </a:moveTo>
                      <a:lnTo>
                        <a:pt x="12461" y="1799"/>
                      </a:lnTo>
                      <a:lnTo>
                        <a:pt x="12461" y="17999"/>
                      </a:lnTo>
                      <a:lnTo>
                        <a:pt x="9139" y="17999"/>
                      </a:lnTo>
                      <a:cubicBezTo>
                        <a:pt x="9139" y="17999"/>
                        <a:pt x="9139" y="1799"/>
                        <a:pt x="9139" y="1799"/>
                      </a:cubicBezTo>
                      <a:close/>
                      <a:moveTo>
                        <a:pt x="14676" y="1799"/>
                      </a:moveTo>
                      <a:lnTo>
                        <a:pt x="17998" y="1799"/>
                      </a:lnTo>
                      <a:lnTo>
                        <a:pt x="17998" y="17999"/>
                      </a:lnTo>
                      <a:lnTo>
                        <a:pt x="14676" y="17999"/>
                      </a:lnTo>
                      <a:cubicBezTo>
                        <a:pt x="14676" y="17999"/>
                        <a:pt x="14676" y="1799"/>
                        <a:pt x="14676" y="1799"/>
                      </a:cubicBezTo>
                      <a:close/>
                      <a:moveTo>
                        <a:pt x="1107" y="17999"/>
                      </a:moveTo>
                      <a:cubicBezTo>
                        <a:pt x="493" y="17999"/>
                        <a:pt x="0" y="18805"/>
                        <a:pt x="0" y="19797"/>
                      </a:cubicBezTo>
                      <a:cubicBezTo>
                        <a:pt x="0" y="20793"/>
                        <a:pt x="493" y="21600"/>
                        <a:pt x="1107" y="21600"/>
                      </a:cubicBezTo>
                      <a:lnTo>
                        <a:pt x="20491" y="21600"/>
                      </a:lnTo>
                      <a:cubicBezTo>
                        <a:pt x="21104" y="21600"/>
                        <a:pt x="21600" y="20793"/>
                        <a:pt x="21600" y="19797"/>
                      </a:cubicBezTo>
                      <a:cubicBezTo>
                        <a:pt x="21600" y="18805"/>
                        <a:pt x="21104" y="17999"/>
                        <a:pt x="20491" y="17999"/>
                      </a:cubicBezTo>
                      <a:lnTo>
                        <a:pt x="20215" y="17999"/>
                      </a:lnTo>
                      <a:lnTo>
                        <a:pt x="20215" y="1799"/>
                      </a:lnTo>
                      <a:lnTo>
                        <a:pt x="20491" y="1799"/>
                      </a:lnTo>
                      <a:cubicBezTo>
                        <a:pt x="20797" y="1799"/>
                        <a:pt x="21045" y="1396"/>
                        <a:pt x="21045" y="897"/>
                      </a:cubicBezTo>
                      <a:cubicBezTo>
                        <a:pt x="21045" y="404"/>
                        <a:pt x="20797" y="0"/>
                        <a:pt x="20491" y="0"/>
                      </a:cubicBezTo>
                      <a:lnTo>
                        <a:pt x="1107" y="0"/>
                      </a:lnTo>
                      <a:cubicBezTo>
                        <a:pt x="801" y="0"/>
                        <a:pt x="555" y="404"/>
                        <a:pt x="555" y="897"/>
                      </a:cubicBezTo>
                      <a:cubicBezTo>
                        <a:pt x="555" y="1396"/>
                        <a:pt x="801" y="1799"/>
                        <a:pt x="1107" y="1799"/>
                      </a:cubicBezTo>
                      <a:lnTo>
                        <a:pt x="1383" y="1799"/>
                      </a:lnTo>
                      <a:lnTo>
                        <a:pt x="1383" y="17999"/>
                      </a:lnTo>
                      <a:cubicBezTo>
                        <a:pt x="1383" y="17999"/>
                        <a:pt x="1107" y="17999"/>
                        <a:pt x="1107" y="17999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87" name="ïṣlïde">
                  <a:extLst>
                    <a:ext uri="{FF2B5EF4-FFF2-40B4-BE49-F238E27FC236}">
                      <a16:creationId xmlns:a16="http://schemas.microsoft.com/office/drawing/2014/main" id="{0EC14AE6-ED58-4CE1-B21D-2482201B7649}"/>
                    </a:ext>
                  </a:extLst>
                </p:cNvPr>
                <p:cNvSpPr/>
                <p:nvPr/>
              </p:nvSpPr>
              <p:spPr>
                <a:xfrm flipH="1">
                  <a:off x="2386160" y="2129851"/>
                  <a:ext cx="396782" cy="11720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24" h="21503" extrusionOk="0">
                      <a:moveTo>
                        <a:pt x="21524" y="18191"/>
                      </a:moveTo>
                      <a:cubicBezTo>
                        <a:pt x="21524" y="16739"/>
                        <a:pt x="21247" y="15505"/>
                        <a:pt x="20862" y="15059"/>
                      </a:cubicBezTo>
                      <a:lnTo>
                        <a:pt x="11158" y="290"/>
                      </a:lnTo>
                      <a:cubicBezTo>
                        <a:pt x="10903" y="-97"/>
                        <a:pt x="10613" y="-97"/>
                        <a:pt x="10358" y="290"/>
                      </a:cubicBezTo>
                      <a:lnTo>
                        <a:pt x="577" y="15172"/>
                      </a:lnTo>
                      <a:cubicBezTo>
                        <a:pt x="157" y="15814"/>
                        <a:pt x="-76" y="17366"/>
                        <a:pt x="23" y="18886"/>
                      </a:cubicBezTo>
                      <a:cubicBezTo>
                        <a:pt x="119" y="20413"/>
                        <a:pt x="517" y="21503"/>
                        <a:pt x="978" y="21503"/>
                      </a:cubicBezTo>
                      <a:lnTo>
                        <a:pt x="20545" y="21503"/>
                      </a:lnTo>
                      <a:cubicBezTo>
                        <a:pt x="21086" y="21503"/>
                        <a:pt x="21524" y="20019"/>
                        <a:pt x="21524" y="18191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88" name="íSḻïdé">
                  <a:extLst>
                    <a:ext uri="{FF2B5EF4-FFF2-40B4-BE49-F238E27FC236}">
                      <a16:creationId xmlns:a16="http://schemas.microsoft.com/office/drawing/2014/main" id="{44AD66E2-9FEE-432E-8FB0-B9093BA07634}"/>
                    </a:ext>
                  </a:extLst>
                </p:cNvPr>
                <p:cNvSpPr/>
                <p:nvPr/>
              </p:nvSpPr>
              <p:spPr>
                <a:xfrm flipH="1">
                  <a:off x="1648869" y="2410350"/>
                  <a:ext cx="411937" cy="41192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1941" y="10099"/>
                      </a:moveTo>
                      <a:lnTo>
                        <a:pt x="11941" y="2262"/>
                      </a:lnTo>
                      <a:cubicBezTo>
                        <a:pt x="16153" y="2822"/>
                        <a:pt x="19414" y="6437"/>
                        <a:pt x="19414" y="10800"/>
                      </a:cubicBezTo>
                      <a:cubicBezTo>
                        <a:pt x="19414" y="12706"/>
                        <a:pt x="18791" y="14468"/>
                        <a:pt x="17739" y="15896"/>
                      </a:cubicBezTo>
                      <a:cubicBezTo>
                        <a:pt x="17739" y="15896"/>
                        <a:pt x="11941" y="10099"/>
                        <a:pt x="11941" y="10099"/>
                      </a:cubicBezTo>
                      <a:close/>
                      <a:moveTo>
                        <a:pt x="11941" y="19338"/>
                      </a:moveTo>
                      <a:lnTo>
                        <a:pt x="11941" y="13328"/>
                      </a:lnTo>
                      <a:lnTo>
                        <a:pt x="16155" y="17542"/>
                      </a:lnTo>
                      <a:cubicBezTo>
                        <a:pt x="14965" y="18489"/>
                        <a:pt x="13520" y="19128"/>
                        <a:pt x="11941" y="19338"/>
                      </a:cubicBezTo>
                      <a:close/>
                      <a:moveTo>
                        <a:pt x="9658" y="10099"/>
                      </a:moveTo>
                      <a:lnTo>
                        <a:pt x="3860" y="15896"/>
                      </a:lnTo>
                      <a:cubicBezTo>
                        <a:pt x="2808" y="14468"/>
                        <a:pt x="2186" y="12706"/>
                        <a:pt x="2186" y="10800"/>
                      </a:cubicBezTo>
                      <a:cubicBezTo>
                        <a:pt x="2186" y="6437"/>
                        <a:pt x="5446" y="2822"/>
                        <a:pt x="9658" y="2262"/>
                      </a:cubicBezTo>
                      <a:cubicBezTo>
                        <a:pt x="9658" y="2262"/>
                        <a:pt x="9658" y="10099"/>
                        <a:pt x="9658" y="10099"/>
                      </a:cubicBezTo>
                      <a:close/>
                      <a:moveTo>
                        <a:pt x="9658" y="19338"/>
                      </a:moveTo>
                      <a:cubicBezTo>
                        <a:pt x="8080" y="19128"/>
                        <a:pt x="6635" y="18489"/>
                        <a:pt x="5444" y="17542"/>
                      </a:cubicBezTo>
                      <a:lnTo>
                        <a:pt x="9658" y="13328"/>
                      </a:lnTo>
                      <a:cubicBezTo>
                        <a:pt x="9658" y="13328"/>
                        <a:pt x="9658" y="19338"/>
                        <a:pt x="9658" y="19338"/>
                      </a:cubicBezTo>
                      <a:close/>
                      <a:moveTo>
                        <a:pt x="21600" y="10800"/>
                      </a:moveTo>
                      <a:cubicBezTo>
                        <a:pt x="21600" y="7915"/>
                        <a:pt x="20476" y="5203"/>
                        <a:pt x="18436" y="3164"/>
                      </a:cubicBezTo>
                      <a:cubicBezTo>
                        <a:pt x="16396" y="1123"/>
                        <a:pt x="13685" y="0"/>
                        <a:pt x="10800" y="0"/>
                      </a:cubicBezTo>
                      <a:cubicBezTo>
                        <a:pt x="7914" y="0"/>
                        <a:pt x="5202" y="1123"/>
                        <a:pt x="3163" y="3164"/>
                      </a:cubicBezTo>
                      <a:cubicBezTo>
                        <a:pt x="1123" y="5203"/>
                        <a:pt x="0" y="7915"/>
                        <a:pt x="0" y="10800"/>
                      </a:cubicBezTo>
                      <a:cubicBezTo>
                        <a:pt x="0" y="13685"/>
                        <a:pt x="1123" y="16397"/>
                        <a:pt x="3163" y="18436"/>
                      </a:cubicBezTo>
                      <a:cubicBezTo>
                        <a:pt x="5202" y="20476"/>
                        <a:pt x="7914" y="21600"/>
                        <a:pt x="10800" y="21600"/>
                      </a:cubicBezTo>
                      <a:cubicBezTo>
                        <a:pt x="13685" y="21600"/>
                        <a:pt x="16396" y="20476"/>
                        <a:pt x="18436" y="18436"/>
                      </a:cubicBezTo>
                      <a:cubicBezTo>
                        <a:pt x="20476" y="16397"/>
                        <a:pt x="21600" y="13685"/>
                        <a:pt x="21600" y="108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89" name="ïşḻiḓè">
                  <a:extLst>
                    <a:ext uri="{FF2B5EF4-FFF2-40B4-BE49-F238E27FC236}">
                      <a16:creationId xmlns:a16="http://schemas.microsoft.com/office/drawing/2014/main" id="{ADCDF914-9088-4155-9E72-D847E05E6D4B}"/>
                    </a:ext>
                  </a:extLst>
                </p:cNvPr>
                <p:cNvSpPr/>
                <p:nvPr/>
              </p:nvSpPr>
              <p:spPr>
                <a:xfrm flipH="1">
                  <a:off x="1974123" y="3126518"/>
                  <a:ext cx="361214" cy="31444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339" extrusionOk="0">
                      <a:moveTo>
                        <a:pt x="10669" y="21339"/>
                      </a:moveTo>
                      <a:cubicBezTo>
                        <a:pt x="16464" y="21339"/>
                        <a:pt x="21600" y="16246"/>
                        <a:pt x="21600" y="9671"/>
                      </a:cubicBezTo>
                      <a:cubicBezTo>
                        <a:pt x="21600" y="5964"/>
                        <a:pt x="20039" y="2728"/>
                        <a:pt x="17643" y="610"/>
                      </a:cubicBezTo>
                      <a:cubicBezTo>
                        <a:pt x="17062" y="98"/>
                        <a:pt x="15887" y="-261"/>
                        <a:pt x="15300" y="241"/>
                      </a:cubicBezTo>
                      <a:cubicBezTo>
                        <a:pt x="14903" y="580"/>
                        <a:pt x="14721" y="1052"/>
                        <a:pt x="14655" y="1530"/>
                      </a:cubicBezTo>
                      <a:cubicBezTo>
                        <a:pt x="14541" y="2354"/>
                        <a:pt x="15254" y="3388"/>
                        <a:pt x="15778" y="3970"/>
                      </a:cubicBezTo>
                      <a:cubicBezTo>
                        <a:pt x="17056" y="5390"/>
                        <a:pt x="17825" y="7398"/>
                        <a:pt x="17825" y="9684"/>
                      </a:cubicBezTo>
                      <a:cubicBezTo>
                        <a:pt x="17825" y="14170"/>
                        <a:pt x="14621" y="17568"/>
                        <a:pt x="10667" y="17568"/>
                      </a:cubicBezTo>
                      <a:cubicBezTo>
                        <a:pt x="6714" y="17568"/>
                        <a:pt x="3513" y="14170"/>
                        <a:pt x="3513" y="9684"/>
                      </a:cubicBezTo>
                      <a:cubicBezTo>
                        <a:pt x="3513" y="7541"/>
                        <a:pt x="4302" y="5644"/>
                        <a:pt x="5553" y="4244"/>
                      </a:cubicBezTo>
                      <a:cubicBezTo>
                        <a:pt x="6076" y="3658"/>
                        <a:pt x="6840" y="2645"/>
                        <a:pt x="6816" y="1808"/>
                      </a:cubicBezTo>
                      <a:cubicBezTo>
                        <a:pt x="6805" y="1357"/>
                        <a:pt x="6699" y="883"/>
                        <a:pt x="6407" y="489"/>
                      </a:cubicBezTo>
                      <a:cubicBezTo>
                        <a:pt x="5932" y="-151"/>
                        <a:pt x="4750" y="71"/>
                        <a:pt x="4160" y="571"/>
                      </a:cubicBezTo>
                      <a:cubicBezTo>
                        <a:pt x="1665" y="2688"/>
                        <a:pt x="0" y="5939"/>
                        <a:pt x="0" y="9671"/>
                      </a:cubicBezTo>
                      <a:cubicBezTo>
                        <a:pt x="0" y="16246"/>
                        <a:pt x="4878" y="21339"/>
                        <a:pt x="10669" y="21339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90" name="îŝ1îḋê">
                  <a:extLst>
                    <a:ext uri="{FF2B5EF4-FFF2-40B4-BE49-F238E27FC236}">
                      <a16:creationId xmlns:a16="http://schemas.microsoft.com/office/drawing/2014/main" id="{502DAFDD-F46B-4DF7-9DEB-880B65DEDAB5}"/>
                    </a:ext>
                  </a:extLst>
                </p:cNvPr>
                <p:cNvSpPr/>
                <p:nvPr/>
              </p:nvSpPr>
              <p:spPr>
                <a:xfrm flipH="1">
                  <a:off x="2130120" y="3066837"/>
                  <a:ext cx="56015" cy="22180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2645"/>
                      </a:moveTo>
                      <a:lnTo>
                        <a:pt x="0" y="19044"/>
                      </a:lnTo>
                      <a:cubicBezTo>
                        <a:pt x="0" y="20223"/>
                        <a:pt x="6475" y="21600"/>
                        <a:pt x="11131" y="21600"/>
                      </a:cubicBezTo>
                      <a:cubicBezTo>
                        <a:pt x="15815" y="21600"/>
                        <a:pt x="21600" y="20223"/>
                        <a:pt x="21600" y="19044"/>
                      </a:cubicBezTo>
                      <a:lnTo>
                        <a:pt x="21600" y="2645"/>
                      </a:lnTo>
                      <a:cubicBezTo>
                        <a:pt x="21600" y="618"/>
                        <a:pt x="15467" y="0"/>
                        <a:pt x="10790" y="0"/>
                      </a:cubicBezTo>
                      <a:cubicBezTo>
                        <a:pt x="101" y="0"/>
                        <a:pt x="0" y="2479"/>
                        <a:pt x="0" y="2645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91" name="iŝļïde">
                  <a:extLst>
                    <a:ext uri="{FF2B5EF4-FFF2-40B4-BE49-F238E27FC236}">
                      <a16:creationId xmlns:a16="http://schemas.microsoft.com/office/drawing/2014/main" id="{759562FB-556E-4345-8364-A0B13F2945C5}"/>
                    </a:ext>
                  </a:extLst>
                </p:cNvPr>
                <p:cNvSpPr/>
                <p:nvPr/>
              </p:nvSpPr>
              <p:spPr>
                <a:xfrm flipH="1">
                  <a:off x="1589351" y="2881827"/>
                  <a:ext cx="208860" cy="29486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0"/>
                      </a:moveTo>
                      <a:lnTo>
                        <a:pt x="0" y="10801"/>
                      </a:lnTo>
                      <a:lnTo>
                        <a:pt x="21600" y="21600"/>
                      </a:lnTo>
                      <a:cubicBezTo>
                        <a:pt x="21600" y="21600"/>
                        <a:pt x="21600" y="0"/>
                        <a:pt x="21600" y="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5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92" name="iSlîḑé">
                  <a:extLst>
                    <a:ext uri="{FF2B5EF4-FFF2-40B4-BE49-F238E27FC236}">
                      <a16:creationId xmlns:a16="http://schemas.microsoft.com/office/drawing/2014/main" id="{3D818F36-E45F-4C02-904E-ED71C1035D19}"/>
                    </a:ext>
                  </a:extLst>
                </p:cNvPr>
                <p:cNvSpPr/>
                <p:nvPr/>
              </p:nvSpPr>
              <p:spPr>
                <a:xfrm flipH="1">
                  <a:off x="1810170" y="2881827"/>
                  <a:ext cx="208860" cy="29486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0"/>
                      </a:moveTo>
                      <a:lnTo>
                        <a:pt x="0" y="10801"/>
                      </a:lnTo>
                      <a:lnTo>
                        <a:pt x="21600" y="21600"/>
                      </a:lnTo>
                      <a:cubicBezTo>
                        <a:pt x="21600" y="21600"/>
                        <a:pt x="21600" y="0"/>
                        <a:pt x="21600" y="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5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93" name="íS1iḑé">
                  <a:extLst>
                    <a:ext uri="{FF2B5EF4-FFF2-40B4-BE49-F238E27FC236}">
                      <a16:creationId xmlns:a16="http://schemas.microsoft.com/office/drawing/2014/main" id="{36D642B1-F131-4376-B733-077A5A824036}"/>
                    </a:ext>
                  </a:extLst>
                </p:cNvPr>
                <p:cNvSpPr/>
                <p:nvPr/>
              </p:nvSpPr>
              <p:spPr>
                <a:xfrm flipH="1">
                  <a:off x="2007995" y="3681548"/>
                  <a:ext cx="213948" cy="18719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289" h="20424" extrusionOk="0">
                      <a:moveTo>
                        <a:pt x="11894" y="6841"/>
                      </a:moveTo>
                      <a:cubicBezTo>
                        <a:pt x="11242" y="7591"/>
                        <a:pt x="10179" y="7591"/>
                        <a:pt x="9522" y="6841"/>
                      </a:cubicBezTo>
                      <a:cubicBezTo>
                        <a:pt x="8868" y="6089"/>
                        <a:pt x="8868" y="4860"/>
                        <a:pt x="9522" y="4113"/>
                      </a:cubicBezTo>
                      <a:cubicBezTo>
                        <a:pt x="10179" y="3353"/>
                        <a:pt x="11242" y="3353"/>
                        <a:pt x="11899" y="4113"/>
                      </a:cubicBezTo>
                      <a:cubicBezTo>
                        <a:pt x="12551" y="4860"/>
                        <a:pt x="12551" y="6089"/>
                        <a:pt x="11894" y="6841"/>
                      </a:cubicBezTo>
                      <a:close/>
                      <a:moveTo>
                        <a:pt x="33" y="3330"/>
                      </a:moveTo>
                      <a:cubicBezTo>
                        <a:pt x="-240" y="7619"/>
                        <a:pt x="1157" y="12214"/>
                        <a:pt x="4188" y="15706"/>
                      </a:cubicBezTo>
                      <a:cubicBezTo>
                        <a:pt x="6571" y="18443"/>
                        <a:pt x="9546" y="20020"/>
                        <a:pt x="12521" y="20424"/>
                      </a:cubicBezTo>
                      <a:cubicBezTo>
                        <a:pt x="18315" y="12376"/>
                        <a:pt x="21360" y="5367"/>
                        <a:pt x="19945" y="3741"/>
                      </a:cubicBezTo>
                      <a:cubicBezTo>
                        <a:pt x="15674" y="-1176"/>
                        <a:pt x="7645" y="-1176"/>
                        <a:pt x="33" y="333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94" name="iṡľîḑè">
                  <a:extLst>
                    <a:ext uri="{FF2B5EF4-FFF2-40B4-BE49-F238E27FC236}">
                      <a16:creationId xmlns:a16="http://schemas.microsoft.com/office/drawing/2014/main" id="{F08164F5-C85F-4D1C-A501-3AF33759D4B2}"/>
                    </a:ext>
                  </a:extLst>
                </p:cNvPr>
                <p:cNvSpPr/>
                <p:nvPr/>
              </p:nvSpPr>
              <p:spPr>
                <a:xfrm flipH="1">
                  <a:off x="2112027" y="3729292"/>
                  <a:ext cx="414288" cy="44165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89" h="21528" extrusionOk="0">
                      <a:moveTo>
                        <a:pt x="14348" y="0"/>
                      </a:moveTo>
                      <a:cubicBezTo>
                        <a:pt x="14039" y="191"/>
                        <a:pt x="13733" y="388"/>
                        <a:pt x="13433" y="599"/>
                      </a:cubicBezTo>
                      <a:lnTo>
                        <a:pt x="12712" y="245"/>
                      </a:lnTo>
                      <a:cubicBezTo>
                        <a:pt x="12087" y="-59"/>
                        <a:pt x="11320" y="44"/>
                        <a:pt x="10819" y="512"/>
                      </a:cubicBezTo>
                      <a:lnTo>
                        <a:pt x="5772" y="5233"/>
                      </a:lnTo>
                      <a:cubicBezTo>
                        <a:pt x="5409" y="5574"/>
                        <a:pt x="5245" y="6058"/>
                        <a:pt x="5323" y="6533"/>
                      </a:cubicBezTo>
                      <a:cubicBezTo>
                        <a:pt x="5400" y="7007"/>
                        <a:pt x="5714" y="7421"/>
                        <a:pt x="6171" y="7644"/>
                      </a:cubicBezTo>
                      <a:lnTo>
                        <a:pt x="7316" y="8206"/>
                      </a:lnTo>
                      <a:cubicBezTo>
                        <a:pt x="6168" y="10708"/>
                        <a:pt x="5544" y="13158"/>
                        <a:pt x="5375" y="14710"/>
                      </a:cubicBezTo>
                      <a:lnTo>
                        <a:pt x="392" y="16312"/>
                      </a:lnTo>
                      <a:cubicBezTo>
                        <a:pt x="170" y="16383"/>
                        <a:pt x="14" y="16576"/>
                        <a:pt x="1" y="16799"/>
                      </a:cubicBezTo>
                      <a:cubicBezTo>
                        <a:pt x="-11" y="17020"/>
                        <a:pt x="120" y="17226"/>
                        <a:pt x="334" y="17322"/>
                      </a:cubicBezTo>
                      <a:lnTo>
                        <a:pt x="2508" y="18279"/>
                      </a:lnTo>
                      <a:cubicBezTo>
                        <a:pt x="2934" y="18467"/>
                        <a:pt x="3273" y="18786"/>
                        <a:pt x="3476" y="19184"/>
                      </a:cubicBezTo>
                      <a:lnTo>
                        <a:pt x="4499" y="21215"/>
                      </a:lnTo>
                      <a:cubicBezTo>
                        <a:pt x="4599" y="21415"/>
                        <a:pt x="4821" y="21541"/>
                        <a:pt x="5058" y="21528"/>
                      </a:cubicBezTo>
                      <a:cubicBezTo>
                        <a:pt x="5295" y="21514"/>
                        <a:pt x="5500" y="21369"/>
                        <a:pt x="5575" y="21161"/>
                      </a:cubicBezTo>
                      <a:lnTo>
                        <a:pt x="7293" y="16493"/>
                      </a:lnTo>
                      <a:cubicBezTo>
                        <a:pt x="9632" y="16134"/>
                        <a:pt x="13689" y="14458"/>
                        <a:pt x="17215" y="11941"/>
                      </a:cubicBezTo>
                      <a:lnTo>
                        <a:pt x="17610" y="13080"/>
                      </a:lnTo>
                      <a:cubicBezTo>
                        <a:pt x="17682" y="13286"/>
                        <a:pt x="17860" y="13442"/>
                        <a:pt x="18085" y="13491"/>
                      </a:cubicBezTo>
                      <a:cubicBezTo>
                        <a:pt x="18311" y="13543"/>
                        <a:pt x="18543" y="13478"/>
                        <a:pt x="18711" y="13324"/>
                      </a:cubicBezTo>
                      <a:lnTo>
                        <a:pt x="19133" y="12929"/>
                      </a:lnTo>
                      <a:cubicBezTo>
                        <a:pt x="19456" y="12625"/>
                        <a:pt x="19656" y="12225"/>
                        <a:pt x="19687" y="11795"/>
                      </a:cubicBezTo>
                      <a:lnTo>
                        <a:pt x="19836" y="9790"/>
                      </a:lnTo>
                      <a:cubicBezTo>
                        <a:pt x="20451" y="9209"/>
                        <a:pt x="21035" y="8629"/>
                        <a:pt x="21589" y="8055"/>
                      </a:cubicBezTo>
                      <a:cubicBezTo>
                        <a:pt x="19962" y="7701"/>
                        <a:pt x="18385" y="6916"/>
                        <a:pt x="17086" y="5698"/>
                      </a:cubicBezTo>
                      <a:cubicBezTo>
                        <a:pt x="15365" y="4089"/>
                        <a:pt x="14445" y="2026"/>
                        <a:pt x="14348" y="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95" name="i$ḻîḍê">
                  <a:extLst>
                    <a:ext uri="{FF2B5EF4-FFF2-40B4-BE49-F238E27FC236}">
                      <a16:creationId xmlns:a16="http://schemas.microsoft.com/office/drawing/2014/main" id="{4FFC41FA-3BCE-4CAC-8EE0-8A6EC834FBDD}"/>
                    </a:ext>
                  </a:extLst>
                </p:cNvPr>
                <p:cNvSpPr/>
                <p:nvPr/>
              </p:nvSpPr>
              <p:spPr>
                <a:xfrm flipH="1">
                  <a:off x="2349522" y="2661009"/>
                  <a:ext cx="212601" cy="36407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3" y="10568"/>
                      </a:moveTo>
                      <a:cubicBezTo>
                        <a:pt x="5904" y="10568"/>
                        <a:pt x="1930" y="7774"/>
                        <a:pt x="1930" y="4343"/>
                      </a:cubicBezTo>
                      <a:cubicBezTo>
                        <a:pt x="1930" y="3200"/>
                        <a:pt x="2367" y="2090"/>
                        <a:pt x="3208" y="1128"/>
                      </a:cubicBezTo>
                      <a:lnTo>
                        <a:pt x="18394" y="1128"/>
                      </a:lnTo>
                      <a:cubicBezTo>
                        <a:pt x="19233" y="2090"/>
                        <a:pt x="19673" y="3200"/>
                        <a:pt x="19673" y="4343"/>
                      </a:cubicBezTo>
                      <a:cubicBezTo>
                        <a:pt x="19673" y="7783"/>
                        <a:pt x="15696" y="10568"/>
                        <a:pt x="10803" y="10568"/>
                      </a:cubicBezTo>
                      <a:close/>
                      <a:moveTo>
                        <a:pt x="21600" y="4343"/>
                      </a:moveTo>
                      <a:cubicBezTo>
                        <a:pt x="21600" y="2894"/>
                        <a:pt x="20992" y="1493"/>
                        <a:pt x="19814" y="282"/>
                      </a:cubicBezTo>
                      <a:lnTo>
                        <a:pt x="19531" y="0"/>
                      </a:lnTo>
                      <a:lnTo>
                        <a:pt x="2056" y="0"/>
                      </a:lnTo>
                      <a:lnTo>
                        <a:pt x="1788" y="282"/>
                      </a:lnTo>
                      <a:cubicBezTo>
                        <a:pt x="609" y="1493"/>
                        <a:pt x="0" y="2894"/>
                        <a:pt x="0" y="4343"/>
                      </a:cubicBezTo>
                      <a:cubicBezTo>
                        <a:pt x="0" y="8048"/>
                        <a:pt x="4028" y="11115"/>
                        <a:pt x="9269" y="11621"/>
                      </a:cubicBezTo>
                      <a:lnTo>
                        <a:pt x="9269" y="20265"/>
                      </a:lnTo>
                      <a:cubicBezTo>
                        <a:pt x="6245" y="20341"/>
                        <a:pt x="4003" y="20605"/>
                        <a:pt x="4003" y="20929"/>
                      </a:cubicBezTo>
                      <a:cubicBezTo>
                        <a:pt x="4003" y="21302"/>
                        <a:pt x="7065" y="21600"/>
                        <a:pt x="10857" y="21600"/>
                      </a:cubicBezTo>
                      <a:cubicBezTo>
                        <a:pt x="14632" y="21600"/>
                        <a:pt x="17714" y="21302"/>
                        <a:pt x="17714" y="20929"/>
                      </a:cubicBezTo>
                      <a:cubicBezTo>
                        <a:pt x="17714" y="20605"/>
                        <a:pt x="15457" y="20341"/>
                        <a:pt x="12447" y="20265"/>
                      </a:cubicBezTo>
                      <a:lnTo>
                        <a:pt x="12447" y="11613"/>
                      </a:lnTo>
                      <a:cubicBezTo>
                        <a:pt x="17630" y="11073"/>
                        <a:pt x="21600" y="8023"/>
                        <a:pt x="21600" y="4343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96" name="ïśľíḓè">
                  <a:extLst>
                    <a:ext uri="{FF2B5EF4-FFF2-40B4-BE49-F238E27FC236}">
                      <a16:creationId xmlns:a16="http://schemas.microsoft.com/office/drawing/2014/main" id="{6A146EB9-40B6-4193-94EA-B500F71D552D}"/>
                    </a:ext>
                  </a:extLst>
                </p:cNvPr>
                <p:cNvSpPr/>
                <p:nvPr/>
              </p:nvSpPr>
              <p:spPr>
                <a:xfrm flipH="1">
                  <a:off x="2109581" y="2523743"/>
                  <a:ext cx="183979" cy="50797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83" h="21600" extrusionOk="0">
                      <a:moveTo>
                        <a:pt x="19682" y="17662"/>
                      </a:moveTo>
                      <a:lnTo>
                        <a:pt x="2097" y="17662"/>
                      </a:lnTo>
                      <a:lnTo>
                        <a:pt x="2097" y="10010"/>
                      </a:lnTo>
                      <a:lnTo>
                        <a:pt x="19682" y="10010"/>
                      </a:lnTo>
                      <a:cubicBezTo>
                        <a:pt x="19682" y="10010"/>
                        <a:pt x="19682" y="17662"/>
                        <a:pt x="19682" y="17662"/>
                      </a:cubicBezTo>
                      <a:close/>
                      <a:moveTo>
                        <a:pt x="21583" y="6166"/>
                      </a:moveTo>
                      <a:cubicBezTo>
                        <a:pt x="21600" y="4574"/>
                        <a:pt x="18977" y="3208"/>
                        <a:pt x="15224" y="2596"/>
                      </a:cubicBezTo>
                      <a:lnTo>
                        <a:pt x="15224" y="0"/>
                      </a:lnTo>
                      <a:lnTo>
                        <a:pt x="6359" y="0"/>
                      </a:lnTo>
                      <a:lnTo>
                        <a:pt x="6359" y="2596"/>
                      </a:lnTo>
                      <a:cubicBezTo>
                        <a:pt x="2606" y="3208"/>
                        <a:pt x="0" y="4574"/>
                        <a:pt x="0" y="6166"/>
                      </a:cubicBezTo>
                      <a:lnTo>
                        <a:pt x="0" y="21600"/>
                      </a:lnTo>
                      <a:lnTo>
                        <a:pt x="21583" y="21600"/>
                      </a:lnTo>
                      <a:cubicBezTo>
                        <a:pt x="21583" y="21600"/>
                        <a:pt x="21583" y="6166"/>
                        <a:pt x="21583" y="616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97" name="îṡḻïḓe">
                  <a:extLst>
                    <a:ext uri="{FF2B5EF4-FFF2-40B4-BE49-F238E27FC236}">
                      <a16:creationId xmlns:a16="http://schemas.microsoft.com/office/drawing/2014/main" id="{319C77E5-4BD2-4B5C-BE2C-A70B336E68C8}"/>
                    </a:ext>
                  </a:extLst>
                </p:cNvPr>
                <p:cNvSpPr/>
                <p:nvPr/>
              </p:nvSpPr>
              <p:spPr>
                <a:xfrm flipH="1">
                  <a:off x="2164279" y="2440190"/>
                  <a:ext cx="75569" cy="6552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0"/>
                      </a:moveTo>
                      <a:lnTo>
                        <a:pt x="0" y="0"/>
                      </a:lnTo>
                      <a:lnTo>
                        <a:pt x="0" y="21600"/>
                      </a:lnTo>
                      <a:lnTo>
                        <a:pt x="21600" y="21600"/>
                      </a:lnTo>
                      <a:cubicBezTo>
                        <a:pt x="21600" y="21600"/>
                        <a:pt x="21600" y="0"/>
                        <a:pt x="21600" y="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98" name="í$ľiḓé">
                  <a:extLst>
                    <a:ext uri="{FF2B5EF4-FFF2-40B4-BE49-F238E27FC236}">
                      <a16:creationId xmlns:a16="http://schemas.microsoft.com/office/drawing/2014/main" id="{E4524EC2-9C0D-4E2E-8442-0A0AC4F28648}"/>
                    </a:ext>
                  </a:extLst>
                </p:cNvPr>
                <p:cNvSpPr/>
                <p:nvPr/>
              </p:nvSpPr>
              <p:spPr>
                <a:xfrm flipH="1">
                  <a:off x="2375743" y="2738594"/>
                  <a:ext cx="162508" cy="9513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0"/>
                      </a:moveTo>
                      <a:cubicBezTo>
                        <a:pt x="0" y="0"/>
                        <a:pt x="1342" y="21600"/>
                        <a:pt x="11201" y="21600"/>
                      </a:cubicBezTo>
                      <a:cubicBezTo>
                        <a:pt x="21061" y="21600"/>
                        <a:pt x="21600" y="0"/>
                        <a:pt x="21600" y="0"/>
                      </a:cubicBezTo>
                      <a:cubicBezTo>
                        <a:pt x="2160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99" name="iṥ1íḍê">
                  <a:extLst>
                    <a:ext uri="{FF2B5EF4-FFF2-40B4-BE49-F238E27FC236}">
                      <a16:creationId xmlns:a16="http://schemas.microsoft.com/office/drawing/2014/main" id="{B02F98D8-020C-410E-B324-F88A149FFF30}"/>
                    </a:ext>
                  </a:extLst>
                </p:cNvPr>
                <p:cNvSpPr/>
                <p:nvPr/>
              </p:nvSpPr>
              <p:spPr>
                <a:xfrm flipH="1">
                  <a:off x="1817519" y="3550250"/>
                  <a:ext cx="153765" cy="17625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0684" y="0"/>
                      </a:moveTo>
                      <a:lnTo>
                        <a:pt x="2604" y="0"/>
                      </a:lnTo>
                      <a:cubicBezTo>
                        <a:pt x="1170" y="0"/>
                        <a:pt x="0" y="1023"/>
                        <a:pt x="0" y="2274"/>
                      </a:cubicBezTo>
                      <a:lnTo>
                        <a:pt x="0" y="19327"/>
                      </a:lnTo>
                      <a:cubicBezTo>
                        <a:pt x="0" y="20576"/>
                        <a:pt x="1170" y="21600"/>
                        <a:pt x="2604" y="21600"/>
                      </a:cubicBezTo>
                      <a:lnTo>
                        <a:pt x="20987" y="21600"/>
                      </a:lnTo>
                      <a:cubicBezTo>
                        <a:pt x="21600" y="21600"/>
                        <a:pt x="21600" y="21024"/>
                        <a:pt x="21600" y="21024"/>
                      </a:cubicBezTo>
                      <a:lnTo>
                        <a:pt x="21600" y="772"/>
                      </a:lnTo>
                      <a:cubicBezTo>
                        <a:pt x="21600" y="772"/>
                        <a:pt x="21600" y="0"/>
                        <a:pt x="20684" y="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200" name="îṡ1iḓê">
                  <a:extLst>
                    <a:ext uri="{FF2B5EF4-FFF2-40B4-BE49-F238E27FC236}">
                      <a16:creationId xmlns:a16="http://schemas.microsoft.com/office/drawing/2014/main" id="{BDEBF1C4-AF65-426F-971A-EDBB071C683C}"/>
                    </a:ext>
                  </a:extLst>
                </p:cNvPr>
                <p:cNvSpPr/>
                <p:nvPr/>
              </p:nvSpPr>
              <p:spPr>
                <a:xfrm flipH="1">
                  <a:off x="1632440" y="3550250"/>
                  <a:ext cx="153835" cy="17625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445" h="21600" extrusionOk="0">
                      <a:moveTo>
                        <a:pt x="18861" y="0"/>
                      </a:moveTo>
                      <a:lnTo>
                        <a:pt x="937" y="0"/>
                      </a:lnTo>
                      <a:cubicBezTo>
                        <a:pt x="-155" y="0"/>
                        <a:pt x="9" y="1001"/>
                        <a:pt x="9" y="1001"/>
                      </a:cubicBezTo>
                      <a:lnTo>
                        <a:pt x="9" y="21044"/>
                      </a:lnTo>
                      <a:cubicBezTo>
                        <a:pt x="9" y="21044"/>
                        <a:pt x="2" y="21600"/>
                        <a:pt x="657" y="21600"/>
                      </a:cubicBezTo>
                      <a:lnTo>
                        <a:pt x="18861" y="21600"/>
                      </a:lnTo>
                      <a:cubicBezTo>
                        <a:pt x="20282" y="21600"/>
                        <a:pt x="21445" y="20576"/>
                        <a:pt x="21445" y="19327"/>
                      </a:cubicBezTo>
                      <a:lnTo>
                        <a:pt x="21445" y="2274"/>
                      </a:lnTo>
                      <a:cubicBezTo>
                        <a:pt x="21445" y="1023"/>
                        <a:pt x="20282" y="0"/>
                        <a:pt x="18861" y="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201" name="iṣļîďè">
                  <a:extLst>
                    <a:ext uri="{FF2B5EF4-FFF2-40B4-BE49-F238E27FC236}">
                      <a16:creationId xmlns:a16="http://schemas.microsoft.com/office/drawing/2014/main" id="{45D55C3D-6DDE-4858-B0CF-EAF53CA52D64}"/>
                    </a:ext>
                  </a:extLst>
                </p:cNvPr>
                <p:cNvSpPr/>
                <p:nvPr/>
              </p:nvSpPr>
              <p:spPr>
                <a:xfrm flipH="1">
                  <a:off x="1820451" y="3430889"/>
                  <a:ext cx="174706" cy="9497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0833" y="0"/>
                      </a:moveTo>
                      <a:lnTo>
                        <a:pt x="2292" y="0"/>
                      </a:lnTo>
                      <a:cubicBezTo>
                        <a:pt x="1033" y="0"/>
                        <a:pt x="0" y="1899"/>
                        <a:pt x="0" y="4218"/>
                      </a:cubicBezTo>
                      <a:lnTo>
                        <a:pt x="0" y="17380"/>
                      </a:lnTo>
                      <a:cubicBezTo>
                        <a:pt x="0" y="19702"/>
                        <a:pt x="1033" y="21600"/>
                        <a:pt x="2292" y="21600"/>
                      </a:cubicBezTo>
                      <a:lnTo>
                        <a:pt x="20896" y="21600"/>
                      </a:lnTo>
                      <a:cubicBezTo>
                        <a:pt x="21600" y="21600"/>
                        <a:pt x="21600" y="20473"/>
                        <a:pt x="21600" y="20473"/>
                      </a:cubicBezTo>
                      <a:lnTo>
                        <a:pt x="21600" y="1430"/>
                      </a:lnTo>
                      <a:cubicBezTo>
                        <a:pt x="21600" y="1430"/>
                        <a:pt x="21600" y="0"/>
                        <a:pt x="20833" y="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202" name="íşlïḍe">
                  <a:extLst>
                    <a:ext uri="{FF2B5EF4-FFF2-40B4-BE49-F238E27FC236}">
                      <a16:creationId xmlns:a16="http://schemas.microsoft.com/office/drawing/2014/main" id="{954DE030-15CA-45B8-9EF4-33B7C3A48C8E}"/>
                    </a:ext>
                  </a:extLst>
                </p:cNvPr>
                <p:cNvSpPr/>
                <p:nvPr/>
              </p:nvSpPr>
              <p:spPr>
                <a:xfrm flipH="1">
                  <a:off x="1611563" y="3430889"/>
                  <a:ext cx="174712" cy="9497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9307" y="0"/>
                      </a:moveTo>
                      <a:lnTo>
                        <a:pt x="709" y="0"/>
                      </a:lnTo>
                      <a:cubicBezTo>
                        <a:pt x="0" y="0"/>
                        <a:pt x="0" y="1241"/>
                        <a:pt x="0" y="1241"/>
                      </a:cubicBezTo>
                      <a:lnTo>
                        <a:pt x="0" y="20499"/>
                      </a:lnTo>
                      <a:cubicBezTo>
                        <a:pt x="0" y="20499"/>
                        <a:pt x="0" y="21600"/>
                        <a:pt x="862" y="21600"/>
                      </a:cubicBezTo>
                      <a:lnTo>
                        <a:pt x="19307" y="21600"/>
                      </a:lnTo>
                      <a:cubicBezTo>
                        <a:pt x="20567" y="21600"/>
                        <a:pt x="21600" y="19702"/>
                        <a:pt x="21600" y="17380"/>
                      </a:cubicBezTo>
                      <a:lnTo>
                        <a:pt x="21600" y="4218"/>
                      </a:lnTo>
                      <a:cubicBezTo>
                        <a:pt x="21600" y="1899"/>
                        <a:pt x="20567" y="0"/>
                        <a:pt x="19307" y="0"/>
                      </a:cubicBezTo>
                      <a:close/>
                    </a:path>
                  </a:pathLst>
                </a:custGeom>
                <a:solidFill>
                  <a:schemeClr val="tx2">
                    <a:lumMod val="40000"/>
                    <a:lumOff val="60000"/>
                  </a:scheme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203" name="ï$ļíḍè">
                  <a:extLst>
                    <a:ext uri="{FF2B5EF4-FFF2-40B4-BE49-F238E27FC236}">
                      <a16:creationId xmlns:a16="http://schemas.microsoft.com/office/drawing/2014/main" id="{D9C9003F-9FE8-4BF8-A8D1-817E8F9FF15D}"/>
                    </a:ext>
                  </a:extLst>
                </p:cNvPr>
                <p:cNvSpPr/>
                <p:nvPr/>
              </p:nvSpPr>
              <p:spPr>
                <a:xfrm flipH="1">
                  <a:off x="1808618" y="3329432"/>
                  <a:ext cx="138794" cy="9055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218" h="21600" extrusionOk="0">
                      <a:moveTo>
                        <a:pt x="15490" y="13431"/>
                      </a:moveTo>
                      <a:cubicBezTo>
                        <a:pt x="14217" y="13998"/>
                        <a:pt x="12298" y="14513"/>
                        <a:pt x="10118" y="14513"/>
                      </a:cubicBezTo>
                      <a:cubicBezTo>
                        <a:pt x="9129" y="14513"/>
                        <a:pt x="8210" y="14389"/>
                        <a:pt x="7469" y="14161"/>
                      </a:cubicBezTo>
                      <a:cubicBezTo>
                        <a:pt x="6094" y="13748"/>
                        <a:pt x="5135" y="13066"/>
                        <a:pt x="4766" y="12252"/>
                      </a:cubicBezTo>
                      <a:cubicBezTo>
                        <a:pt x="4679" y="12055"/>
                        <a:pt x="4409" y="11461"/>
                        <a:pt x="4623" y="9763"/>
                      </a:cubicBezTo>
                      <a:cubicBezTo>
                        <a:pt x="4882" y="7686"/>
                        <a:pt x="5358" y="7086"/>
                        <a:pt x="6736" y="7086"/>
                      </a:cubicBezTo>
                      <a:cubicBezTo>
                        <a:pt x="7195" y="7086"/>
                        <a:pt x="7728" y="7177"/>
                        <a:pt x="8320" y="7358"/>
                      </a:cubicBezTo>
                      <a:cubicBezTo>
                        <a:pt x="10861" y="8132"/>
                        <a:pt x="13910" y="10961"/>
                        <a:pt x="15572" y="13075"/>
                      </a:cubicBezTo>
                      <a:cubicBezTo>
                        <a:pt x="15727" y="13220"/>
                        <a:pt x="15584" y="13391"/>
                        <a:pt x="15490" y="13431"/>
                      </a:cubicBezTo>
                      <a:close/>
                      <a:moveTo>
                        <a:pt x="16835" y="5746"/>
                      </a:moveTo>
                      <a:cubicBezTo>
                        <a:pt x="14282" y="3082"/>
                        <a:pt x="11425" y="1082"/>
                        <a:pt x="9190" y="400"/>
                      </a:cubicBezTo>
                      <a:cubicBezTo>
                        <a:pt x="8314" y="134"/>
                        <a:pt x="7488" y="0"/>
                        <a:pt x="6736" y="0"/>
                      </a:cubicBezTo>
                      <a:cubicBezTo>
                        <a:pt x="3178" y="0"/>
                        <a:pt x="842" y="2983"/>
                        <a:pt x="163" y="8406"/>
                      </a:cubicBezTo>
                      <a:cubicBezTo>
                        <a:pt x="-223" y="11503"/>
                        <a:pt x="75" y="14169"/>
                        <a:pt x="1053" y="16337"/>
                      </a:cubicBezTo>
                      <a:cubicBezTo>
                        <a:pt x="2146" y="18750"/>
                        <a:pt x="3961" y="20320"/>
                        <a:pt x="6598" y="21120"/>
                      </a:cubicBezTo>
                      <a:cubicBezTo>
                        <a:pt x="7638" y="21442"/>
                        <a:pt x="8821" y="21600"/>
                        <a:pt x="10118" y="21600"/>
                      </a:cubicBezTo>
                      <a:cubicBezTo>
                        <a:pt x="12298" y="21600"/>
                        <a:pt x="14634" y="21138"/>
                        <a:pt x="16527" y="20338"/>
                      </a:cubicBezTo>
                      <a:cubicBezTo>
                        <a:pt x="19331" y="19146"/>
                        <a:pt x="20844" y="17338"/>
                        <a:pt x="21162" y="14808"/>
                      </a:cubicBezTo>
                      <a:cubicBezTo>
                        <a:pt x="21377" y="13084"/>
                        <a:pt x="21162" y="10273"/>
                        <a:pt x="16835" y="574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204" name="işľíḍê">
                  <a:extLst>
                    <a:ext uri="{FF2B5EF4-FFF2-40B4-BE49-F238E27FC236}">
                      <a16:creationId xmlns:a16="http://schemas.microsoft.com/office/drawing/2014/main" id="{B7075D22-DA4D-466E-ADC8-4A3CB920E685}"/>
                    </a:ext>
                  </a:extLst>
                </p:cNvPr>
                <p:cNvSpPr/>
                <p:nvPr/>
              </p:nvSpPr>
              <p:spPr>
                <a:xfrm flipH="1">
                  <a:off x="1659420" y="3329432"/>
                  <a:ext cx="138791" cy="9055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217" h="21600" extrusionOk="0">
                      <a:moveTo>
                        <a:pt x="5682" y="13034"/>
                      </a:moveTo>
                      <a:cubicBezTo>
                        <a:pt x="7347" y="10916"/>
                        <a:pt x="10356" y="8132"/>
                        <a:pt x="12897" y="7358"/>
                      </a:cubicBezTo>
                      <a:cubicBezTo>
                        <a:pt x="13489" y="7177"/>
                        <a:pt x="14022" y="7086"/>
                        <a:pt x="14484" y="7086"/>
                      </a:cubicBezTo>
                      <a:cubicBezTo>
                        <a:pt x="15862" y="7086"/>
                        <a:pt x="16335" y="7686"/>
                        <a:pt x="16595" y="9767"/>
                      </a:cubicBezTo>
                      <a:cubicBezTo>
                        <a:pt x="16806" y="11461"/>
                        <a:pt x="16538" y="12055"/>
                        <a:pt x="16451" y="12252"/>
                      </a:cubicBezTo>
                      <a:cubicBezTo>
                        <a:pt x="16082" y="13066"/>
                        <a:pt x="15121" y="13748"/>
                        <a:pt x="13752" y="14161"/>
                      </a:cubicBezTo>
                      <a:cubicBezTo>
                        <a:pt x="13008" y="14389"/>
                        <a:pt x="12089" y="14513"/>
                        <a:pt x="11100" y="14513"/>
                      </a:cubicBezTo>
                      <a:cubicBezTo>
                        <a:pt x="8897" y="14513"/>
                        <a:pt x="6955" y="13985"/>
                        <a:pt x="5682" y="13413"/>
                      </a:cubicBezTo>
                      <a:cubicBezTo>
                        <a:pt x="5606" y="13378"/>
                        <a:pt x="5533" y="13167"/>
                        <a:pt x="5682" y="13034"/>
                      </a:cubicBezTo>
                      <a:close/>
                      <a:moveTo>
                        <a:pt x="11100" y="21600"/>
                      </a:moveTo>
                      <a:cubicBezTo>
                        <a:pt x="12397" y="21600"/>
                        <a:pt x="13583" y="21442"/>
                        <a:pt x="14620" y="21125"/>
                      </a:cubicBezTo>
                      <a:cubicBezTo>
                        <a:pt x="17257" y="20320"/>
                        <a:pt x="19071" y="18756"/>
                        <a:pt x="20164" y="16337"/>
                      </a:cubicBezTo>
                      <a:cubicBezTo>
                        <a:pt x="21143" y="14176"/>
                        <a:pt x="21441" y="11503"/>
                        <a:pt x="21052" y="8406"/>
                      </a:cubicBezTo>
                      <a:cubicBezTo>
                        <a:pt x="20375" y="2983"/>
                        <a:pt x="18043" y="0"/>
                        <a:pt x="14484" y="0"/>
                      </a:cubicBezTo>
                      <a:cubicBezTo>
                        <a:pt x="13731" y="0"/>
                        <a:pt x="12904" y="134"/>
                        <a:pt x="12027" y="400"/>
                      </a:cubicBezTo>
                      <a:cubicBezTo>
                        <a:pt x="9792" y="1082"/>
                        <a:pt x="6936" y="3082"/>
                        <a:pt x="4383" y="5746"/>
                      </a:cubicBezTo>
                      <a:cubicBezTo>
                        <a:pt x="52" y="10273"/>
                        <a:pt x="-159" y="13084"/>
                        <a:pt x="55" y="14808"/>
                      </a:cubicBezTo>
                      <a:cubicBezTo>
                        <a:pt x="374" y="17338"/>
                        <a:pt x="1889" y="19146"/>
                        <a:pt x="4690" y="20338"/>
                      </a:cubicBezTo>
                      <a:cubicBezTo>
                        <a:pt x="6583" y="21138"/>
                        <a:pt x="8919" y="21600"/>
                        <a:pt x="11100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205" name="îṩḻíḓè">
                  <a:extLst>
                    <a:ext uri="{FF2B5EF4-FFF2-40B4-BE49-F238E27FC236}">
                      <a16:creationId xmlns:a16="http://schemas.microsoft.com/office/drawing/2014/main" id="{B08DA7AE-7CC1-42BC-988B-76C4EEC9BEE5}"/>
                    </a:ext>
                  </a:extLst>
                </p:cNvPr>
                <p:cNvSpPr/>
                <p:nvPr/>
              </p:nvSpPr>
              <p:spPr>
                <a:xfrm flipH="1">
                  <a:off x="2176562" y="918334"/>
                  <a:ext cx="403465" cy="40838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956" h="21600" extrusionOk="0">
                      <a:moveTo>
                        <a:pt x="3025" y="3082"/>
                      </a:moveTo>
                      <a:cubicBezTo>
                        <a:pt x="3729" y="2366"/>
                        <a:pt x="4868" y="2365"/>
                        <a:pt x="5574" y="3082"/>
                      </a:cubicBezTo>
                      <a:cubicBezTo>
                        <a:pt x="6278" y="3799"/>
                        <a:pt x="6276" y="4961"/>
                        <a:pt x="5574" y="5677"/>
                      </a:cubicBezTo>
                      <a:cubicBezTo>
                        <a:pt x="4868" y="6394"/>
                        <a:pt x="3729" y="6394"/>
                        <a:pt x="3025" y="5677"/>
                      </a:cubicBezTo>
                      <a:cubicBezTo>
                        <a:pt x="2320" y="4960"/>
                        <a:pt x="2320" y="3799"/>
                        <a:pt x="3025" y="3082"/>
                      </a:cubicBezTo>
                      <a:close/>
                      <a:moveTo>
                        <a:pt x="11560" y="10116"/>
                      </a:moveTo>
                      <a:lnTo>
                        <a:pt x="18737" y="17424"/>
                      </a:lnTo>
                      <a:cubicBezTo>
                        <a:pt x="18906" y="17595"/>
                        <a:pt x="18906" y="17873"/>
                        <a:pt x="18737" y="18043"/>
                      </a:cubicBezTo>
                      <a:cubicBezTo>
                        <a:pt x="18654" y="18128"/>
                        <a:pt x="18542" y="18171"/>
                        <a:pt x="18432" y="18171"/>
                      </a:cubicBezTo>
                      <a:cubicBezTo>
                        <a:pt x="18323" y="18171"/>
                        <a:pt x="18211" y="18128"/>
                        <a:pt x="18127" y="18043"/>
                      </a:cubicBezTo>
                      <a:lnTo>
                        <a:pt x="11019" y="10803"/>
                      </a:lnTo>
                      <a:cubicBezTo>
                        <a:pt x="11216" y="10587"/>
                        <a:pt x="11397" y="10357"/>
                        <a:pt x="11560" y="10116"/>
                      </a:cubicBezTo>
                      <a:close/>
                      <a:moveTo>
                        <a:pt x="6339" y="12917"/>
                      </a:moveTo>
                      <a:cubicBezTo>
                        <a:pt x="7206" y="12917"/>
                        <a:pt x="8042" y="12738"/>
                        <a:pt x="8818" y="12404"/>
                      </a:cubicBezTo>
                      <a:lnTo>
                        <a:pt x="11563" y="15201"/>
                      </a:lnTo>
                      <a:cubicBezTo>
                        <a:pt x="11677" y="15315"/>
                        <a:pt x="11827" y="15376"/>
                        <a:pt x="11990" y="15371"/>
                      </a:cubicBezTo>
                      <a:lnTo>
                        <a:pt x="13485" y="15317"/>
                      </a:lnTo>
                      <a:lnTo>
                        <a:pt x="13437" y="16844"/>
                      </a:lnTo>
                      <a:cubicBezTo>
                        <a:pt x="13433" y="17005"/>
                        <a:pt x="13489" y="17162"/>
                        <a:pt x="13604" y="17277"/>
                      </a:cubicBezTo>
                      <a:cubicBezTo>
                        <a:pt x="13715" y="17391"/>
                        <a:pt x="13869" y="17453"/>
                        <a:pt x="14027" y="17447"/>
                      </a:cubicBezTo>
                      <a:lnTo>
                        <a:pt x="15528" y="17394"/>
                      </a:lnTo>
                      <a:lnTo>
                        <a:pt x="15474" y="18920"/>
                      </a:lnTo>
                      <a:cubicBezTo>
                        <a:pt x="15469" y="19082"/>
                        <a:pt x="15530" y="19238"/>
                        <a:pt x="15641" y="19352"/>
                      </a:cubicBezTo>
                      <a:cubicBezTo>
                        <a:pt x="15755" y="19467"/>
                        <a:pt x="15888" y="19529"/>
                        <a:pt x="16068" y="19523"/>
                      </a:cubicBezTo>
                      <a:lnTo>
                        <a:pt x="17565" y="19472"/>
                      </a:lnTo>
                      <a:lnTo>
                        <a:pt x="17515" y="20996"/>
                      </a:lnTo>
                      <a:cubicBezTo>
                        <a:pt x="17506" y="21166"/>
                        <a:pt x="17577" y="21329"/>
                        <a:pt x="17694" y="21444"/>
                      </a:cubicBezTo>
                      <a:cubicBezTo>
                        <a:pt x="17805" y="21545"/>
                        <a:pt x="17941" y="21600"/>
                        <a:pt x="18086" y="21600"/>
                      </a:cubicBezTo>
                      <a:cubicBezTo>
                        <a:pt x="18106" y="21600"/>
                        <a:pt x="18127" y="21599"/>
                        <a:pt x="18148" y="21598"/>
                      </a:cubicBezTo>
                      <a:lnTo>
                        <a:pt x="20445" y="21338"/>
                      </a:lnTo>
                      <a:cubicBezTo>
                        <a:pt x="20755" y="21303"/>
                        <a:pt x="20981" y="21022"/>
                        <a:pt x="20954" y="20705"/>
                      </a:cubicBezTo>
                      <a:lnTo>
                        <a:pt x="20698" y="17849"/>
                      </a:lnTo>
                      <a:cubicBezTo>
                        <a:pt x="20687" y="17715"/>
                        <a:pt x="20629" y="17586"/>
                        <a:pt x="20532" y="17489"/>
                      </a:cubicBezTo>
                      <a:lnTo>
                        <a:pt x="12178" y="8983"/>
                      </a:lnTo>
                      <a:cubicBezTo>
                        <a:pt x="12507" y="8194"/>
                        <a:pt x="12680" y="7340"/>
                        <a:pt x="12680" y="6457"/>
                      </a:cubicBezTo>
                      <a:cubicBezTo>
                        <a:pt x="12680" y="4733"/>
                        <a:pt x="12020" y="3111"/>
                        <a:pt x="10824" y="1890"/>
                      </a:cubicBezTo>
                      <a:cubicBezTo>
                        <a:pt x="9626" y="672"/>
                        <a:pt x="8034" y="0"/>
                        <a:pt x="6340" y="0"/>
                      </a:cubicBezTo>
                      <a:cubicBezTo>
                        <a:pt x="4644" y="0"/>
                        <a:pt x="3055" y="672"/>
                        <a:pt x="1856" y="1891"/>
                      </a:cubicBezTo>
                      <a:cubicBezTo>
                        <a:pt x="-618" y="4409"/>
                        <a:pt x="-619" y="8505"/>
                        <a:pt x="1856" y="11023"/>
                      </a:cubicBezTo>
                      <a:cubicBezTo>
                        <a:pt x="3054" y="12244"/>
                        <a:pt x="4644" y="12917"/>
                        <a:pt x="6339" y="12917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206" name="iṩļiḓe">
                  <a:extLst>
                    <a:ext uri="{FF2B5EF4-FFF2-40B4-BE49-F238E27FC236}">
                      <a16:creationId xmlns:a16="http://schemas.microsoft.com/office/drawing/2014/main" id="{F63522F3-A415-489E-BF4D-236BE16A10D0}"/>
                    </a:ext>
                  </a:extLst>
                </p:cNvPr>
                <p:cNvSpPr/>
                <p:nvPr/>
              </p:nvSpPr>
              <p:spPr>
                <a:xfrm flipH="1">
                  <a:off x="1810507" y="1544980"/>
                  <a:ext cx="190618" cy="43427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440" extrusionOk="0">
                      <a:moveTo>
                        <a:pt x="4896" y="2921"/>
                      </a:moveTo>
                      <a:cubicBezTo>
                        <a:pt x="4996" y="2853"/>
                        <a:pt x="5099" y="2788"/>
                        <a:pt x="5209" y="2719"/>
                      </a:cubicBezTo>
                      <a:cubicBezTo>
                        <a:pt x="5320" y="2650"/>
                        <a:pt x="5420" y="2588"/>
                        <a:pt x="5554" y="2513"/>
                      </a:cubicBezTo>
                      <a:lnTo>
                        <a:pt x="7397" y="3246"/>
                      </a:lnTo>
                      <a:cubicBezTo>
                        <a:pt x="7302" y="3284"/>
                        <a:pt x="7183" y="3335"/>
                        <a:pt x="7084" y="3383"/>
                      </a:cubicBezTo>
                      <a:cubicBezTo>
                        <a:pt x="6971" y="3434"/>
                        <a:pt x="6859" y="3484"/>
                        <a:pt x="6759" y="3537"/>
                      </a:cubicBezTo>
                      <a:cubicBezTo>
                        <a:pt x="6540" y="3640"/>
                        <a:pt x="6335" y="3747"/>
                        <a:pt x="6136" y="3860"/>
                      </a:cubicBezTo>
                      <a:cubicBezTo>
                        <a:pt x="5729" y="4080"/>
                        <a:pt x="5367" y="4313"/>
                        <a:pt x="5027" y="4553"/>
                      </a:cubicBezTo>
                      <a:cubicBezTo>
                        <a:pt x="4353" y="5036"/>
                        <a:pt x="3816" y="5561"/>
                        <a:pt x="3525" y="6112"/>
                      </a:cubicBezTo>
                      <a:cubicBezTo>
                        <a:pt x="3233" y="6661"/>
                        <a:pt x="3210" y="7244"/>
                        <a:pt x="3525" y="7810"/>
                      </a:cubicBezTo>
                      <a:cubicBezTo>
                        <a:pt x="3830" y="8372"/>
                        <a:pt x="4470" y="8910"/>
                        <a:pt x="5320" y="9384"/>
                      </a:cubicBezTo>
                      <a:cubicBezTo>
                        <a:pt x="4319" y="8973"/>
                        <a:pt x="3471" y="8473"/>
                        <a:pt x="2934" y="7892"/>
                      </a:cubicBezTo>
                      <a:cubicBezTo>
                        <a:pt x="2393" y="7316"/>
                        <a:pt x="2187" y="6668"/>
                        <a:pt x="2291" y="6034"/>
                      </a:cubicBezTo>
                      <a:cubicBezTo>
                        <a:pt x="2398" y="5399"/>
                        <a:pt x="2794" y="4776"/>
                        <a:pt x="3352" y="4190"/>
                      </a:cubicBezTo>
                      <a:cubicBezTo>
                        <a:pt x="3636" y="3895"/>
                        <a:pt x="3958" y="3607"/>
                        <a:pt x="4319" y="3332"/>
                      </a:cubicBezTo>
                      <a:cubicBezTo>
                        <a:pt x="4499" y="3192"/>
                        <a:pt x="4689" y="3054"/>
                        <a:pt x="4896" y="2921"/>
                      </a:cubicBezTo>
                      <a:close/>
                      <a:moveTo>
                        <a:pt x="0" y="6572"/>
                      </a:moveTo>
                      <a:cubicBezTo>
                        <a:pt x="0" y="9986"/>
                        <a:pt x="7827" y="13024"/>
                        <a:pt x="11268" y="13375"/>
                      </a:cubicBezTo>
                      <a:cubicBezTo>
                        <a:pt x="11112" y="13571"/>
                        <a:pt x="10862" y="13801"/>
                        <a:pt x="10489" y="13906"/>
                      </a:cubicBezTo>
                      <a:cubicBezTo>
                        <a:pt x="10082" y="14021"/>
                        <a:pt x="10797" y="13854"/>
                        <a:pt x="11694" y="13772"/>
                      </a:cubicBezTo>
                      <a:cubicBezTo>
                        <a:pt x="13175" y="16208"/>
                        <a:pt x="13544" y="18757"/>
                        <a:pt x="13290" y="21270"/>
                      </a:cubicBezTo>
                      <a:cubicBezTo>
                        <a:pt x="13252" y="21600"/>
                        <a:pt x="14290" y="21390"/>
                        <a:pt x="14313" y="21150"/>
                      </a:cubicBezTo>
                      <a:cubicBezTo>
                        <a:pt x="14568" y="18670"/>
                        <a:pt x="14240" y="16149"/>
                        <a:pt x="12839" y="13739"/>
                      </a:cubicBezTo>
                      <a:cubicBezTo>
                        <a:pt x="13142" y="13757"/>
                        <a:pt x="13421" y="13801"/>
                        <a:pt x="13639" y="13888"/>
                      </a:cubicBezTo>
                      <a:cubicBezTo>
                        <a:pt x="13479" y="13827"/>
                        <a:pt x="13016" y="13620"/>
                        <a:pt x="13002" y="13303"/>
                      </a:cubicBezTo>
                      <a:cubicBezTo>
                        <a:pt x="14166" y="13119"/>
                        <a:pt x="15671" y="12700"/>
                        <a:pt x="17193" y="12109"/>
                      </a:cubicBezTo>
                      <a:cubicBezTo>
                        <a:pt x="15792" y="11101"/>
                        <a:pt x="14816" y="9949"/>
                        <a:pt x="14816" y="8752"/>
                      </a:cubicBezTo>
                      <a:cubicBezTo>
                        <a:pt x="14816" y="6130"/>
                        <a:pt x="17594" y="3868"/>
                        <a:pt x="21600" y="2811"/>
                      </a:cubicBezTo>
                      <a:cubicBezTo>
                        <a:pt x="19451" y="1115"/>
                        <a:pt x="15896" y="0"/>
                        <a:pt x="11867" y="0"/>
                      </a:cubicBezTo>
                      <a:cubicBezTo>
                        <a:pt x="5313" y="0"/>
                        <a:pt x="0" y="2942"/>
                        <a:pt x="0" y="6572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207" name="îṧlïḓê">
                  <a:extLst>
                    <a:ext uri="{FF2B5EF4-FFF2-40B4-BE49-F238E27FC236}">
                      <a16:creationId xmlns:a16="http://schemas.microsoft.com/office/drawing/2014/main" id="{0F5D4B83-D01A-4310-AD73-5840E9ADAE55}"/>
                    </a:ext>
                  </a:extLst>
                </p:cNvPr>
                <p:cNvSpPr/>
                <p:nvPr/>
              </p:nvSpPr>
              <p:spPr>
                <a:xfrm flipH="1">
                  <a:off x="1648461" y="1592725"/>
                  <a:ext cx="209431" cy="42438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464" h="21439" extrusionOk="0">
                      <a:moveTo>
                        <a:pt x="15544" y="1599"/>
                      </a:moveTo>
                      <a:cubicBezTo>
                        <a:pt x="21600" y="4750"/>
                        <a:pt x="17053" y="7168"/>
                        <a:pt x="17053" y="7168"/>
                      </a:cubicBezTo>
                      <a:cubicBezTo>
                        <a:pt x="19139" y="4239"/>
                        <a:pt x="13566" y="2043"/>
                        <a:pt x="13566" y="2043"/>
                      </a:cubicBezTo>
                      <a:cubicBezTo>
                        <a:pt x="13566" y="2043"/>
                        <a:pt x="15544" y="1599"/>
                        <a:pt x="15544" y="1599"/>
                      </a:cubicBezTo>
                      <a:close/>
                      <a:moveTo>
                        <a:pt x="0" y="6725"/>
                      </a:moveTo>
                      <a:cubicBezTo>
                        <a:pt x="0" y="10281"/>
                        <a:pt x="7331" y="13436"/>
                        <a:pt x="10351" y="13701"/>
                      </a:cubicBezTo>
                      <a:cubicBezTo>
                        <a:pt x="10209" y="13874"/>
                        <a:pt x="10009" y="14052"/>
                        <a:pt x="9730" y="14142"/>
                      </a:cubicBezTo>
                      <a:cubicBezTo>
                        <a:pt x="9402" y="14246"/>
                        <a:pt x="9896" y="14118"/>
                        <a:pt x="10590" y="14030"/>
                      </a:cubicBezTo>
                      <a:cubicBezTo>
                        <a:pt x="10662" y="14547"/>
                        <a:pt x="10536" y="15070"/>
                        <a:pt x="10597" y="15591"/>
                      </a:cubicBezTo>
                      <a:cubicBezTo>
                        <a:pt x="10696" y="16438"/>
                        <a:pt x="11630" y="17115"/>
                        <a:pt x="12844" y="17667"/>
                      </a:cubicBezTo>
                      <a:cubicBezTo>
                        <a:pt x="11588" y="17965"/>
                        <a:pt x="10179" y="18415"/>
                        <a:pt x="10278" y="19138"/>
                      </a:cubicBezTo>
                      <a:cubicBezTo>
                        <a:pt x="10376" y="19905"/>
                        <a:pt x="11557" y="20453"/>
                        <a:pt x="11281" y="21270"/>
                      </a:cubicBezTo>
                      <a:cubicBezTo>
                        <a:pt x="11167" y="21600"/>
                        <a:pt x="12127" y="21386"/>
                        <a:pt x="12207" y="21147"/>
                      </a:cubicBezTo>
                      <a:cubicBezTo>
                        <a:pt x="12420" y="20537"/>
                        <a:pt x="12014" y="20014"/>
                        <a:pt x="11523" y="19466"/>
                      </a:cubicBezTo>
                      <a:cubicBezTo>
                        <a:pt x="11324" y="19242"/>
                        <a:pt x="11111" y="18997"/>
                        <a:pt x="11260" y="18754"/>
                      </a:cubicBezTo>
                      <a:cubicBezTo>
                        <a:pt x="11530" y="18320"/>
                        <a:pt x="13088" y="18063"/>
                        <a:pt x="13829" y="17907"/>
                      </a:cubicBezTo>
                      <a:cubicBezTo>
                        <a:pt x="14092" y="17850"/>
                        <a:pt x="14398" y="17600"/>
                        <a:pt x="14107" y="17485"/>
                      </a:cubicBezTo>
                      <a:cubicBezTo>
                        <a:pt x="12592" y="16870"/>
                        <a:pt x="11557" y="16166"/>
                        <a:pt x="11500" y="15180"/>
                      </a:cubicBezTo>
                      <a:cubicBezTo>
                        <a:pt x="11476" y="14770"/>
                        <a:pt x="11550" y="14366"/>
                        <a:pt x="11528" y="13963"/>
                      </a:cubicBezTo>
                      <a:cubicBezTo>
                        <a:pt x="11926" y="13961"/>
                        <a:pt x="12308" y="14001"/>
                        <a:pt x="12582" y="14126"/>
                      </a:cubicBezTo>
                      <a:cubicBezTo>
                        <a:pt x="12447" y="14063"/>
                        <a:pt x="12053" y="13867"/>
                        <a:pt x="12002" y="13568"/>
                      </a:cubicBezTo>
                      <a:cubicBezTo>
                        <a:pt x="15369" y="12880"/>
                        <a:pt x="21464" y="9968"/>
                        <a:pt x="21464" y="6725"/>
                      </a:cubicBezTo>
                      <a:cubicBezTo>
                        <a:pt x="21464" y="3011"/>
                        <a:pt x="16660" y="0"/>
                        <a:pt x="10733" y="0"/>
                      </a:cubicBezTo>
                      <a:cubicBezTo>
                        <a:pt x="4811" y="0"/>
                        <a:pt x="0" y="3011"/>
                        <a:pt x="0" y="6725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208" name="íś1ïḑe">
                  <a:extLst>
                    <a:ext uri="{FF2B5EF4-FFF2-40B4-BE49-F238E27FC236}">
                      <a16:creationId xmlns:a16="http://schemas.microsoft.com/office/drawing/2014/main" id="{0798D430-F8CE-4CD3-AC94-D9A2206ADB80}"/>
                    </a:ext>
                  </a:extLst>
                </p:cNvPr>
                <p:cNvSpPr/>
                <p:nvPr/>
              </p:nvSpPr>
              <p:spPr>
                <a:xfrm flipH="1">
                  <a:off x="1084770" y="2535679"/>
                  <a:ext cx="450846" cy="27475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21600"/>
                      </a:moveTo>
                      <a:lnTo>
                        <a:pt x="21600" y="13085"/>
                      </a:lnTo>
                      <a:lnTo>
                        <a:pt x="1729" y="13085"/>
                      </a:lnTo>
                      <a:lnTo>
                        <a:pt x="1729" y="1455"/>
                      </a:lnTo>
                      <a:cubicBezTo>
                        <a:pt x="1729" y="1084"/>
                        <a:pt x="1645" y="750"/>
                        <a:pt x="1477" y="450"/>
                      </a:cubicBezTo>
                      <a:cubicBezTo>
                        <a:pt x="1307" y="151"/>
                        <a:pt x="1104" y="0"/>
                        <a:pt x="864" y="0"/>
                      </a:cubicBezTo>
                      <a:cubicBezTo>
                        <a:pt x="625" y="0"/>
                        <a:pt x="421" y="151"/>
                        <a:pt x="253" y="450"/>
                      </a:cubicBezTo>
                      <a:cubicBezTo>
                        <a:pt x="85" y="751"/>
                        <a:pt x="0" y="1084"/>
                        <a:pt x="0" y="1455"/>
                      </a:cubicBezTo>
                      <a:lnTo>
                        <a:pt x="0" y="21600"/>
                      </a:lnTo>
                      <a:lnTo>
                        <a:pt x="1729" y="21600"/>
                      </a:lnTo>
                      <a:lnTo>
                        <a:pt x="1729" y="15923"/>
                      </a:lnTo>
                      <a:lnTo>
                        <a:pt x="19871" y="15923"/>
                      </a:lnTo>
                      <a:lnTo>
                        <a:pt x="19871" y="21600"/>
                      </a:lnTo>
                      <a:cubicBezTo>
                        <a:pt x="19871" y="21600"/>
                        <a:pt x="21600" y="21600"/>
                        <a:pt x="21600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47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209" name="íś1ïdé">
                  <a:extLst>
                    <a:ext uri="{FF2B5EF4-FFF2-40B4-BE49-F238E27FC236}">
                      <a16:creationId xmlns:a16="http://schemas.microsoft.com/office/drawing/2014/main" id="{37D46E71-7FDC-4197-808C-F8ADFB5C84DB}"/>
                    </a:ext>
                  </a:extLst>
                </p:cNvPr>
                <p:cNvSpPr/>
                <p:nvPr/>
              </p:nvSpPr>
              <p:spPr>
                <a:xfrm flipH="1">
                  <a:off x="1409010" y="2559552"/>
                  <a:ext cx="66926" cy="6605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10803"/>
                      </a:moveTo>
                      <a:cubicBezTo>
                        <a:pt x="0" y="13779"/>
                        <a:pt x="1046" y="16320"/>
                        <a:pt x="3128" y="18432"/>
                      </a:cubicBezTo>
                      <a:cubicBezTo>
                        <a:pt x="5210" y="20542"/>
                        <a:pt x="7722" y="21600"/>
                        <a:pt x="10660" y="21600"/>
                      </a:cubicBezTo>
                      <a:cubicBezTo>
                        <a:pt x="13598" y="21600"/>
                        <a:pt x="16156" y="20542"/>
                        <a:pt x="18333" y="18432"/>
                      </a:cubicBezTo>
                      <a:cubicBezTo>
                        <a:pt x="20511" y="16320"/>
                        <a:pt x="21600" y="13779"/>
                        <a:pt x="21600" y="10803"/>
                      </a:cubicBezTo>
                      <a:cubicBezTo>
                        <a:pt x="21600" y="7829"/>
                        <a:pt x="20511" y="5286"/>
                        <a:pt x="18333" y="3168"/>
                      </a:cubicBezTo>
                      <a:cubicBezTo>
                        <a:pt x="16156" y="1058"/>
                        <a:pt x="13598" y="0"/>
                        <a:pt x="10660" y="0"/>
                      </a:cubicBezTo>
                      <a:cubicBezTo>
                        <a:pt x="7722" y="0"/>
                        <a:pt x="5210" y="1058"/>
                        <a:pt x="3128" y="3168"/>
                      </a:cubicBezTo>
                      <a:cubicBezTo>
                        <a:pt x="1046" y="5286"/>
                        <a:pt x="0" y="7829"/>
                        <a:pt x="0" y="10803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210" name="íšlîďè">
                  <a:extLst>
                    <a:ext uri="{FF2B5EF4-FFF2-40B4-BE49-F238E27FC236}">
                      <a16:creationId xmlns:a16="http://schemas.microsoft.com/office/drawing/2014/main" id="{0B013773-842E-41BB-B8EF-CEFE2002F293}"/>
                    </a:ext>
                  </a:extLst>
                </p:cNvPr>
                <p:cNvSpPr/>
                <p:nvPr/>
              </p:nvSpPr>
              <p:spPr>
                <a:xfrm flipH="1">
                  <a:off x="1085842" y="2577456"/>
                  <a:ext cx="390093" cy="9509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11599"/>
                      </a:moveTo>
                      <a:cubicBezTo>
                        <a:pt x="21600" y="10001"/>
                        <a:pt x="21462" y="8701"/>
                        <a:pt x="21186" y="7700"/>
                      </a:cubicBezTo>
                      <a:cubicBezTo>
                        <a:pt x="20910" y="6700"/>
                        <a:pt x="20560" y="6064"/>
                        <a:pt x="20137" y="5800"/>
                      </a:cubicBezTo>
                      <a:lnTo>
                        <a:pt x="5656" y="0"/>
                      </a:lnTo>
                      <a:lnTo>
                        <a:pt x="5559" y="0"/>
                      </a:lnTo>
                      <a:cubicBezTo>
                        <a:pt x="5298" y="0"/>
                        <a:pt x="5079" y="365"/>
                        <a:pt x="4901" y="1096"/>
                      </a:cubicBezTo>
                      <a:cubicBezTo>
                        <a:pt x="4722" y="1831"/>
                        <a:pt x="4632" y="2732"/>
                        <a:pt x="4632" y="3798"/>
                      </a:cubicBezTo>
                      <a:lnTo>
                        <a:pt x="4632" y="15405"/>
                      </a:lnTo>
                      <a:lnTo>
                        <a:pt x="927" y="15405"/>
                      </a:lnTo>
                      <a:cubicBezTo>
                        <a:pt x="309" y="15405"/>
                        <a:pt x="0" y="16436"/>
                        <a:pt x="0" y="18502"/>
                      </a:cubicBezTo>
                      <a:cubicBezTo>
                        <a:pt x="0" y="20569"/>
                        <a:pt x="309" y="21600"/>
                        <a:pt x="927" y="21600"/>
                      </a:cubicBezTo>
                      <a:lnTo>
                        <a:pt x="21600" y="21600"/>
                      </a:lnTo>
                      <a:cubicBezTo>
                        <a:pt x="21600" y="21600"/>
                        <a:pt x="21600" y="11599"/>
                        <a:pt x="21600" y="11599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211" name="íşlïḑe">
                  <a:extLst>
                    <a:ext uri="{FF2B5EF4-FFF2-40B4-BE49-F238E27FC236}">
                      <a16:creationId xmlns:a16="http://schemas.microsoft.com/office/drawing/2014/main" id="{3D6B6CEA-E047-40BF-93CC-594B875171B5}"/>
                    </a:ext>
                  </a:extLst>
                </p:cNvPr>
                <p:cNvSpPr/>
                <p:nvPr/>
              </p:nvSpPr>
              <p:spPr>
                <a:xfrm flipH="1">
                  <a:off x="2048431" y="1503204"/>
                  <a:ext cx="376427" cy="40680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583" h="21259" extrusionOk="0">
                      <a:moveTo>
                        <a:pt x="13985" y="14767"/>
                      </a:moveTo>
                      <a:cubicBezTo>
                        <a:pt x="13635" y="14988"/>
                        <a:pt x="13164" y="14896"/>
                        <a:pt x="12934" y="14563"/>
                      </a:cubicBezTo>
                      <a:lnTo>
                        <a:pt x="6699" y="5556"/>
                      </a:lnTo>
                      <a:cubicBezTo>
                        <a:pt x="6417" y="5148"/>
                        <a:pt x="5842" y="5036"/>
                        <a:pt x="5415" y="5306"/>
                      </a:cubicBezTo>
                      <a:cubicBezTo>
                        <a:pt x="4990" y="5576"/>
                        <a:pt x="4872" y="6125"/>
                        <a:pt x="5155" y="6532"/>
                      </a:cubicBezTo>
                      <a:lnTo>
                        <a:pt x="11389" y="15538"/>
                      </a:lnTo>
                      <a:cubicBezTo>
                        <a:pt x="12183" y="16687"/>
                        <a:pt x="13807" y="17002"/>
                        <a:pt x="15006" y="16243"/>
                      </a:cubicBezTo>
                      <a:cubicBezTo>
                        <a:pt x="15589" y="15875"/>
                        <a:pt x="15986" y="15313"/>
                        <a:pt x="16125" y="14661"/>
                      </a:cubicBezTo>
                      <a:cubicBezTo>
                        <a:pt x="16264" y="14007"/>
                        <a:pt x="16128" y="13342"/>
                        <a:pt x="15744" y="12785"/>
                      </a:cubicBezTo>
                      <a:lnTo>
                        <a:pt x="8232" y="1932"/>
                      </a:lnTo>
                      <a:cubicBezTo>
                        <a:pt x="7572" y="979"/>
                        <a:pt x="6555" y="325"/>
                        <a:pt x="5370" y="91"/>
                      </a:cubicBezTo>
                      <a:cubicBezTo>
                        <a:pt x="4181" y="-143"/>
                        <a:pt x="2978" y="76"/>
                        <a:pt x="1979" y="706"/>
                      </a:cubicBezTo>
                      <a:cubicBezTo>
                        <a:pt x="998" y="1327"/>
                        <a:pt x="330" y="2278"/>
                        <a:pt x="94" y="3387"/>
                      </a:cubicBezTo>
                      <a:cubicBezTo>
                        <a:pt x="89" y="3406"/>
                        <a:pt x="85" y="3424"/>
                        <a:pt x="82" y="3443"/>
                      </a:cubicBezTo>
                      <a:cubicBezTo>
                        <a:pt x="-142" y="4562"/>
                        <a:pt x="98" y="5704"/>
                        <a:pt x="759" y="6656"/>
                      </a:cubicBezTo>
                      <a:lnTo>
                        <a:pt x="8989" y="18548"/>
                      </a:lnTo>
                      <a:cubicBezTo>
                        <a:pt x="9921" y="19894"/>
                        <a:pt x="11346" y="20812"/>
                        <a:pt x="13001" y="21135"/>
                      </a:cubicBezTo>
                      <a:cubicBezTo>
                        <a:pt x="14655" y="21457"/>
                        <a:pt x="16342" y="21143"/>
                        <a:pt x="17751" y="20253"/>
                      </a:cubicBezTo>
                      <a:cubicBezTo>
                        <a:pt x="20659" y="18415"/>
                        <a:pt x="21458" y="14659"/>
                        <a:pt x="19535" y="11880"/>
                      </a:cubicBezTo>
                      <a:lnTo>
                        <a:pt x="12582" y="1836"/>
                      </a:lnTo>
                      <a:cubicBezTo>
                        <a:pt x="12300" y="1428"/>
                        <a:pt x="11727" y="1316"/>
                        <a:pt x="11299" y="1586"/>
                      </a:cubicBezTo>
                      <a:cubicBezTo>
                        <a:pt x="10873" y="1856"/>
                        <a:pt x="10756" y="2404"/>
                        <a:pt x="11038" y="2812"/>
                      </a:cubicBezTo>
                      <a:lnTo>
                        <a:pt x="17991" y="12857"/>
                      </a:lnTo>
                      <a:cubicBezTo>
                        <a:pt x="19351" y="14821"/>
                        <a:pt x="18785" y="17478"/>
                        <a:pt x="16728" y="18777"/>
                      </a:cubicBezTo>
                      <a:cubicBezTo>
                        <a:pt x="15732" y="19407"/>
                        <a:pt x="14539" y="19629"/>
                        <a:pt x="13370" y="19400"/>
                      </a:cubicBezTo>
                      <a:cubicBezTo>
                        <a:pt x="12200" y="19173"/>
                        <a:pt x="11192" y="18523"/>
                        <a:pt x="10534" y="17571"/>
                      </a:cubicBezTo>
                      <a:lnTo>
                        <a:pt x="2303" y="5681"/>
                      </a:lnTo>
                      <a:cubicBezTo>
                        <a:pt x="1911" y="5114"/>
                        <a:pt x="1768" y="4437"/>
                        <a:pt x="1900" y="3773"/>
                      </a:cubicBezTo>
                      <a:cubicBezTo>
                        <a:pt x="2031" y="3115"/>
                        <a:pt x="2423" y="2548"/>
                        <a:pt x="3001" y="2183"/>
                      </a:cubicBezTo>
                      <a:cubicBezTo>
                        <a:pt x="3586" y="1813"/>
                        <a:pt x="4293" y="1686"/>
                        <a:pt x="4996" y="1824"/>
                      </a:cubicBezTo>
                      <a:cubicBezTo>
                        <a:pt x="5698" y="1962"/>
                        <a:pt x="6299" y="2348"/>
                        <a:pt x="6686" y="2909"/>
                      </a:cubicBezTo>
                      <a:lnTo>
                        <a:pt x="14199" y="13762"/>
                      </a:lnTo>
                      <a:cubicBezTo>
                        <a:pt x="14311" y="13924"/>
                        <a:pt x="14350" y="14118"/>
                        <a:pt x="14309" y="14307"/>
                      </a:cubicBezTo>
                      <a:cubicBezTo>
                        <a:pt x="14268" y="14497"/>
                        <a:pt x="14153" y="14661"/>
                        <a:pt x="13985" y="14767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9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212" name="îŝľíḓé">
                  <a:extLst>
                    <a:ext uri="{FF2B5EF4-FFF2-40B4-BE49-F238E27FC236}">
                      <a16:creationId xmlns:a16="http://schemas.microsoft.com/office/drawing/2014/main" id="{2E18B36A-353B-411B-960A-6880FE712F8D}"/>
                    </a:ext>
                  </a:extLst>
                </p:cNvPr>
                <p:cNvSpPr/>
                <p:nvPr/>
              </p:nvSpPr>
              <p:spPr>
                <a:xfrm flipH="1">
                  <a:off x="998945" y="2171700"/>
                  <a:ext cx="297855" cy="35659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2649" y="0"/>
                      </a:moveTo>
                      <a:lnTo>
                        <a:pt x="14419" y="4856"/>
                      </a:lnTo>
                      <a:lnTo>
                        <a:pt x="14419" y="8150"/>
                      </a:lnTo>
                      <a:lnTo>
                        <a:pt x="15873" y="8150"/>
                      </a:lnTo>
                      <a:lnTo>
                        <a:pt x="15873" y="4856"/>
                      </a:lnTo>
                      <a:cubicBezTo>
                        <a:pt x="16009" y="4256"/>
                        <a:pt x="16309" y="3391"/>
                        <a:pt x="16765" y="2272"/>
                      </a:cubicBezTo>
                      <a:cubicBezTo>
                        <a:pt x="17126" y="1435"/>
                        <a:pt x="17443" y="683"/>
                        <a:pt x="17715" y="0"/>
                      </a:cubicBezTo>
                      <a:lnTo>
                        <a:pt x="16160" y="0"/>
                      </a:lnTo>
                      <a:lnTo>
                        <a:pt x="15139" y="3197"/>
                      </a:lnTo>
                      <a:lnTo>
                        <a:pt x="14146" y="0"/>
                      </a:lnTo>
                      <a:lnTo>
                        <a:pt x="12649" y="0"/>
                      </a:lnTo>
                      <a:close/>
                      <a:moveTo>
                        <a:pt x="11009" y="1803"/>
                      </a:moveTo>
                      <a:cubicBezTo>
                        <a:pt x="10339" y="1803"/>
                        <a:pt x="9829" y="2013"/>
                        <a:pt x="9469" y="2428"/>
                      </a:cubicBezTo>
                      <a:cubicBezTo>
                        <a:pt x="9198" y="2727"/>
                        <a:pt x="9066" y="3196"/>
                        <a:pt x="9066" y="3846"/>
                      </a:cubicBezTo>
                      <a:lnTo>
                        <a:pt x="9066" y="5974"/>
                      </a:lnTo>
                      <a:cubicBezTo>
                        <a:pt x="9066" y="6630"/>
                        <a:pt x="9198" y="7116"/>
                        <a:pt x="9469" y="7416"/>
                      </a:cubicBezTo>
                      <a:cubicBezTo>
                        <a:pt x="9829" y="7829"/>
                        <a:pt x="10339" y="8041"/>
                        <a:pt x="11009" y="8041"/>
                      </a:cubicBezTo>
                      <a:cubicBezTo>
                        <a:pt x="11659" y="8041"/>
                        <a:pt x="12179" y="7829"/>
                        <a:pt x="12548" y="7416"/>
                      </a:cubicBezTo>
                      <a:cubicBezTo>
                        <a:pt x="12821" y="7108"/>
                        <a:pt x="12951" y="6624"/>
                        <a:pt x="12951" y="5974"/>
                      </a:cubicBezTo>
                      <a:lnTo>
                        <a:pt x="12951" y="3846"/>
                      </a:lnTo>
                      <a:cubicBezTo>
                        <a:pt x="12951" y="3196"/>
                        <a:pt x="12821" y="2728"/>
                        <a:pt x="12548" y="2428"/>
                      </a:cubicBezTo>
                      <a:cubicBezTo>
                        <a:pt x="12180" y="2013"/>
                        <a:pt x="11660" y="1803"/>
                        <a:pt x="11009" y="1803"/>
                      </a:cubicBezTo>
                      <a:close/>
                      <a:moveTo>
                        <a:pt x="3957" y="2164"/>
                      </a:moveTo>
                      <a:lnTo>
                        <a:pt x="3957" y="8234"/>
                      </a:lnTo>
                      <a:lnTo>
                        <a:pt x="5281" y="8234"/>
                      </a:lnTo>
                      <a:lnTo>
                        <a:pt x="5281" y="7573"/>
                      </a:lnTo>
                      <a:cubicBezTo>
                        <a:pt x="5797" y="8075"/>
                        <a:pt x="6294" y="8318"/>
                        <a:pt x="6778" y="8318"/>
                      </a:cubicBezTo>
                      <a:cubicBezTo>
                        <a:pt x="7224" y="8318"/>
                        <a:pt x="7515" y="8174"/>
                        <a:pt x="7641" y="7873"/>
                      </a:cubicBezTo>
                      <a:cubicBezTo>
                        <a:pt x="7720" y="7678"/>
                        <a:pt x="7756" y="7374"/>
                        <a:pt x="7756" y="6960"/>
                      </a:cubicBezTo>
                      <a:lnTo>
                        <a:pt x="7756" y="2164"/>
                      </a:lnTo>
                      <a:lnTo>
                        <a:pt x="6433" y="2164"/>
                      </a:lnTo>
                      <a:lnTo>
                        <a:pt x="6433" y="6635"/>
                      </a:lnTo>
                      <a:cubicBezTo>
                        <a:pt x="6432" y="6902"/>
                        <a:pt x="6427" y="7039"/>
                        <a:pt x="6418" y="7056"/>
                      </a:cubicBezTo>
                      <a:cubicBezTo>
                        <a:pt x="6388" y="7233"/>
                        <a:pt x="6291" y="7320"/>
                        <a:pt x="6116" y="7320"/>
                      </a:cubicBezTo>
                      <a:cubicBezTo>
                        <a:pt x="5854" y="7320"/>
                        <a:pt x="5573" y="7154"/>
                        <a:pt x="5281" y="6803"/>
                      </a:cubicBezTo>
                      <a:lnTo>
                        <a:pt x="5281" y="2164"/>
                      </a:lnTo>
                      <a:lnTo>
                        <a:pt x="3957" y="2164"/>
                      </a:lnTo>
                      <a:close/>
                      <a:moveTo>
                        <a:pt x="11009" y="2789"/>
                      </a:moveTo>
                      <a:cubicBezTo>
                        <a:pt x="11427" y="2789"/>
                        <a:pt x="11642" y="3072"/>
                        <a:pt x="11642" y="3630"/>
                      </a:cubicBezTo>
                      <a:lnTo>
                        <a:pt x="11642" y="6190"/>
                      </a:lnTo>
                      <a:cubicBezTo>
                        <a:pt x="11642" y="6760"/>
                        <a:pt x="11427" y="7032"/>
                        <a:pt x="11009" y="7032"/>
                      </a:cubicBezTo>
                      <a:cubicBezTo>
                        <a:pt x="10593" y="7032"/>
                        <a:pt x="10390" y="6760"/>
                        <a:pt x="10390" y="6190"/>
                      </a:cubicBezTo>
                      <a:cubicBezTo>
                        <a:pt x="10390" y="6190"/>
                        <a:pt x="10390" y="3630"/>
                        <a:pt x="10390" y="3630"/>
                      </a:cubicBezTo>
                      <a:cubicBezTo>
                        <a:pt x="10390" y="3072"/>
                        <a:pt x="10593" y="2789"/>
                        <a:pt x="11009" y="2789"/>
                      </a:cubicBezTo>
                      <a:close/>
                      <a:moveTo>
                        <a:pt x="10807" y="9039"/>
                      </a:moveTo>
                      <a:cubicBezTo>
                        <a:pt x="7204" y="9039"/>
                        <a:pt x="4509" y="9117"/>
                        <a:pt x="2720" y="9279"/>
                      </a:cubicBezTo>
                      <a:cubicBezTo>
                        <a:pt x="2157" y="9335"/>
                        <a:pt x="1655" y="9519"/>
                        <a:pt x="1223" y="9844"/>
                      </a:cubicBezTo>
                      <a:cubicBezTo>
                        <a:pt x="790" y="10169"/>
                        <a:pt x="515" y="10581"/>
                        <a:pt x="389" y="11058"/>
                      </a:cubicBezTo>
                      <a:cubicBezTo>
                        <a:pt x="135" y="11968"/>
                        <a:pt x="0" y="13381"/>
                        <a:pt x="0" y="15314"/>
                      </a:cubicBezTo>
                      <a:cubicBezTo>
                        <a:pt x="0" y="17213"/>
                        <a:pt x="135" y="18640"/>
                        <a:pt x="389" y="19581"/>
                      </a:cubicBezTo>
                      <a:cubicBezTo>
                        <a:pt x="524" y="20061"/>
                        <a:pt x="795" y="20458"/>
                        <a:pt x="1223" y="20783"/>
                      </a:cubicBezTo>
                      <a:cubicBezTo>
                        <a:pt x="1651" y="21107"/>
                        <a:pt x="2157" y="21299"/>
                        <a:pt x="2720" y="21348"/>
                      </a:cubicBezTo>
                      <a:cubicBezTo>
                        <a:pt x="4509" y="21518"/>
                        <a:pt x="7204" y="21600"/>
                        <a:pt x="10807" y="21600"/>
                      </a:cubicBezTo>
                      <a:cubicBezTo>
                        <a:pt x="14413" y="21600"/>
                        <a:pt x="17106" y="21518"/>
                        <a:pt x="18895" y="21348"/>
                      </a:cubicBezTo>
                      <a:cubicBezTo>
                        <a:pt x="19458" y="21299"/>
                        <a:pt x="19960" y="21107"/>
                        <a:pt x="20391" y="20783"/>
                      </a:cubicBezTo>
                      <a:cubicBezTo>
                        <a:pt x="20824" y="20458"/>
                        <a:pt x="21100" y="20061"/>
                        <a:pt x="21226" y="19581"/>
                      </a:cubicBezTo>
                      <a:cubicBezTo>
                        <a:pt x="21478" y="18672"/>
                        <a:pt x="21600" y="17245"/>
                        <a:pt x="21600" y="15314"/>
                      </a:cubicBezTo>
                      <a:cubicBezTo>
                        <a:pt x="21600" y="13415"/>
                        <a:pt x="21478" y="12002"/>
                        <a:pt x="21226" y="11058"/>
                      </a:cubicBezTo>
                      <a:cubicBezTo>
                        <a:pt x="21089" y="10581"/>
                        <a:pt x="20805" y="10169"/>
                        <a:pt x="20377" y="9844"/>
                      </a:cubicBezTo>
                      <a:cubicBezTo>
                        <a:pt x="19950" y="9519"/>
                        <a:pt x="19453" y="9335"/>
                        <a:pt x="18880" y="9279"/>
                      </a:cubicBezTo>
                      <a:cubicBezTo>
                        <a:pt x="17103" y="9117"/>
                        <a:pt x="14412" y="9039"/>
                        <a:pt x="10807" y="9039"/>
                      </a:cubicBezTo>
                      <a:close/>
                      <a:moveTo>
                        <a:pt x="9066" y="11143"/>
                      </a:moveTo>
                      <a:lnTo>
                        <a:pt x="10375" y="11143"/>
                      </a:lnTo>
                      <a:lnTo>
                        <a:pt x="10375" y="19208"/>
                      </a:lnTo>
                      <a:lnTo>
                        <a:pt x="9066" y="19208"/>
                      </a:lnTo>
                      <a:lnTo>
                        <a:pt x="9066" y="18631"/>
                      </a:lnTo>
                      <a:cubicBezTo>
                        <a:pt x="8628" y="19078"/>
                        <a:pt x="8180" y="19292"/>
                        <a:pt x="7713" y="19292"/>
                      </a:cubicBezTo>
                      <a:cubicBezTo>
                        <a:pt x="7189" y="19292"/>
                        <a:pt x="6842" y="19078"/>
                        <a:pt x="6677" y="18631"/>
                      </a:cubicBezTo>
                      <a:cubicBezTo>
                        <a:pt x="6588" y="18413"/>
                        <a:pt x="6548" y="17997"/>
                        <a:pt x="6548" y="17405"/>
                      </a:cubicBezTo>
                      <a:cubicBezTo>
                        <a:pt x="6548" y="17405"/>
                        <a:pt x="6548" y="15013"/>
                        <a:pt x="6548" y="15013"/>
                      </a:cubicBezTo>
                      <a:cubicBezTo>
                        <a:pt x="6548" y="14419"/>
                        <a:pt x="6588" y="14021"/>
                        <a:pt x="6677" y="13811"/>
                      </a:cubicBezTo>
                      <a:cubicBezTo>
                        <a:pt x="6842" y="13356"/>
                        <a:pt x="7189" y="13126"/>
                        <a:pt x="7713" y="13126"/>
                      </a:cubicBezTo>
                      <a:cubicBezTo>
                        <a:pt x="8200" y="13126"/>
                        <a:pt x="8649" y="13350"/>
                        <a:pt x="9066" y="13787"/>
                      </a:cubicBezTo>
                      <a:lnTo>
                        <a:pt x="9066" y="11143"/>
                      </a:lnTo>
                      <a:close/>
                      <a:moveTo>
                        <a:pt x="15441" y="11143"/>
                      </a:moveTo>
                      <a:lnTo>
                        <a:pt x="19988" y="11143"/>
                      </a:lnTo>
                      <a:lnTo>
                        <a:pt x="19988" y="12284"/>
                      </a:lnTo>
                      <a:lnTo>
                        <a:pt x="18463" y="12284"/>
                      </a:lnTo>
                      <a:lnTo>
                        <a:pt x="18463" y="19208"/>
                      </a:lnTo>
                      <a:lnTo>
                        <a:pt x="16995" y="19208"/>
                      </a:lnTo>
                      <a:lnTo>
                        <a:pt x="16995" y="12284"/>
                      </a:lnTo>
                      <a:lnTo>
                        <a:pt x="15441" y="12284"/>
                      </a:lnTo>
                      <a:cubicBezTo>
                        <a:pt x="15441" y="12284"/>
                        <a:pt x="15441" y="11143"/>
                        <a:pt x="15441" y="11143"/>
                      </a:cubicBezTo>
                      <a:close/>
                      <a:moveTo>
                        <a:pt x="3569" y="13126"/>
                      </a:moveTo>
                      <a:cubicBezTo>
                        <a:pt x="4230" y="13126"/>
                        <a:pt x="4743" y="13337"/>
                        <a:pt x="5123" y="13751"/>
                      </a:cubicBezTo>
                      <a:cubicBezTo>
                        <a:pt x="5394" y="14050"/>
                        <a:pt x="5526" y="14517"/>
                        <a:pt x="5526" y="15157"/>
                      </a:cubicBezTo>
                      <a:lnTo>
                        <a:pt x="5526" y="17261"/>
                      </a:lnTo>
                      <a:cubicBezTo>
                        <a:pt x="5526" y="17903"/>
                        <a:pt x="5391" y="18380"/>
                        <a:pt x="5109" y="18679"/>
                      </a:cubicBezTo>
                      <a:cubicBezTo>
                        <a:pt x="4729" y="19094"/>
                        <a:pt x="4211" y="19292"/>
                        <a:pt x="3540" y="19292"/>
                      </a:cubicBezTo>
                      <a:cubicBezTo>
                        <a:pt x="2840" y="19292"/>
                        <a:pt x="2308" y="19084"/>
                        <a:pt x="1957" y="18655"/>
                      </a:cubicBezTo>
                      <a:cubicBezTo>
                        <a:pt x="1782" y="18436"/>
                        <a:pt x="1684" y="18212"/>
                        <a:pt x="1655" y="17994"/>
                      </a:cubicBezTo>
                      <a:cubicBezTo>
                        <a:pt x="1635" y="17920"/>
                        <a:pt x="1626" y="17683"/>
                        <a:pt x="1626" y="17285"/>
                      </a:cubicBezTo>
                      <a:lnTo>
                        <a:pt x="1626" y="17129"/>
                      </a:lnTo>
                      <a:lnTo>
                        <a:pt x="2950" y="17129"/>
                      </a:lnTo>
                      <a:cubicBezTo>
                        <a:pt x="2950" y="17543"/>
                        <a:pt x="2959" y="17793"/>
                        <a:pt x="2979" y="17874"/>
                      </a:cubicBezTo>
                      <a:cubicBezTo>
                        <a:pt x="3047" y="18166"/>
                        <a:pt x="3248" y="18307"/>
                        <a:pt x="3569" y="18307"/>
                      </a:cubicBezTo>
                      <a:cubicBezTo>
                        <a:pt x="4015" y="18307"/>
                        <a:pt x="4231" y="18026"/>
                        <a:pt x="4231" y="17465"/>
                      </a:cubicBezTo>
                      <a:lnTo>
                        <a:pt x="4231" y="16407"/>
                      </a:lnTo>
                      <a:lnTo>
                        <a:pt x="1626" y="16407"/>
                      </a:lnTo>
                      <a:cubicBezTo>
                        <a:pt x="1626" y="16407"/>
                        <a:pt x="1626" y="15157"/>
                        <a:pt x="1626" y="15157"/>
                      </a:cubicBezTo>
                      <a:cubicBezTo>
                        <a:pt x="1626" y="14517"/>
                        <a:pt x="1754" y="14050"/>
                        <a:pt x="2015" y="13751"/>
                      </a:cubicBezTo>
                      <a:cubicBezTo>
                        <a:pt x="2394" y="13337"/>
                        <a:pt x="2918" y="13126"/>
                        <a:pt x="3569" y="13126"/>
                      </a:cubicBezTo>
                      <a:close/>
                      <a:moveTo>
                        <a:pt x="11498" y="13198"/>
                      </a:moveTo>
                      <a:lnTo>
                        <a:pt x="12807" y="13198"/>
                      </a:lnTo>
                      <a:lnTo>
                        <a:pt x="12807" y="17802"/>
                      </a:lnTo>
                      <a:cubicBezTo>
                        <a:pt x="13100" y="18142"/>
                        <a:pt x="13366" y="18307"/>
                        <a:pt x="13628" y="18307"/>
                      </a:cubicBezTo>
                      <a:cubicBezTo>
                        <a:pt x="13803" y="18307"/>
                        <a:pt x="13914" y="18225"/>
                        <a:pt x="13944" y="18054"/>
                      </a:cubicBezTo>
                      <a:cubicBezTo>
                        <a:pt x="13954" y="18031"/>
                        <a:pt x="13959" y="17893"/>
                        <a:pt x="13959" y="17633"/>
                      </a:cubicBezTo>
                      <a:lnTo>
                        <a:pt x="13959" y="13198"/>
                      </a:lnTo>
                      <a:lnTo>
                        <a:pt x="15254" y="13198"/>
                      </a:lnTo>
                      <a:lnTo>
                        <a:pt x="15254" y="17958"/>
                      </a:lnTo>
                      <a:cubicBezTo>
                        <a:pt x="15254" y="18356"/>
                        <a:pt x="15216" y="18652"/>
                        <a:pt x="15139" y="18847"/>
                      </a:cubicBezTo>
                      <a:cubicBezTo>
                        <a:pt x="15022" y="19147"/>
                        <a:pt x="14737" y="19292"/>
                        <a:pt x="14290" y="19292"/>
                      </a:cubicBezTo>
                      <a:cubicBezTo>
                        <a:pt x="13823" y="19292"/>
                        <a:pt x="13333" y="19053"/>
                        <a:pt x="12807" y="18559"/>
                      </a:cubicBezTo>
                      <a:lnTo>
                        <a:pt x="12807" y="19208"/>
                      </a:lnTo>
                      <a:lnTo>
                        <a:pt x="11498" y="19208"/>
                      </a:lnTo>
                      <a:cubicBezTo>
                        <a:pt x="11498" y="19208"/>
                        <a:pt x="11498" y="13198"/>
                        <a:pt x="11498" y="13198"/>
                      </a:cubicBezTo>
                      <a:close/>
                      <a:moveTo>
                        <a:pt x="3209" y="14099"/>
                      </a:moveTo>
                      <a:cubicBezTo>
                        <a:pt x="2772" y="14100"/>
                        <a:pt x="2547" y="14366"/>
                        <a:pt x="2547" y="14917"/>
                      </a:cubicBezTo>
                      <a:lnTo>
                        <a:pt x="2547" y="15482"/>
                      </a:lnTo>
                      <a:lnTo>
                        <a:pt x="3857" y="15482"/>
                      </a:lnTo>
                      <a:lnTo>
                        <a:pt x="3857" y="14917"/>
                      </a:lnTo>
                      <a:cubicBezTo>
                        <a:pt x="3857" y="14365"/>
                        <a:pt x="3647" y="14099"/>
                        <a:pt x="3209" y="14099"/>
                      </a:cubicBezTo>
                      <a:close/>
                      <a:moveTo>
                        <a:pt x="8404" y="14099"/>
                      </a:moveTo>
                      <a:cubicBezTo>
                        <a:pt x="8024" y="14099"/>
                        <a:pt x="7828" y="14361"/>
                        <a:pt x="7828" y="14905"/>
                      </a:cubicBezTo>
                      <a:lnTo>
                        <a:pt x="7828" y="17477"/>
                      </a:lnTo>
                      <a:cubicBezTo>
                        <a:pt x="7828" y="18021"/>
                        <a:pt x="8024" y="18294"/>
                        <a:pt x="8404" y="18294"/>
                      </a:cubicBezTo>
                      <a:cubicBezTo>
                        <a:pt x="8627" y="18294"/>
                        <a:pt x="8839" y="18209"/>
                        <a:pt x="9052" y="18030"/>
                      </a:cubicBezTo>
                      <a:lnTo>
                        <a:pt x="9052" y="14364"/>
                      </a:lnTo>
                      <a:cubicBezTo>
                        <a:pt x="8839" y="14185"/>
                        <a:pt x="8627" y="14099"/>
                        <a:pt x="8404" y="14099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70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213" name="iSlîďe">
                  <a:extLst>
                    <a:ext uri="{FF2B5EF4-FFF2-40B4-BE49-F238E27FC236}">
                      <a16:creationId xmlns:a16="http://schemas.microsoft.com/office/drawing/2014/main" id="{68734447-D947-4BD9-BCF6-958E4F604C45}"/>
                    </a:ext>
                  </a:extLst>
                </p:cNvPr>
                <p:cNvSpPr/>
                <p:nvPr/>
              </p:nvSpPr>
              <p:spPr>
                <a:xfrm flipH="1">
                  <a:off x="1466750" y="2046298"/>
                  <a:ext cx="510504" cy="28388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4828" y="8668"/>
                      </a:moveTo>
                      <a:lnTo>
                        <a:pt x="11344" y="8668"/>
                      </a:lnTo>
                      <a:lnTo>
                        <a:pt x="11344" y="3717"/>
                      </a:lnTo>
                      <a:lnTo>
                        <a:pt x="14828" y="3717"/>
                      </a:lnTo>
                      <a:cubicBezTo>
                        <a:pt x="14828" y="3717"/>
                        <a:pt x="14828" y="8668"/>
                        <a:pt x="14828" y="8668"/>
                      </a:cubicBezTo>
                      <a:close/>
                      <a:moveTo>
                        <a:pt x="10356" y="8668"/>
                      </a:moveTo>
                      <a:lnTo>
                        <a:pt x="6871" y="8668"/>
                      </a:lnTo>
                      <a:lnTo>
                        <a:pt x="6871" y="3717"/>
                      </a:lnTo>
                      <a:lnTo>
                        <a:pt x="10356" y="3717"/>
                      </a:lnTo>
                      <a:cubicBezTo>
                        <a:pt x="10356" y="3717"/>
                        <a:pt x="10356" y="8668"/>
                        <a:pt x="10356" y="8668"/>
                      </a:cubicBezTo>
                      <a:close/>
                      <a:moveTo>
                        <a:pt x="5885" y="8668"/>
                      </a:moveTo>
                      <a:lnTo>
                        <a:pt x="3551" y="8668"/>
                      </a:lnTo>
                      <a:lnTo>
                        <a:pt x="3551" y="3717"/>
                      </a:lnTo>
                      <a:lnTo>
                        <a:pt x="5885" y="3717"/>
                      </a:lnTo>
                      <a:cubicBezTo>
                        <a:pt x="5885" y="3717"/>
                        <a:pt x="5885" y="8668"/>
                        <a:pt x="5885" y="8668"/>
                      </a:cubicBezTo>
                      <a:close/>
                      <a:moveTo>
                        <a:pt x="4028" y="19826"/>
                      </a:moveTo>
                      <a:cubicBezTo>
                        <a:pt x="3530" y="19826"/>
                        <a:pt x="3124" y="19097"/>
                        <a:pt x="3124" y="18199"/>
                      </a:cubicBezTo>
                      <a:cubicBezTo>
                        <a:pt x="3124" y="17304"/>
                        <a:pt x="3530" y="16574"/>
                        <a:pt x="4028" y="16574"/>
                      </a:cubicBezTo>
                      <a:cubicBezTo>
                        <a:pt x="4526" y="16574"/>
                        <a:pt x="4932" y="17304"/>
                        <a:pt x="4932" y="18199"/>
                      </a:cubicBezTo>
                      <a:cubicBezTo>
                        <a:pt x="4932" y="19097"/>
                        <a:pt x="4526" y="19826"/>
                        <a:pt x="4028" y="19826"/>
                      </a:cubicBezTo>
                      <a:close/>
                      <a:moveTo>
                        <a:pt x="2565" y="8668"/>
                      </a:moveTo>
                      <a:lnTo>
                        <a:pt x="1693" y="8668"/>
                      </a:lnTo>
                      <a:lnTo>
                        <a:pt x="2233" y="3717"/>
                      </a:lnTo>
                      <a:lnTo>
                        <a:pt x="2565" y="3717"/>
                      </a:lnTo>
                      <a:cubicBezTo>
                        <a:pt x="2565" y="3717"/>
                        <a:pt x="2565" y="8668"/>
                        <a:pt x="2565" y="8668"/>
                      </a:cubicBezTo>
                      <a:close/>
                      <a:moveTo>
                        <a:pt x="16718" y="16574"/>
                      </a:moveTo>
                      <a:cubicBezTo>
                        <a:pt x="17217" y="16574"/>
                        <a:pt x="17623" y="17304"/>
                        <a:pt x="17623" y="18199"/>
                      </a:cubicBezTo>
                      <a:cubicBezTo>
                        <a:pt x="17623" y="19097"/>
                        <a:pt x="17217" y="19826"/>
                        <a:pt x="16718" y="19826"/>
                      </a:cubicBezTo>
                      <a:cubicBezTo>
                        <a:pt x="16219" y="19826"/>
                        <a:pt x="15814" y="19097"/>
                        <a:pt x="15814" y="18199"/>
                      </a:cubicBezTo>
                      <a:cubicBezTo>
                        <a:pt x="15814" y="17304"/>
                        <a:pt x="16219" y="16574"/>
                        <a:pt x="16718" y="16574"/>
                      </a:cubicBezTo>
                      <a:close/>
                      <a:moveTo>
                        <a:pt x="15814" y="3717"/>
                      </a:moveTo>
                      <a:lnTo>
                        <a:pt x="17058" y="3717"/>
                      </a:lnTo>
                      <a:cubicBezTo>
                        <a:pt x="17779" y="3717"/>
                        <a:pt x="18401" y="4598"/>
                        <a:pt x="18567" y="5862"/>
                      </a:cubicBezTo>
                      <a:lnTo>
                        <a:pt x="18938" y="8668"/>
                      </a:lnTo>
                      <a:lnTo>
                        <a:pt x="15814" y="8668"/>
                      </a:lnTo>
                      <a:cubicBezTo>
                        <a:pt x="15814" y="8668"/>
                        <a:pt x="15814" y="3717"/>
                        <a:pt x="15814" y="3717"/>
                      </a:cubicBezTo>
                      <a:close/>
                      <a:moveTo>
                        <a:pt x="16718" y="21600"/>
                      </a:moveTo>
                      <a:cubicBezTo>
                        <a:pt x="17589" y="21600"/>
                        <a:pt x="18323" y="20532"/>
                        <a:pt x="18541" y="19087"/>
                      </a:cubicBezTo>
                      <a:lnTo>
                        <a:pt x="21107" y="19087"/>
                      </a:lnTo>
                      <a:cubicBezTo>
                        <a:pt x="21380" y="19087"/>
                        <a:pt x="21600" y="18690"/>
                        <a:pt x="21600" y="18199"/>
                      </a:cubicBezTo>
                      <a:lnTo>
                        <a:pt x="21600" y="16357"/>
                      </a:lnTo>
                      <a:cubicBezTo>
                        <a:pt x="21600" y="15866"/>
                        <a:pt x="21380" y="15471"/>
                        <a:pt x="21107" y="15471"/>
                      </a:cubicBezTo>
                      <a:lnTo>
                        <a:pt x="21099" y="15471"/>
                      </a:lnTo>
                      <a:lnTo>
                        <a:pt x="21099" y="3649"/>
                      </a:lnTo>
                      <a:cubicBezTo>
                        <a:pt x="21099" y="1636"/>
                        <a:pt x="20188" y="0"/>
                        <a:pt x="19070" y="0"/>
                      </a:cubicBezTo>
                      <a:lnTo>
                        <a:pt x="1938" y="0"/>
                      </a:lnTo>
                      <a:cubicBezTo>
                        <a:pt x="1201" y="0"/>
                        <a:pt x="600" y="1079"/>
                        <a:pt x="600" y="2407"/>
                      </a:cubicBezTo>
                      <a:lnTo>
                        <a:pt x="600" y="2829"/>
                      </a:lnTo>
                      <a:cubicBezTo>
                        <a:pt x="600" y="3318"/>
                        <a:pt x="821" y="3717"/>
                        <a:pt x="1093" y="3717"/>
                      </a:cubicBezTo>
                      <a:lnTo>
                        <a:pt x="1228" y="3717"/>
                      </a:lnTo>
                      <a:lnTo>
                        <a:pt x="611" y="9376"/>
                      </a:lnTo>
                      <a:lnTo>
                        <a:pt x="611" y="9377"/>
                      </a:lnTo>
                      <a:lnTo>
                        <a:pt x="609" y="9385"/>
                      </a:lnTo>
                      <a:cubicBezTo>
                        <a:pt x="607" y="9412"/>
                        <a:pt x="607" y="9441"/>
                        <a:pt x="604" y="9469"/>
                      </a:cubicBezTo>
                      <a:cubicBezTo>
                        <a:pt x="603" y="9499"/>
                        <a:pt x="600" y="9526"/>
                        <a:pt x="600" y="9555"/>
                      </a:cubicBezTo>
                      <a:lnTo>
                        <a:pt x="600" y="15471"/>
                      </a:lnTo>
                      <a:lnTo>
                        <a:pt x="493" y="15471"/>
                      </a:lnTo>
                      <a:cubicBezTo>
                        <a:pt x="221" y="15471"/>
                        <a:pt x="0" y="15866"/>
                        <a:pt x="0" y="16357"/>
                      </a:cubicBezTo>
                      <a:lnTo>
                        <a:pt x="0" y="18199"/>
                      </a:lnTo>
                      <a:cubicBezTo>
                        <a:pt x="0" y="18690"/>
                        <a:pt x="221" y="19087"/>
                        <a:pt x="493" y="19087"/>
                      </a:cubicBezTo>
                      <a:lnTo>
                        <a:pt x="2205" y="19087"/>
                      </a:lnTo>
                      <a:cubicBezTo>
                        <a:pt x="2422" y="20532"/>
                        <a:pt x="3156" y="21600"/>
                        <a:pt x="4028" y="21600"/>
                      </a:cubicBezTo>
                      <a:cubicBezTo>
                        <a:pt x="4899" y="21600"/>
                        <a:pt x="5633" y="20532"/>
                        <a:pt x="5850" y="19087"/>
                      </a:cubicBezTo>
                      <a:lnTo>
                        <a:pt x="14895" y="19087"/>
                      </a:lnTo>
                      <a:cubicBezTo>
                        <a:pt x="15113" y="20532"/>
                        <a:pt x="15846" y="21600"/>
                        <a:pt x="16718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47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214" name="ïṧḻïďé">
                  <a:extLst>
                    <a:ext uri="{FF2B5EF4-FFF2-40B4-BE49-F238E27FC236}">
                      <a16:creationId xmlns:a16="http://schemas.microsoft.com/office/drawing/2014/main" id="{CB22C077-CE22-4AAB-A4BA-079BF2223537}"/>
                    </a:ext>
                  </a:extLst>
                </p:cNvPr>
                <p:cNvSpPr/>
                <p:nvPr/>
              </p:nvSpPr>
              <p:spPr>
                <a:xfrm flipH="1">
                  <a:off x="1274909" y="3192166"/>
                  <a:ext cx="320388" cy="35436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441" h="21600" extrusionOk="0">
                      <a:moveTo>
                        <a:pt x="8493" y="20056"/>
                      </a:moveTo>
                      <a:cubicBezTo>
                        <a:pt x="4745" y="20056"/>
                        <a:pt x="1696" y="17278"/>
                        <a:pt x="1696" y="13865"/>
                      </a:cubicBezTo>
                      <a:cubicBezTo>
                        <a:pt x="1696" y="10801"/>
                        <a:pt x="4152" y="8251"/>
                        <a:pt x="7362" y="7759"/>
                      </a:cubicBezTo>
                      <a:lnTo>
                        <a:pt x="7362" y="11182"/>
                      </a:lnTo>
                      <a:cubicBezTo>
                        <a:pt x="7362" y="11750"/>
                        <a:pt x="7869" y="12211"/>
                        <a:pt x="8495" y="12211"/>
                      </a:cubicBezTo>
                      <a:lnTo>
                        <a:pt x="14382" y="12211"/>
                      </a:lnTo>
                      <a:lnTo>
                        <a:pt x="15290" y="13800"/>
                      </a:lnTo>
                      <a:cubicBezTo>
                        <a:pt x="15290" y="13821"/>
                        <a:pt x="15291" y="13843"/>
                        <a:pt x="15291" y="13865"/>
                      </a:cubicBezTo>
                      <a:cubicBezTo>
                        <a:pt x="15291" y="17278"/>
                        <a:pt x="12242" y="20056"/>
                        <a:pt x="8493" y="20056"/>
                      </a:cubicBezTo>
                      <a:close/>
                      <a:moveTo>
                        <a:pt x="19815" y="14406"/>
                      </a:moveTo>
                      <a:lnTo>
                        <a:pt x="18513" y="14984"/>
                      </a:lnTo>
                      <a:lnTo>
                        <a:pt x="16072" y="10706"/>
                      </a:lnTo>
                      <a:cubicBezTo>
                        <a:pt x="15878" y="10366"/>
                        <a:pt x="15492" y="10152"/>
                        <a:pt x="15069" y="10152"/>
                      </a:cubicBezTo>
                      <a:lnTo>
                        <a:pt x="9624" y="10152"/>
                      </a:lnTo>
                      <a:lnTo>
                        <a:pt x="9624" y="7931"/>
                      </a:lnTo>
                      <a:lnTo>
                        <a:pt x="13853" y="7931"/>
                      </a:lnTo>
                      <a:cubicBezTo>
                        <a:pt x="14477" y="7931"/>
                        <a:pt x="14984" y="7469"/>
                        <a:pt x="14984" y="6900"/>
                      </a:cubicBezTo>
                      <a:cubicBezTo>
                        <a:pt x="14984" y="6331"/>
                        <a:pt x="14477" y="5870"/>
                        <a:pt x="13853" y="5870"/>
                      </a:cubicBezTo>
                      <a:lnTo>
                        <a:pt x="9624" y="5870"/>
                      </a:lnTo>
                      <a:lnTo>
                        <a:pt x="9624" y="4458"/>
                      </a:lnTo>
                      <a:cubicBezTo>
                        <a:pt x="9624" y="4376"/>
                        <a:pt x="9612" y="4297"/>
                        <a:pt x="9592" y="4221"/>
                      </a:cubicBezTo>
                      <a:cubicBezTo>
                        <a:pt x="10392" y="3855"/>
                        <a:pt x="10942" y="3101"/>
                        <a:pt x="10942" y="2229"/>
                      </a:cubicBezTo>
                      <a:cubicBezTo>
                        <a:pt x="10942" y="998"/>
                        <a:pt x="9845" y="0"/>
                        <a:pt x="8493" y="0"/>
                      </a:cubicBezTo>
                      <a:cubicBezTo>
                        <a:pt x="7141" y="0"/>
                        <a:pt x="6046" y="998"/>
                        <a:pt x="6046" y="2229"/>
                      </a:cubicBezTo>
                      <a:cubicBezTo>
                        <a:pt x="6046" y="3101"/>
                        <a:pt x="6595" y="3855"/>
                        <a:pt x="7395" y="4221"/>
                      </a:cubicBezTo>
                      <a:cubicBezTo>
                        <a:pt x="7375" y="4297"/>
                        <a:pt x="7362" y="4376"/>
                        <a:pt x="7362" y="4458"/>
                      </a:cubicBezTo>
                      <a:lnTo>
                        <a:pt x="7362" y="6198"/>
                      </a:lnTo>
                      <a:cubicBezTo>
                        <a:pt x="3212" y="6704"/>
                        <a:pt x="0" y="9947"/>
                        <a:pt x="0" y="13863"/>
                      </a:cubicBezTo>
                      <a:cubicBezTo>
                        <a:pt x="0" y="18130"/>
                        <a:pt x="3810" y="21600"/>
                        <a:pt x="8495" y="21600"/>
                      </a:cubicBezTo>
                      <a:cubicBezTo>
                        <a:pt x="12313" y="21600"/>
                        <a:pt x="15551" y="19291"/>
                        <a:pt x="16616" y="16126"/>
                      </a:cubicBezTo>
                      <a:lnTo>
                        <a:pt x="17014" y="16825"/>
                      </a:lnTo>
                      <a:cubicBezTo>
                        <a:pt x="17215" y="17176"/>
                        <a:pt x="17608" y="17380"/>
                        <a:pt x="18018" y="17380"/>
                      </a:cubicBezTo>
                      <a:cubicBezTo>
                        <a:pt x="18184" y="17380"/>
                        <a:pt x="18352" y="17346"/>
                        <a:pt x="18513" y="17275"/>
                      </a:cubicBezTo>
                      <a:lnTo>
                        <a:pt x="20804" y="16259"/>
                      </a:lnTo>
                      <a:cubicBezTo>
                        <a:pt x="21367" y="16009"/>
                        <a:pt x="21600" y="15393"/>
                        <a:pt x="21326" y="14882"/>
                      </a:cubicBezTo>
                      <a:cubicBezTo>
                        <a:pt x="21054" y="14370"/>
                        <a:pt x="20375" y="14157"/>
                        <a:pt x="19815" y="1440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700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215" name="íṩlïḑê">
                  <a:extLst>
                    <a:ext uri="{FF2B5EF4-FFF2-40B4-BE49-F238E27FC236}">
                      <a16:creationId xmlns:a16="http://schemas.microsoft.com/office/drawing/2014/main" id="{3234304C-1C18-4C96-AA85-9FEF73A903FD}"/>
                    </a:ext>
                  </a:extLst>
                </p:cNvPr>
                <p:cNvSpPr/>
                <p:nvPr/>
              </p:nvSpPr>
              <p:spPr>
                <a:xfrm flipH="1">
                  <a:off x="1276867" y="1801607"/>
                  <a:ext cx="127452" cy="31837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19194" h="21600" extrusionOk="0">
                      <a:moveTo>
                        <a:pt x="19194" y="2866"/>
                      </a:moveTo>
                      <a:lnTo>
                        <a:pt x="19194" y="0"/>
                      </a:lnTo>
                      <a:cubicBezTo>
                        <a:pt x="14812" y="441"/>
                        <a:pt x="10637" y="1420"/>
                        <a:pt x="7217" y="2960"/>
                      </a:cubicBezTo>
                      <a:cubicBezTo>
                        <a:pt x="-2406" y="7298"/>
                        <a:pt x="-2406" y="14318"/>
                        <a:pt x="7217" y="18657"/>
                      </a:cubicBezTo>
                      <a:lnTo>
                        <a:pt x="683" y="21600"/>
                      </a:lnTo>
                      <a:lnTo>
                        <a:pt x="18106" y="21600"/>
                      </a:lnTo>
                      <a:lnTo>
                        <a:pt x="18106" y="13751"/>
                      </a:lnTo>
                      <a:lnTo>
                        <a:pt x="11572" y="16694"/>
                      </a:lnTo>
                      <a:cubicBezTo>
                        <a:pt x="4361" y="13447"/>
                        <a:pt x="4361" y="8170"/>
                        <a:pt x="11572" y="4922"/>
                      </a:cubicBezTo>
                      <a:cubicBezTo>
                        <a:pt x="13771" y="3931"/>
                        <a:pt x="16402" y="3234"/>
                        <a:pt x="19194" y="286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216" name="išḻïḑê">
                  <a:extLst>
                    <a:ext uri="{FF2B5EF4-FFF2-40B4-BE49-F238E27FC236}">
                      <a16:creationId xmlns:a16="http://schemas.microsoft.com/office/drawing/2014/main" id="{BC55CA29-5D59-4D7D-825B-F32E961E2B22}"/>
                    </a:ext>
                  </a:extLst>
                </p:cNvPr>
                <p:cNvSpPr/>
                <p:nvPr/>
              </p:nvSpPr>
              <p:spPr>
                <a:xfrm flipH="1">
                  <a:off x="1073945" y="1801607"/>
                  <a:ext cx="127459" cy="31838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19195" h="21600" extrusionOk="0">
                      <a:moveTo>
                        <a:pt x="11977" y="2944"/>
                      </a:moveTo>
                      <a:lnTo>
                        <a:pt x="18511" y="0"/>
                      </a:lnTo>
                      <a:lnTo>
                        <a:pt x="1086" y="0"/>
                      </a:lnTo>
                      <a:lnTo>
                        <a:pt x="1086" y="7849"/>
                      </a:lnTo>
                      <a:lnTo>
                        <a:pt x="7622" y="4905"/>
                      </a:lnTo>
                      <a:cubicBezTo>
                        <a:pt x="14833" y="8152"/>
                        <a:pt x="14833" y="13429"/>
                        <a:pt x="7622" y="16676"/>
                      </a:cubicBezTo>
                      <a:cubicBezTo>
                        <a:pt x="5424" y="17668"/>
                        <a:pt x="2790" y="18366"/>
                        <a:pt x="0" y="18734"/>
                      </a:cubicBezTo>
                      <a:lnTo>
                        <a:pt x="0" y="21600"/>
                      </a:lnTo>
                      <a:cubicBezTo>
                        <a:pt x="4383" y="21158"/>
                        <a:pt x="8557" y="20180"/>
                        <a:pt x="11980" y="18640"/>
                      </a:cubicBezTo>
                      <a:cubicBezTo>
                        <a:pt x="21600" y="14301"/>
                        <a:pt x="21600" y="7281"/>
                        <a:pt x="11977" y="2944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20" name="îsļiḍe">
                <a:extLst>
                  <a:ext uri="{FF2B5EF4-FFF2-40B4-BE49-F238E27FC236}">
                    <a16:creationId xmlns:a16="http://schemas.microsoft.com/office/drawing/2014/main" id="{75D0903F-F609-43C0-B264-FD662BD3A1D3}"/>
                  </a:ext>
                </a:extLst>
              </p:cNvPr>
              <p:cNvGrpSpPr/>
              <p:nvPr/>
            </p:nvGrpSpPr>
            <p:grpSpPr>
              <a:xfrm>
                <a:off x="9860956" y="4959183"/>
                <a:ext cx="470060" cy="1081421"/>
                <a:chOff x="9860956" y="4959183"/>
                <a:chExt cx="470060" cy="1081421"/>
              </a:xfrm>
            </p:grpSpPr>
            <p:sp>
              <p:nvSpPr>
                <p:cNvPr id="27" name="îšḻiḓe">
                  <a:extLst>
                    <a:ext uri="{FF2B5EF4-FFF2-40B4-BE49-F238E27FC236}">
                      <a16:creationId xmlns:a16="http://schemas.microsoft.com/office/drawing/2014/main" id="{1C4522D1-F7CA-4023-8755-BB9BFB8C7EB0}"/>
                    </a:ext>
                  </a:extLst>
                </p:cNvPr>
                <p:cNvSpPr/>
                <p:nvPr/>
              </p:nvSpPr>
              <p:spPr bwMode="auto">
                <a:xfrm>
                  <a:off x="10067735" y="5974971"/>
                  <a:ext cx="63354" cy="65633"/>
                </a:xfrm>
                <a:custGeom>
                  <a:avLst/>
                  <a:gdLst>
                    <a:gd name="T0" fmla="*/ 481 w 614"/>
                    <a:gd name="T1" fmla="*/ 634 h 635"/>
                    <a:gd name="T2" fmla="*/ 481 w 614"/>
                    <a:gd name="T3" fmla="*/ 634 h 635"/>
                    <a:gd name="T4" fmla="*/ 131 w 614"/>
                    <a:gd name="T5" fmla="*/ 634 h 635"/>
                    <a:gd name="T6" fmla="*/ 0 w 614"/>
                    <a:gd name="T7" fmla="*/ 503 h 635"/>
                    <a:gd name="T8" fmla="*/ 0 w 614"/>
                    <a:gd name="T9" fmla="*/ 131 h 635"/>
                    <a:gd name="T10" fmla="*/ 131 w 614"/>
                    <a:gd name="T11" fmla="*/ 0 h 635"/>
                    <a:gd name="T12" fmla="*/ 481 w 614"/>
                    <a:gd name="T13" fmla="*/ 0 h 635"/>
                    <a:gd name="T14" fmla="*/ 613 w 614"/>
                    <a:gd name="T15" fmla="*/ 131 h 635"/>
                    <a:gd name="T16" fmla="*/ 613 w 614"/>
                    <a:gd name="T17" fmla="*/ 503 h 635"/>
                    <a:gd name="T18" fmla="*/ 481 w 614"/>
                    <a:gd name="T19" fmla="*/ 634 h 635"/>
                    <a:gd name="T20" fmla="*/ 131 w 614"/>
                    <a:gd name="T21" fmla="*/ 44 h 635"/>
                    <a:gd name="T22" fmla="*/ 131 w 614"/>
                    <a:gd name="T23" fmla="*/ 44 h 635"/>
                    <a:gd name="T24" fmla="*/ 44 w 614"/>
                    <a:gd name="T25" fmla="*/ 131 h 635"/>
                    <a:gd name="T26" fmla="*/ 44 w 614"/>
                    <a:gd name="T27" fmla="*/ 503 h 635"/>
                    <a:gd name="T28" fmla="*/ 131 w 614"/>
                    <a:gd name="T29" fmla="*/ 568 h 635"/>
                    <a:gd name="T30" fmla="*/ 481 w 614"/>
                    <a:gd name="T31" fmla="*/ 568 h 635"/>
                    <a:gd name="T32" fmla="*/ 547 w 614"/>
                    <a:gd name="T33" fmla="*/ 503 h 635"/>
                    <a:gd name="T34" fmla="*/ 547 w 614"/>
                    <a:gd name="T35" fmla="*/ 131 h 635"/>
                    <a:gd name="T36" fmla="*/ 481 w 614"/>
                    <a:gd name="T37" fmla="*/ 44 h 635"/>
                    <a:gd name="T38" fmla="*/ 131 w 614"/>
                    <a:gd name="T39" fmla="*/ 44 h 6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614" h="635">
                      <a:moveTo>
                        <a:pt x="481" y="634"/>
                      </a:moveTo>
                      <a:lnTo>
                        <a:pt x="481" y="634"/>
                      </a:lnTo>
                      <a:cubicBezTo>
                        <a:pt x="131" y="634"/>
                        <a:pt x="131" y="634"/>
                        <a:pt x="131" y="634"/>
                      </a:cubicBezTo>
                      <a:cubicBezTo>
                        <a:pt x="44" y="634"/>
                        <a:pt x="0" y="568"/>
                        <a:pt x="0" y="503"/>
                      </a:cubicBezTo>
                      <a:cubicBezTo>
                        <a:pt x="0" y="131"/>
                        <a:pt x="0" y="131"/>
                        <a:pt x="0" y="131"/>
                      </a:cubicBezTo>
                      <a:cubicBezTo>
                        <a:pt x="0" y="44"/>
                        <a:pt x="44" y="0"/>
                        <a:pt x="131" y="0"/>
                      </a:cubicBezTo>
                      <a:cubicBezTo>
                        <a:pt x="481" y="0"/>
                        <a:pt x="481" y="0"/>
                        <a:pt x="481" y="0"/>
                      </a:cubicBezTo>
                      <a:cubicBezTo>
                        <a:pt x="547" y="0"/>
                        <a:pt x="613" y="44"/>
                        <a:pt x="613" y="131"/>
                      </a:cubicBezTo>
                      <a:cubicBezTo>
                        <a:pt x="613" y="503"/>
                        <a:pt x="613" y="503"/>
                        <a:pt x="613" y="503"/>
                      </a:cubicBezTo>
                      <a:cubicBezTo>
                        <a:pt x="613" y="568"/>
                        <a:pt x="547" y="634"/>
                        <a:pt x="481" y="634"/>
                      </a:cubicBezTo>
                      <a:close/>
                      <a:moveTo>
                        <a:pt x="131" y="44"/>
                      </a:moveTo>
                      <a:lnTo>
                        <a:pt x="131" y="44"/>
                      </a:lnTo>
                      <a:cubicBezTo>
                        <a:pt x="88" y="44"/>
                        <a:pt x="44" y="88"/>
                        <a:pt x="44" y="131"/>
                      </a:cubicBezTo>
                      <a:cubicBezTo>
                        <a:pt x="44" y="503"/>
                        <a:pt x="44" y="503"/>
                        <a:pt x="44" y="503"/>
                      </a:cubicBezTo>
                      <a:cubicBezTo>
                        <a:pt x="44" y="547"/>
                        <a:pt x="88" y="568"/>
                        <a:pt x="131" y="568"/>
                      </a:cubicBezTo>
                      <a:cubicBezTo>
                        <a:pt x="481" y="568"/>
                        <a:pt x="481" y="568"/>
                        <a:pt x="481" y="568"/>
                      </a:cubicBezTo>
                      <a:cubicBezTo>
                        <a:pt x="525" y="568"/>
                        <a:pt x="547" y="547"/>
                        <a:pt x="547" y="503"/>
                      </a:cubicBezTo>
                      <a:cubicBezTo>
                        <a:pt x="547" y="131"/>
                        <a:pt x="547" y="131"/>
                        <a:pt x="547" y="131"/>
                      </a:cubicBezTo>
                      <a:cubicBezTo>
                        <a:pt x="547" y="88"/>
                        <a:pt x="525" y="44"/>
                        <a:pt x="481" y="44"/>
                      </a:cubicBezTo>
                      <a:cubicBezTo>
                        <a:pt x="131" y="44"/>
                        <a:pt x="131" y="44"/>
                        <a:pt x="131" y="44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="" xmlns:lc="http://schemas.openxmlformats.org/drawingml/2006/lockedCanvas" xmlns:a14="http://schemas.microsoft.com/office/drawing/2010/main" xmlns:p14="http://schemas.microsoft.com/office/powerpoint/2010/main" xmlns:a16="http://schemas.microsoft.com/office/drawing/2014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22" name="iṧḷiḍé">
                  <a:extLst>
                    <a:ext uri="{FF2B5EF4-FFF2-40B4-BE49-F238E27FC236}">
                      <a16:creationId xmlns:a16="http://schemas.microsoft.com/office/drawing/2014/main" id="{800AE44D-1B31-4E64-9DD8-BFF5B24FDB66}"/>
                    </a:ext>
                  </a:extLst>
                </p:cNvPr>
                <p:cNvSpPr/>
                <p:nvPr/>
              </p:nvSpPr>
              <p:spPr>
                <a:xfrm flipH="1">
                  <a:off x="9860956" y="4959183"/>
                  <a:ext cx="470060" cy="47006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269" y="10083"/>
                      </a:moveTo>
                      <a:cubicBezTo>
                        <a:pt x="17227" y="9077"/>
                        <a:pt x="17107" y="8107"/>
                        <a:pt x="16910" y="7200"/>
                      </a:cubicBezTo>
                      <a:lnTo>
                        <a:pt x="19442" y="7200"/>
                      </a:lnTo>
                      <a:cubicBezTo>
                        <a:pt x="19814" y="8100"/>
                        <a:pt x="20053" y="9063"/>
                        <a:pt x="20131" y="10083"/>
                      </a:cubicBezTo>
                      <a:cubicBezTo>
                        <a:pt x="20131" y="10083"/>
                        <a:pt x="17269" y="10083"/>
                        <a:pt x="17269" y="10083"/>
                      </a:cubicBezTo>
                      <a:close/>
                      <a:moveTo>
                        <a:pt x="19442" y="14400"/>
                      </a:moveTo>
                      <a:lnTo>
                        <a:pt x="16910" y="14400"/>
                      </a:lnTo>
                      <a:cubicBezTo>
                        <a:pt x="17107" y="13493"/>
                        <a:pt x="17227" y="12523"/>
                        <a:pt x="17269" y="11517"/>
                      </a:cubicBezTo>
                      <a:lnTo>
                        <a:pt x="20131" y="11517"/>
                      </a:lnTo>
                      <a:cubicBezTo>
                        <a:pt x="20053" y="12537"/>
                        <a:pt x="19814" y="13500"/>
                        <a:pt x="19442" y="14400"/>
                      </a:cubicBezTo>
                      <a:cubicBezTo>
                        <a:pt x="19442" y="14400"/>
                        <a:pt x="19442" y="14400"/>
                        <a:pt x="19442" y="14400"/>
                      </a:cubicBezTo>
                      <a:close/>
                      <a:moveTo>
                        <a:pt x="14836" y="19244"/>
                      </a:moveTo>
                      <a:cubicBezTo>
                        <a:pt x="15532" y="18316"/>
                        <a:pt x="16116" y="17164"/>
                        <a:pt x="16538" y="15842"/>
                      </a:cubicBezTo>
                      <a:lnTo>
                        <a:pt x="18689" y="15842"/>
                      </a:lnTo>
                      <a:cubicBezTo>
                        <a:pt x="17754" y="17304"/>
                        <a:pt x="16418" y="18492"/>
                        <a:pt x="14836" y="19244"/>
                      </a:cubicBezTo>
                      <a:cubicBezTo>
                        <a:pt x="14836" y="19244"/>
                        <a:pt x="14836" y="19244"/>
                        <a:pt x="14836" y="19244"/>
                      </a:cubicBezTo>
                      <a:close/>
                      <a:moveTo>
                        <a:pt x="11517" y="20067"/>
                      </a:moveTo>
                      <a:lnTo>
                        <a:pt x="11517" y="15842"/>
                      </a:lnTo>
                      <a:lnTo>
                        <a:pt x="15047" y="15842"/>
                      </a:lnTo>
                      <a:cubicBezTo>
                        <a:pt x="14274" y="18084"/>
                        <a:pt x="13001" y="19674"/>
                        <a:pt x="11517" y="20067"/>
                      </a:cubicBezTo>
                      <a:cubicBezTo>
                        <a:pt x="11517" y="20067"/>
                        <a:pt x="11517" y="20067"/>
                        <a:pt x="11517" y="20067"/>
                      </a:cubicBezTo>
                      <a:close/>
                      <a:moveTo>
                        <a:pt x="11517" y="11517"/>
                      </a:moveTo>
                      <a:lnTo>
                        <a:pt x="15828" y="11517"/>
                      </a:lnTo>
                      <a:cubicBezTo>
                        <a:pt x="15785" y="12537"/>
                        <a:pt x="15659" y="13500"/>
                        <a:pt x="15455" y="14400"/>
                      </a:cubicBezTo>
                      <a:lnTo>
                        <a:pt x="11517" y="14400"/>
                      </a:lnTo>
                      <a:cubicBezTo>
                        <a:pt x="11517" y="14400"/>
                        <a:pt x="11517" y="11517"/>
                        <a:pt x="11517" y="11517"/>
                      </a:cubicBezTo>
                      <a:close/>
                      <a:moveTo>
                        <a:pt x="11517" y="7200"/>
                      </a:moveTo>
                      <a:lnTo>
                        <a:pt x="15455" y="7200"/>
                      </a:lnTo>
                      <a:cubicBezTo>
                        <a:pt x="15659" y="8100"/>
                        <a:pt x="15778" y="9063"/>
                        <a:pt x="15828" y="10083"/>
                      </a:cubicBezTo>
                      <a:lnTo>
                        <a:pt x="11517" y="10083"/>
                      </a:lnTo>
                      <a:cubicBezTo>
                        <a:pt x="11517" y="10083"/>
                        <a:pt x="11517" y="7200"/>
                        <a:pt x="11517" y="7200"/>
                      </a:cubicBezTo>
                      <a:close/>
                      <a:moveTo>
                        <a:pt x="11517" y="1533"/>
                      </a:moveTo>
                      <a:cubicBezTo>
                        <a:pt x="13001" y="1927"/>
                        <a:pt x="14274" y="3516"/>
                        <a:pt x="15047" y="5759"/>
                      </a:cubicBezTo>
                      <a:lnTo>
                        <a:pt x="11517" y="5759"/>
                      </a:lnTo>
                      <a:cubicBezTo>
                        <a:pt x="11517" y="5759"/>
                        <a:pt x="11517" y="1533"/>
                        <a:pt x="11517" y="1533"/>
                      </a:cubicBezTo>
                      <a:close/>
                      <a:moveTo>
                        <a:pt x="18689" y="5759"/>
                      </a:moveTo>
                      <a:lnTo>
                        <a:pt x="16538" y="5759"/>
                      </a:lnTo>
                      <a:cubicBezTo>
                        <a:pt x="16116" y="4437"/>
                        <a:pt x="15539" y="3277"/>
                        <a:pt x="14836" y="2356"/>
                      </a:cubicBezTo>
                      <a:cubicBezTo>
                        <a:pt x="16418" y="3108"/>
                        <a:pt x="17754" y="4296"/>
                        <a:pt x="18689" y="5759"/>
                      </a:cubicBezTo>
                      <a:cubicBezTo>
                        <a:pt x="18689" y="5759"/>
                        <a:pt x="18689" y="5759"/>
                        <a:pt x="18689" y="5759"/>
                      </a:cubicBezTo>
                      <a:close/>
                      <a:moveTo>
                        <a:pt x="10084" y="5759"/>
                      </a:moveTo>
                      <a:lnTo>
                        <a:pt x="6554" y="5759"/>
                      </a:lnTo>
                      <a:cubicBezTo>
                        <a:pt x="7325" y="3516"/>
                        <a:pt x="8599" y="1927"/>
                        <a:pt x="10084" y="1533"/>
                      </a:cubicBezTo>
                      <a:cubicBezTo>
                        <a:pt x="10084" y="1533"/>
                        <a:pt x="10084" y="5759"/>
                        <a:pt x="10084" y="5759"/>
                      </a:cubicBezTo>
                      <a:close/>
                      <a:moveTo>
                        <a:pt x="10084" y="10083"/>
                      </a:moveTo>
                      <a:lnTo>
                        <a:pt x="5772" y="10083"/>
                      </a:lnTo>
                      <a:cubicBezTo>
                        <a:pt x="5814" y="9063"/>
                        <a:pt x="5941" y="8100"/>
                        <a:pt x="6145" y="7200"/>
                      </a:cubicBezTo>
                      <a:lnTo>
                        <a:pt x="10084" y="7200"/>
                      </a:lnTo>
                      <a:cubicBezTo>
                        <a:pt x="10084" y="7200"/>
                        <a:pt x="10084" y="10083"/>
                        <a:pt x="10084" y="10083"/>
                      </a:cubicBezTo>
                      <a:close/>
                      <a:moveTo>
                        <a:pt x="10084" y="14400"/>
                      </a:moveTo>
                      <a:lnTo>
                        <a:pt x="6145" y="14400"/>
                      </a:lnTo>
                      <a:cubicBezTo>
                        <a:pt x="5941" y="13500"/>
                        <a:pt x="5814" y="12537"/>
                        <a:pt x="5772" y="11517"/>
                      </a:cubicBezTo>
                      <a:lnTo>
                        <a:pt x="10084" y="11517"/>
                      </a:lnTo>
                      <a:cubicBezTo>
                        <a:pt x="10084" y="11517"/>
                        <a:pt x="10084" y="14400"/>
                        <a:pt x="10084" y="14400"/>
                      </a:cubicBezTo>
                      <a:close/>
                      <a:moveTo>
                        <a:pt x="10084" y="20067"/>
                      </a:moveTo>
                      <a:cubicBezTo>
                        <a:pt x="8599" y="19674"/>
                        <a:pt x="7325" y="18084"/>
                        <a:pt x="6554" y="15842"/>
                      </a:cubicBezTo>
                      <a:lnTo>
                        <a:pt x="10084" y="15842"/>
                      </a:lnTo>
                      <a:cubicBezTo>
                        <a:pt x="10084" y="15842"/>
                        <a:pt x="10084" y="20067"/>
                        <a:pt x="10084" y="20067"/>
                      </a:cubicBezTo>
                      <a:close/>
                      <a:moveTo>
                        <a:pt x="2911" y="15842"/>
                      </a:moveTo>
                      <a:lnTo>
                        <a:pt x="5062" y="15842"/>
                      </a:lnTo>
                      <a:cubicBezTo>
                        <a:pt x="5484" y="17164"/>
                        <a:pt x="6061" y="18323"/>
                        <a:pt x="6764" y="19244"/>
                      </a:cubicBezTo>
                      <a:cubicBezTo>
                        <a:pt x="5182" y="18492"/>
                        <a:pt x="3847" y="17304"/>
                        <a:pt x="2911" y="15842"/>
                      </a:cubicBezTo>
                      <a:cubicBezTo>
                        <a:pt x="2911" y="15842"/>
                        <a:pt x="2911" y="15842"/>
                        <a:pt x="2911" y="15842"/>
                      </a:cubicBezTo>
                      <a:close/>
                      <a:moveTo>
                        <a:pt x="1469" y="11517"/>
                      </a:moveTo>
                      <a:lnTo>
                        <a:pt x="4331" y="11517"/>
                      </a:lnTo>
                      <a:cubicBezTo>
                        <a:pt x="4374" y="12523"/>
                        <a:pt x="4493" y="13493"/>
                        <a:pt x="4689" y="14400"/>
                      </a:cubicBezTo>
                      <a:lnTo>
                        <a:pt x="2158" y="14400"/>
                      </a:lnTo>
                      <a:cubicBezTo>
                        <a:pt x="1786" y="13500"/>
                        <a:pt x="1546" y="12537"/>
                        <a:pt x="1469" y="11517"/>
                      </a:cubicBezTo>
                      <a:cubicBezTo>
                        <a:pt x="1469" y="11517"/>
                        <a:pt x="1469" y="11517"/>
                        <a:pt x="1469" y="11517"/>
                      </a:cubicBezTo>
                      <a:close/>
                      <a:moveTo>
                        <a:pt x="2158" y="7200"/>
                      </a:moveTo>
                      <a:lnTo>
                        <a:pt x="4689" y="7200"/>
                      </a:lnTo>
                      <a:cubicBezTo>
                        <a:pt x="4493" y="8107"/>
                        <a:pt x="4374" y="9077"/>
                        <a:pt x="4331" y="10083"/>
                      </a:cubicBezTo>
                      <a:lnTo>
                        <a:pt x="1469" y="10083"/>
                      </a:lnTo>
                      <a:cubicBezTo>
                        <a:pt x="1546" y="9063"/>
                        <a:pt x="1786" y="8100"/>
                        <a:pt x="2158" y="7200"/>
                      </a:cubicBezTo>
                      <a:cubicBezTo>
                        <a:pt x="2158" y="7200"/>
                        <a:pt x="2158" y="7200"/>
                        <a:pt x="2158" y="7200"/>
                      </a:cubicBezTo>
                      <a:close/>
                      <a:moveTo>
                        <a:pt x="6764" y="2356"/>
                      </a:moveTo>
                      <a:cubicBezTo>
                        <a:pt x="6068" y="3277"/>
                        <a:pt x="5484" y="4437"/>
                        <a:pt x="5069" y="5759"/>
                      </a:cubicBezTo>
                      <a:lnTo>
                        <a:pt x="2911" y="5759"/>
                      </a:lnTo>
                      <a:cubicBezTo>
                        <a:pt x="3847" y="4296"/>
                        <a:pt x="5182" y="3108"/>
                        <a:pt x="6764" y="2356"/>
                      </a:cubicBezTo>
                      <a:cubicBezTo>
                        <a:pt x="6764" y="2356"/>
                        <a:pt x="6764" y="2356"/>
                        <a:pt x="6764" y="2356"/>
                      </a:cubicBezTo>
                      <a:close/>
                      <a:moveTo>
                        <a:pt x="21572" y="10083"/>
                      </a:moveTo>
                      <a:cubicBezTo>
                        <a:pt x="21221" y="4690"/>
                        <a:pt x="16910" y="380"/>
                        <a:pt x="11517" y="21"/>
                      </a:cubicBezTo>
                      <a:lnTo>
                        <a:pt x="11517" y="0"/>
                      </a:lnTo>
                      <a:lnTo>
                        <a:pt x="10084" y="0"/>
                      </a:lnTo>
                      <a:lnTo>
                        <a:pt x="10084" y="21"/>
                      </a:lnTo>
                      <a:cubicBezTo>
                        <a:pt x="4689" y="380"/>
                        <a:pt x="380" y="4690"/>
                        <a:pt x="22" y="10083"/>
                      </a:cubicBezTo>
                      <a:lnTo>
                        <a:pt x="0" y="10083"/>
                      </a:lnTo>
                      <a:lnTo>
                        <a:pt x="0" y="11517"/>
                      </a:lnTo>
                      <a:lnTo>
                        <a:pt x="22" y="11517"/>
                      </a:lnTo>
                      <a:cubicBezTo>
                        <a:pt x="380" y="16910"/>
                        <a:pt x="4689" y="21220"/>
                        <a:pt x="10084" y="21572"/>
                      </a:cubicBezTo>
                      <a:lnTo>
                        <a:pt x="10084" y="21600"/>
                      </a:lnTo>
                      <a:lnTo>
                        <a:pt x="11517" y="21600"/>
                      </a:lnTo>
                      <a:lnTo>
                        <a:pt x="11517" y="21572"/>
                      </a:lnTo>
                      <a:cubicBezTo>
                        <a:pt x="16910" y="21220"/>
                        <a:pt x="21221" y="16910"/>
                        <a:pt x="21572" y="11517"/>
                      </a:cubicBezTo>
                      <a:lnTo>
                        <a:pt x="21600" y="11517"/>
                      </a:lnTo>
                      <a:lnTo>
                        <a:pt x="21600" y="10083"/>
                      </a:lnTo>
                      <a:cubicBezTo>
                        <a:pt x="21600" y="10083"/>
                        <a:pt x="21572" y="10083"/>
                        <a:pt x="21572" y="10083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flat">
                  <a:noFill/>
                  <a:prstDash val="solid"/>
                  <a:round/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</p:grpSp>
        <p:grpSp>
          <p:nvGrpSpPr>
            <p:cNvPr id="6" name="iš1ïďê">
              <a:extLst>
                <a:ext uri="{FF2B5EF4-FFF2-40B4-BE49-F238E27FC236}">
                  <a16:creationId xmlns:a16="http://schemas.microsoft.com/office/drawing/2014/main" id="{ED68ACB9-8BEC-4003-8DE0-C4B13C2BEC81}"/>
                </a:ext>
              </a:extLst>
            </p:cNvPr>
            <p:cNvGrpSpPr/>
            <p:nvPr/>
          </p:nvGrpSpPr>
          <p:grpSpPr>
            <a:xfrm>
              <a:off x="669925" y="1461899"/>
              <a:ext cx="2810510" cy="3315965"/>
              <a:chOff x="669925" y="1461899"/>
              <a:chExt cx="2810510" cy="3315965"/>
            </a:xfrm>
          </p:grpSpPr>
          <p:sp>
            <p:nvSpPr>
              <p:cNvPr id="14" name="iş1ïḍê">
                <a:extLst>
                  <a:ext uri="{FF2B5EF4-FFF2-40B4-BE49-F238E27FC236}">
                    <a16:creationId xmlns:a16="http://schemas.microsoft.com/office/drawing/2014/main" id="{919E856B-0080-41F7-B454-CDF6B396AEAB}"/>
                  </a:ext>
                </a:extLst>
              </p:cNvPr>
              <p:cNvSpPr/>
              <p:nvPr/>
            </p:nvSpPr>
            <p:spPr>
              <a:xfrm>
                <a:off x="1782853" y="1461899"/>
                <a:ext cx="648788" cy="648788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" name="ïşļîḋé">
                <a:extLst>
                  <a:ext uri="{FF2B5EF4-FFF2-40B4-BE49-F238E27FC236}">
                    <a16:creationId xmlns:a16="http://schemas.microsoft.com/office/drawing/2014/main" id="{D94D6C9B-962A-4681-A7A6-759FC345C6D1}"/>
                  </a:ext>
                </a:extLst>
              </p:cNvPr>
              <p:cNvSpPr/>
              <p:nvPr/>
            </p:nvSpPr>
            <p:spPr>
              <a:xfrm>
                <a:off x="1909528" y="1581014"/>
                <a:ext cx="395439" cy="410558"/>
              </a:xfrm>
              <a:custGeom>
                <a:avLst/>
                <a:gdLst>
                  <a:gd name="connsiteX0" fmla="*/ 332623 w 583294"/>
                  <a:gd name="connsiteY0" fmla="*/ 296967 h 605593"/>
                  <a:gd name="connsiteX1" fmla="*/ 316983 w 583294"/>
                  <a:gd name="connsiteY1" fmla="*/ 302537 h 605593"/>
                  <a:gd name="connsiteX2" fmla="*/ 311624 w 583294"/>
                  <a:gd name="connsiteY2" fmla="*/ 308872 h 605593"/>
                  <a:gd name="connsiteX3" fmla="*/ 311624 w 583294"/>
                  <a:gd name="connsiteY3" fmla="*/ 325036 h 605593"/>
                  <a:gd name="connsiteX4" fmla="*/ 309108 w 583294"/>
                  <a:gd name="connsiteY4" fmla="*/ 326784 h 605593"/>
                  <a:gd name="connsiteX5" fmla="*/ 307467 w 583294"/>
                  <a:gd name="connsiteY5" fmla="*/ 331698 h 605593"/>
                  <a:gd name="connsiteX6" fmla="*/ 311077 w 583294"/>
                  <a:gd name="connsiteY6" fmla="*/ 366102 h 605593"/>
                  <a:gd name="connsiteX7" fmla="*/ 315780 w 583294"/>
                  <a:gd name="connsiteY7" fmla="*/ 371673 h 605593"/>
                  <a:gd name="connsiteX8" fmla="*/ 317530 w 583294"/>
                  <a:gd name="connsiteY8" fmla="*/ 371891 h 605593"/>
                  <a:gd name="connsiteX9" fmla="*/ 322670 w 583294"/>
                  <a:gd name="connsiteY9" fmla="*/ 369379 h 605593"/>
                  <a:gd name="connsiteX10" fmla="*/ 340826 w 583294"/>
                  <a:gd name="connsiteY10" fmla="*/ 345242 h 605593"/>
                  <a:gd name="connsiteX11" fmla="*/ 342139 w 583294"/>
                  <a:gd name="connsiteY11" fmla="*/ 341310 h 605593"/>
                  <a:gd name="connsiteX12" fmla="*/ 342139 w 583294"/>
                  <a:gd name="connsiteY12" fmla="*/ 302646 h 605593"/>
                  <a:gd name="connsiteX13" fmla="*/ 339076 w 583294"/>
                  <a:gd name="connsiteY13" fmla="*/ 297076 h 605593"/>
                  <a:gd name="connsiteX14" fmla="*/ 332623 w 583294"/>
                  <a:gd name="connsiteY14" fmla="*/ 296967 h 605593"/>
                  <a:gd name="connsiteX15" fmla="*/ 250702 w 583294"/>
                  <a:gd name="connsiteY15" fmla="*/ 296967 h 605593"/>
                  <a:gd name="connsiteX16" fmla="*/ 244249 w 583294"/>
                  <a:gd name="connsiteY16" fmla="*/ 297076 h 605593"/>
                  <a:gd name="connsiteX17" fmla="*/ 241187 w 583294"/>
                  <a:gd name="connsiteY17" fmla="*/ 302646 h 605593"/>
                  <a:gd name="connsiteX18" fmla="*/ 241077 w 583294"/>
                  <a:gd name="connsiteY18" fmla="*/ 341310 h 605593"/>
                  <a:gd name="connsiteX19" fmla="*/ 242390 w 583294"/>
                  <a:gd name="connsiteY19" fmla="*/ 345242 h 605593"/>
                  <a:gd name="connsiteX20" fmla="*/ 260655 w 583294"/>
                  <a:gd name="connsiteY20" fmla="*/ 369379 h 605593"/>
                  <a:gd name="connsiteX21" fmla="*/ 265796 w 583294"/>
                  <a:gd name="connsiteY21" fmla="*/ 371891 h 605593"/>
                  <a:gd name="connsiteX22" fmla="*/ 267546 w 583294"/>
                  <a:gd name="connsiteY22" fmla="*/ 371673 h 605593"/>
                  <a:gd name="connsiteX23" fmla="*/ 272249 w 583294"/>
                  <a:gd name="connsiteY23" fmla="*/ 366102 h 605593"/>
                  <a:gd name="connsiteX24" fmla="*/ 275858 w 583294"/>
                  <a:gd name="connsiteY24" fmla="*/ 331698 h 605593"/>
                  <a:gd name="connsiteX25" fmla="*/ 274218 w 583294"/>
                  <a:gd name="connsiteY25" fmla="*/ 326674 h 605593"/>
                  <a:gd name="connsiteX26" fmla="*/ 271702 w 583294"/>
                  <a:gd name="connsiteY26" fmla="*/ 325036 h 605593"/>
                  <a:gd name="connsiteX27" fmla="*/ 271702 w 583294"/>
                  <a:gd name="connsiteY27" fmla="*/ 308872 h 605593"/>
                  <a:gd name="connsiteX28" fmla="*/ 266343 w 583294"/>
                  <a:gd name="connsiteY28" fmla="*/ 302537 h 605593"/>
                  <a:gd name="connsiteX29" fmla="*/ 250702 w 583294"/>
                  <a:gd name="connsiteY29" fmla="*/ 296967 h 605593"/>
                  <a:gd name="connsiteX30" fmla="*/ 30625 w 583294"/>
                  <a:gd name="connsiteY30" fmla="*/ 270619 h 605593"/>
                  <a:gd name="connsiteX31" fmla="*/ 94718 w 583294"/>
                  <a:gd name="connsiteY31" fmla="*/ 270619 h 605593"/>
                  <a:gd name="connsiteX32" fmla="*/ 125343 w 583294"/>
                  <a:gd name="connsiteY32" fmla="*/ 301200 h 605593"/>
                  <a:gd name="connsiteX33" fmla="*/ 293999 w 583294"/>
                  <a:gd name="connsiteY33" fmla="*/ 469616 h 605593"/>
                  <a:gd name="connsiteX34" fmla="*/ 462654 w 583294"/>
                  <a:gd name="connsiteY34" fmla="*/ 301200 h 605593"/>
                  <a:gd name="connsiteX35" fmla="*/ 493279 w 583294"/>
                  <a:gd name="connsiteY35" fmla="*/ 270619 h 605593"/>
                  <a:gd name="connsiteX36" fmla="*/ 552669 w 583294"/>
                  <a:gd name="connsiteY36" fmla="*/ 270619 h 605593"/>
                  <a:gd name="connsiteX37" fmla="*/ 583294 w 583294"/>
                  <a:gd name="connsiteY37" fmla="*/ 301200 h 605593"/>
                  <a:gd name="connsiteX38" fmla="*/ 552669 w 583294"/>
                  <a:gd name="connsiteY38" fmla="*/ 331782 h 605593"/>
                  <a:gd name="connsiteX39" fmla="*/ 521935 w 583294"/>
                  <a:gd name="connsiteY39" fmla="*/ 331782 h 605593"/>
                  <a:gd name="connsiteX40" fmla="*/ 478513 w 583294"/>
                  <a:gd name="connsiteY40" fmla="*/ 438052 h 605593"/>
                  <a:gd name="connsiteX41" fmla="*/ 504982 w 583294"/>
                  <a:gd name="connsiteY41" fmla="*/ 464592 h 605593"/>
                  <a:gd name="connsiteX42" fmla="*/ 504982 w 583294"/>
                  <a:gd name="connsiteY42" fmla="*/ 507842 h 605593"/>
                  <a:gd name="connsiteX43" fmla="*/ 483326 w 583294"/>
                  <a:gd name="connsiteY43" fmla="*/ 516798 h 605593"/>
                  <a:gd name="connsiteX44" fmla="*/ 461670 w 583294"/>
                  <a:gd name="connsiteY44" fmla="*/ 507842 h 605593"/>
                  <a:gd name="connsiteX45" fmla="*/ 435638 w 583294"/>
                  <a:gd name="connsiteY45" fmla="*/ 481957 h 605593"/>
                  <a:gd name="connsiteX46" fmla="*/ 322327 w 583294"/>
                  <a:gd name="connsiteY46" fmla="*/ 529140 h 605593"/>
                  <a:gd name="connsiteX47" fmla="*/ 322327 w 583294"/>
                  <a:gd name="connsiteY47" fmla="*/ 575012 h 605593"/>
                  <a:gd name="connsiteX48" fmla="*/ 291592 w 583294"/>
                  <a:gd name="connsiteY48" fmla="*/ 605593 h 605593"/>
                  <a:gd name="connsiteX49" fmla="*/ 260967 w 583294"/>
                  <a:gd name="connsiteY49" fmla="*/ 575012 h 605593"/>
                  <a:gd name="connsiteX50" fmla="*/ 260967 w 583294"/>
                  <a:gd name="connsiteY50" fmla="*/ 528485 h 605593"/>
                  <a:gd name="connsiteX51" fmla="*/ 149624 w 583294"/>
                  <a:gd name="connsiteY51" fmla="*/ 479882 h 605593"/>
                  <a:gd name="connsiteX52" fmla="*/ 121624 w 583294"/>
                  <a:gd name="connsiteY52" fmla="*/ 507842 h 605593"/>
                  <a:gd name="connsiteX53" fmla="*/ 99968 w 583294"/>
                  <a:gd name="connsiteY53" fmla="*/ 516798 h 605593"/>
                  <a:gd name="connsiteX54" fmla="*/ 78312 w 583294"/>
                  <a:gd name="connsiteY54" fmla="*/ 507842 h 605593"/>
                  <a:gd name="connsiteX55" fmla="*/ 78312 w 583294"/>
                  <a:gd name="connsiteY55" fmla="*/ 464592 h 605593"/>
                  <a:gd name="connsiteX56" fmla="*/ 107515 w 583294"/>
                  <a:gd name="connsiteY56" fmla="*/ 435430 h 605593"/>
                  <a:gd name="connsiteX57" fmla="*/ 66062 w 583294"/>
                  <a:gd name="connsiteY57" fmla="*/ 331782 h 605593"/>
                  <a:gd name="connsiteX58" fmla="*/ 30625 w 583294"/>
                  <a:gd name="connsiteY58" fmla="*/ 331782 h 605593"/>
                  <a:gd name="connsiteX59" fmla="*/ 0 w 583294"/>
                  <a:gd name="connsiteY59" fmla="*/ 301200 h 605593"/>
                  <a:gd name="connsiteX60" fmla="*/ 30625 w 583294"/>
                  <a:gd name="connsiteY60" fmla="*/ 270619 h 605593"/>
                  <a:gd name="connsiteX61" fmla="*/ 260655 w 583294"/>
                  <a:gd name="connsiteY61" fmla="*/ 122871 h 605593"/>
                  <a:gd name="connsiteX62" fmla="*/ 215703 w 583294"/>
                  <a:gd name="connsiteY62" fmla="*/ 134776 h 605593"/>
                  <a:gd name="connsiteX63" fmla="*/ 212093 w 583294"/>
                  <a:gd name="connsiteY63" fmla="*/ 140565 h 605593"/>
                  <a:gd name="connsiteX64" fmla="*/ 212093 w 583294"/>
                  <a:gd name="connsiteY64" fmla="*/ 152142 h 605593"/>
                  <a:gd name="connsiteX65" fmla="*/ 209468 w 583294"/>
                  <a:gd name="connsiteY65" fmla="*/ 152142 h 605593"/>
                  <a:gd name="connsiteX66" fmla="*/ 203015 w 583294"/>
                  <a:gd name="connsiteY66" fmla="*/ 158586 h 605593"/>
                  <a:gd name="connsiteX67" fmla="*/ 203015 w 583294"/>
                  <a:gd name="connsiteY67" fmla="*/ 169289 h 605593"/>
                  <a:gd name="connsiteX68" fmla="*/ 205969 w 583294"/>
                  <a:gd name="connsiteY68" fmla="*/ 174641 h 605593"/>
                  <a:gd name="connsiteX69" fmla="*/ 212203 w 583294"/>
                  <a:gd name="connsiteY69" fmla="*/ 178791 h 605593"/>
                  <a:gd name="connsiteX70" fmla="*/ 212640 w 583294"/>
                  <a:gd name="connsiteY70" fmla="*/ 181413 h 605593"/>
                  <a:gd name="connsiteX71" fmla="*/ 235828 w 583294"/>
                  <a:gd name="connsiteY71" fmla="*/ 235039 h 605593"/>
                  <a:gd name="connsiteX72" fmla="*/ 274218 w 583294"/>
                  <a:gd name="connsiteY72" fmla="*/ 268242 h 605593"/>
                  <a:gd name="connsiteX73" fmla="*/ 309108 w 583294"/>
                  <a:gd name="connsiteY73" fmla="*/ 268242 h 605593"/>
                  <a:gd name="connsiteX74" fmla="*/ 347498 w 583294"/>
                  <a:gd name="connsiteY74" fmla="*/ 235039 h 605593"/>
                  <a:gd name="connsiteX75" fmla="*/ 370685 w 583294"/>
                  <a:gd name="connsiteY75" fmla="*/ 181413 h 605593"/>
                  <a:gd name="connsiteX76" fmla="*/ 371123 w 583294"/>
                  <a:gd name="connsiteY76" fmla="*/ 178791 h 605593"/>
                  <a:gd name="connsiteX77" fmla="*/ 377357 w 583294"/>
                  <a:gd name="connsiteY77" fmla="*/ 174641 h 605593"/>
                  <a:gd name="connsiteX78" fmla="*/ 380310 w 583294"/>
                  <a:gd name="connsiteY78" fmla="*/ 169289 h 605593"/>
                  <a:gd name="connsiteX79" fmla="*/ 380310 w 583294"/>
                  <a:gd name="connsiteY79" fmla="*/ 158586 h 605593"/>
                  <a:gd name="connsiteX80" fmla="*/ 373857 w 583294"/>
                  <a:gd name="connsiteY80" fmla="*/ 152142 h 605593"/>
                  <a:gd name="connsiteX81" fmla="*/ 370248 w 583294"/>
                  <a:gd name="connsiteY81" fmla="*/ 152142 h 605593"/>
                  <a:gd name="connsiteX82" fmla="*/ 368279 w 583294"/>
                  <a:gd name="connsiteY82" fmla="*/ 149958 h 605593"/>
                  <a:gd name="connsiteX83" fmla="*/ 362045 w 583294"/>
                  <a:gd name="connsiteY83" fmla="*/ 149521 h 605593"/>
                  <a:gd name="connsiteX84" fmla="*/ 336451 w 583294"/>
                  <a:gd name="connsiteY84" fmla="*/ 155309 h 605593"/>
                  <a:gd name="connsiteX85" fmla="*/ 296749 w 583294"/>
                  <a:gd name="connsiteY85" fmla="*/ 137288 h 605593"/>
                  <a:gd name="connsiteX86" fmla="*/ 260655 w 583294"/>
                  <a:gd name="connsiteY86" fmla="*/ 122871 h 605593"/>
                  <a:gd name="connsiteX87" fmla="*/ 275311 w 583294"/>
                  <a:gd name="connsiteY87" fmla="*/ 0 h 605593"/>
                  <a:gd name="connsiteX88" fmla="*/ 308014 w 583294"/>
                  <a:gd name="connsiteY88" fmla="*/ 0 h 605593"/>
                  <a:gd name="connsiteX89" fmla="*/ 409185 w 583294"/>
                  <a:gd name="connsiteY89" fmla="*/ 101027 h 605593"/>
                  <a:gd name="connsiteX90" fmla="*/ 409185 w 583294"/>
                  <a:gd name="connsiteY90" fmla="*/ 132701 h 605593"/>
                  <a:gd name="connsiteX91" fmla="*/ 414982 w 583294"/>
                  <a:gd name="connsiteY91" fmla="*/ 150722 h 605593"/>
                  <a:gd name="connsiteX92" fmla="*/ 414982 w 583294"/>
                  <a:gd name="connsiteY92" fmla="*/ 173331 h 605593"/>
                  <a:gd name="connsiteX93" fmla="*/ 403826 w 583294"/>
                  <a:gd name="connsiteY93" fmla="*/ 197140 h 605593"/>
                  <a:gd name="connsiteX94" fmla="*/ 397263 w 583294"/>
                  <a:gd name="connsiteY94" fmla="*/ 214288 h 605593"/>
                  <a:gd name="connsiteX95" fmla="*/ 375498 w 583294"/>
                  <a:gd name="connsiteY95" fmla="*/ 255136 h 605593"/>
                  <a:gd name="connsiteX96" fmla="*/ 360732 w 583294"/>
                  <a:gd name="connsiteY96" fmla="*/ 273922 h 605593"/>
                  <a:gd name="connsiteX97" fmla="*/ 371670 w 583294"/>
                  <a:gd name="connsiteY97" fmla="*/ 287574 h 605593"/>
                  <a:gd name="connsiteX98" fmla="*/ 432919 w 583294"/>
                  <a:gd name="connsiteY98" fmla="*/ 306141 h 605593"/>
                  <a:gd name="connsiteX99" fmla="*/ 294014 w 583294"/>
                  <a:gd name="connsiteY99" fmla="*/ 433272 h 605593"/>
                  <a:gd name="connsiteX100" fmla="*/ 154891 w 583294"/>
                  <a:gd name="connsiteY100" fmla="*/ 304721 h 605593"/>
                  <a:gd name="connsiteX101" fmla="*/ 211656 w 583294"/>
                  <a:gd name="connsiteY101" fmla="*/ 287574 h 605593"/>
                  <a:gd name="connsiteX102" fmla="*/ 222593 w 583294"/>
                  <a:gd name="connsiteY102" fmla="*/ 273922 h 605593"/>
                  <a:gd name="connsiteX103" fmla="*/ 207828 w 583294"/>
                  <a:gd name="connsiteY103" fmla="*/ 255136 h 605593"/>
                  <a:gd name="connsiteX104" fmla="*/ 186063 w 583294"/>
                  <a:gd name="connsiteY104" fmla="*/ 214288 h 605593"/>
                  <a:gd name="connsiteX105" fmla="*/ 179500 w 583294"/>
                  <a:gd name="connsiteY105" fmla="*/ 197140 h 605593"/>
                  <a:gd name="connsiteX106" fmla="*/ 168344 w 583294"/>
                  <a:gd name="connsiteY106" fmla="*/ 173331 h 605593"/>
                  <a:gd name="connsiteX107" fmla="*/ 168344 w 583294"/>
                  <a:gd name="connsiteY107" fmla="*/ 150722 h 605593"/>
                  <a:gd name="connsiteX108" fmla="*/ 174141 w 583294"/>
                  <a:gd name="connsiteY108" fmla="*/ 132701 h 605593"/>
                  <a:gd name="connsiteX109" fmla="*/ 174141 w 583294"/>
                  <a:gd name="connsiteY109" fmla="*/ 101027 h 605593"/>
                  <a:gd name="connsiteX110" fmla="*/ 275311 w 583294"/>
                  <a:gd name="connsiteY110" fmla="*/ 0 h 605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</a:cxnLst>
                <a:rect l="l" t="t" r="r" b="b"/>
                <a:pathLst>
                  <a:path w="583294" h="605593">
                    <a:moveTo>
                      <a:pt x="332623" y="296967"/>
                    </a:moveTo>
                    <a:cubicBezTo>
                      <a:pt x="327373" y="299697"/>
                      <a:pt x="322123" y="301663"/>
                      <a:pt x="316983" y="302537"/>
                    </a:cubicBezTo>
                    <a:cubicBezTo>
                      <a:pt x="313811" y="303083"/>
                      <a:pt x="311624" y="305814"/>
                      <a:pt x="311624" y="308872"/>
                    </a:cubicBezTo>
                    <a:lnTo>
                      <a:pt x="311624" y="325036"/>
                    </a:lnTo>
                    <a:cubicBezTo>
                      <a:pt x="310639" y="325364"/>
                      <a:pt x="309874" y="326019"/>
                      <a:pt x="309108" y="326784"/>
                    </a:cubicBezTo>
                    <a:cubicBezTo>
                      <a:pt x="307905" y="328094"/>
                      <a:pt x="307358" y="329951"/>
                      <a:pt x="307467" y="331698"/>
                    </a:cubicBezTo>
                    <a:lnTo>
                      <a:pt x="311077" y="366102"/>
                    </a:lnTo>
                    <a:cubicBezTo>
                      <a:pt x="311295" y="368724"/>
                      <a:pt x="313155" y="371017"/>
                      <a:pt x="315780" y="371673"/>
                    </a:cubicBezTo>
                    <a:cubicBezTo>
                      <a:pt x="316327" y="371891"/>
                      <a:pt x="316983" y="371891"/>
                      <a:pt x="317530" y="371891"/>
                    </a:cubicBezTo>
                    <a:cubicBezTo>
                      <a:pt x="319498" y="371891"/>
                      <a:pt x="321467" y="371017"/>
                      <a:pt x="322670" y="369379"/>
                    </a:cubicBezTo>
                    <a:lnTo>
                      <a:pt x="340826" y="345242"/>
                    </a:lnTo>
                    <a:cubicBezTo>
                      <a:pt x="341701" y="344149"/>
                      <a:pt x="342139" y="342730"/>
                      <a:pt x="342139" y="341310"/>
                    </a:cubicBezTo>
                    <a:lnTo>
                      <a:pt x="342139" y="302646"/>
                    </a:lnTo>
                    <a:cubicBezTo>
                      <a:pt x="342139" y="300353"/>
                      <a:pt x="340936" y="298277"/>
                      <a:pt x="339076" y="297076"/>
                    </a:cubicBezTo>
                    <a:cubicBezTo>
                      <a:pt x="337108" y="295984"/>
                      <a:pt x="334701" y="295875"/>
                      <a:pt x="332623" y="296967"/>
                    </a:cubicBezTo>
                    <a:close/>
                    <a:moveTo>
                      <a:pt x="250702" y="296967"/>
                    </a:moveTo>
                    <a:cubicBezTo>
                      <a:pt x="248624" y="295875"/>
                      <a:pt x="246218" y="295984"/>
                      <a:pt x="244249" y="297076"/>
                    </a:cubicBezTo>
                    <a:cubicBezTo>
                      <a:pt x="242281" y="298277"/>
                      <a:pt x="241187" y="300353"/>
                      <a:pt x="241187" y="302646"/>
                    </a:cubicBezTo>
                    <a:lnTo>
                      <a:pt x="241077" y="341310"/>
                    </a:lnTo>
                    <a:cubicBezTo>
                      <a:pt x="241077" y="342730"/>
                      <a:pt x="241624" y="344149"/>
                      <a:pt x="242390" y="345242"/>
                    </a:cubicBezTo>
                    <a:lnTo>
                      <a:pt x="260655" y="369379"/>
                    </a:lnTo>
                    <a:cubicBezTo>
                      <a:pt x="261859" y="371017"/>
                      <a:pt x="263827" y="371891"/>
                      <a:pt x="265796" y="371891"/>
                    </a:cubicBezTo>
                    <a:cubicBezTo>
                      <a:pt x="266343" y="371891"/>
                      <a:pt x="266999" y="371891"/>
                      <a:pt x="267546" y="371673"/>
                    </a:cubicBezTo>
                    <a:cubicBezTo>
                      <a:pt x="270171" y="371017"/>
                      <a:pt x="272030" y="368833"/>
                      <a:pt x="272249" y="366102"/>
                    </a:cubicBezTo>
                    <a:lnTo>
                      <a:pt x="275858" y="331698"/>
                    </a:lnTo>
                    <a:cubicBezTo>
                      <a:pt x="275968" y="329951"/>
                      <a:pt x="275421" y="328094"/>
                      <a:pt x="274218" y="326674"/>
                    </a:cubicBezTo>
                    <a:cubicBezTo>
                      <a:pt x="273452" y="326019"/>
                      <a:pt x="272687" y="325364"/>
                      <a:pt x="271702" y="325036"/>
                    </a:cubicBezTo>
                    <a:lnTo>
                      <a:pt x="271702" y="308872"/>
                    </a:lnTo>
                    <a:cubicBezTo>
                      <a:pt x="271702" y="305814"/>
                      <a:pt x="269515" y="303083"/>
                      <a:pt x="266343" y="302537"/>
                    </a:cubicBezTo>
                    <a:cubicBezTo>
                      <a:pt x="261202" y="301663"/>
                      <a:pt x="255952" y="299697"/>
                      <a:pt x="250702" y="296967"/>
                    </a:cubicBezTo>
                    <a:close/>
                    <a:moveTo>
                      <a:pt x="30625" y="270619"/>
                    </a:moveTo>
                    <a:lnTo>
                      <a:pt x="94718" y="270619"/>
                    </a:lnTo>
                    <a:cubicBezTo>
                      <a:pt x="111562" y="270619"/>
                      <a:pt x="125343" y="284271"/>
                      <a:pt x="125343" y="301200"/>
                    </a:cubicBezTo>
                    <a:cubicBezTo>
                      <a:pt x="125343" y="394036"/>
                      <a:pt x="201030" y="469616"/>
                      <a:pt x="293999" y="469616"/>
                    </a:cubicBezTo>
                    <a:cubicBezTo>
                      <a:pt x="386967" y="469616"/>
                      <a:pt x="462654" y="394036"/>
                      <a:pt x="462654" y="301200"/>
                    </a:cubicBezTo>
                    <a:cubicBezTo>
                      <a:pt x="462654" y="284271"/>
                      <a:pt x="476326" y="270619"/>
                      <a:pt x="493279" y="270619"/>
                    </a:cubicBezTo>
                    <a:lnTo>
                      <a:pt x="552669" y="270619"/>
                    </a:lnTo>
                    <a:cubicBezTo>
                      <a:pt x="569622" y="270619"/>
                      <a:pt x="583294" y="284271"/>
                      <a:pt x="583294" y="301200"/>
                    </a:cubicBezTo>
                    <a:cubicBezTo>
                      <a:pt x="583294" y="318129"/>
                      <a:pt x="569622" y="331782"/>
                      <a:pt x="552669" y="331782"/>
                    </a:cubicBezTo>
                    <a:lnTo>
                      <a:pt x="521935" y="331782"/>
                    </a:lnTo>
                    <a:cubicBezTo>
                      <a:pt x="516576" y="371319"/>
                      <a:pt x="501263" y="407579"/>
                      <a:pt x="478513" y="438052"/>
                    </a:cubicBezTo>
                    <a:lnTo>
                      <a:pt x="504982" y="464592"/>
                    </a:lnTo>
                    <a:cubicBezTo>
                      <a:pt x="516904" y="476497"/>
                      <a:pt x="516904" y="495937"/>
                      <a:pt x="504982" y="507842"/>
                    </a:cubicBezTo>
                    <a:cubicBezTo>
                      <a:pt x="498966" y="513849"/>
                      <a:pt x="491091" y="516798"/>
                      <a:pt x="483326" y="516798"/>
                    </a:cubicBezTo>
                    <a:cubicBezTo>
                      <a:pt x="475451" y="516798"/>
                      <a:pt x="467576" y="513849"/>
                      <a:pt x="461670" y="507842"/>
                    </a:cubicBezTo>
                    <a:lnTo>
                      <a:pt x="435638" y="481957"/>
                    </a:lnTo>
                    <a:cubicBezTo>
                      <a:pt x="403592" y="507078"/>
                      <a:pt x="364764" y="523897"/>
                      <a:pt x="322327" y="529140"/>
                    </a:cubicBezTo>
                    <a:lnTo>
                      <a:pt x="322327" y="575012"/>
                    </a:lnTo>
                    <a:cubicBezTo>
                      <a:pt x="322327" y="591832"/>
                      <a:pt x="308545" y="605593"/>
                      <a:pt x="291592" y="605593"/>
                    </a:cubicBezTo>
                    <a:cubicBezTo>
                      <a:pt x="274749" y="605593"/>
                      <a:pt x="260967" y="591832"/>
                      <a:pt x="260967" y="575012"/>
                    </a:cubicBezTo>
                    <a:lnTo>
                      <a:pt x="260967" y="528485"/>
                    </a:lnTo>
                    <a:cubicBezTo>
                      <a:pt x="219186" y="522478"/>
                      <a:pt x="181015" y="505221"/>
                      <a:pt x="149624" y="479882"/>
                    </a:cubicBezTo>
                    <a:lnTo>
                      <a:pt x="121624" y="507842"/>
                    </a:lnTo>
                    <a:cubicBezTo>
                      <a:pt x="115718" y="513849"/>
                      <a:pt x="107843" y="516798"/>
                      <a:pt x="99968" y="516798"/>
                    </a:cubicBezTo>
                    <a:cubicBezTo>
                      <a:pt x="92093" y="516798"/>
                      <a:pt x="84328" y="513849"/>
                      <a:pt x="78312" y="507842"/>
                    </a:cubicBezTo>
                    <a:cubicBezTo>
                      <a:pt x="66281" y="495937"/>
                      <a:pt x="66281" y="476497"/>
                      <a:pt x="78312" y="464592"/>
                    </a:cubicBezTo>
                    <a:lnTo>
                      <a:pt x="107515" y="435430"/>
                    </a:lnTo>
                    <a:cubicBezTo>
                      <a:pt x="85859" y="405504"/>
                      <a:pt x="71203" y="370117"/>
                      <a:pt x="66062" y="331782"/>
                    </a:cubicBezTo>
                    <a:lnTo>
                      <a:pt x="30625" y="331782"/>
                    </a:lnTo>
                    <a:cubicBezTo>
                      <a:pt x="13672" y="331782"/>
                      <a:pt x="0" y="318129"/>
                      <a:pt x="0" y="301200"/>
                    </a:cubicBezTo>
                    <a:cubicBezTo>
                      <a:pt x="0" y="284271"/>
                      <a:pt x="13672" y="270619"/>
                      <a:pt x="30625" y="270619"/>
                    </a:cubicBezTo>
                    <a:close/>
                    <a:moveTo>
                      <a:pt x="260655" y="122871"/>
                    </a:moveTo>
                    <a:cubicBezTo>
                      <a:pt x="242390" y="122871"/>
                      <a:pt x="224671" y="130298"/>
                      <a:pt x="215703" y="134776"/>
                    </a:cubicBezTo>
                    <a:cubicBezTo>
                      <a:pt x="213515" y="135868"/>
                      <a:pt x="212093" y="138162"/>
                      <a:pt x="212093" y="140565"/>
                    </a:cubicBezTo>
                    <a:lnTo>
                      <a:pt x="212093" y="152142"/>
                    </a:lnTo>
                    <a:lnTo>
                      <a:pt x="209468" y="152142"/>
                    </a:lnTo>
                    <a:cubicBezTo>
                      <a:pt x="205859" y="152142"/>
                      <a:pt x="203015" y="154982"/>
                      <a:pt x="203015" y="158586"/>
                    </a:cubicBezTo>
                    <a:lnTo>
                      <a:pt x="203015" y="169289"/>
                    </a:lnTo>
                    <a:cubicBezTo>
                      <a:pt x="203015" y="171474"/>
                      <a:pt x="204109" y="173440"/>
                      <a:pt x="205969" y="174641"/>
                    </a:cubicBezTo>
                    <a:lnTo>
                      <a:pt x="212203" y="178791"/>
                    </a:lnTo>
                    <a:lnTo>
                      <a:pt x="212640" y="181413"/>
                    </a:lnTo>
                    <a:cubicBezTo>
                      <a:pt x="214609" y="196922"/>
                      <a:pt x="223359" y="216909"/>
                      <a:pt x="235828" y="235039"/>
                    </a:cubicBezTo>
                    <a:cubicBezTo>
                      <a:pt x="251687" y="257975"/>
                      <a:pt x="266562" y="268242"/>
                      <a:pt x="274218" y="268242"/>
                    </a:cubicBezTo>
                    <a:lnTo>
                      <a:pt x="309108" y="268242"/>
                    </a:lnTo>
                    <a:cubicBezTo>
                      <a:pt x="316764" y="268242"/>
                      <a:pt x="331639" y="257975"/>
                      <a:pt x="347498" y="235039"/>
                    </a:cubicBezTo>
                    <a:cubicBezTo>
                      <a:pt x="359967" y="216909"/>
                      <a:pt x="368717" y="196922"/>
                      <a:pt x="370685" y="181413"/>
                    </a:cubicBezTo>
                    <a:lnTo>
                      <a:pt x="371123" y="178791"/>
                    </a:lnTo>
                    <a:lnTo>
                      <a:pt x="377357" y="174641"/>
                    </a:lnTo>
                    <a:cubicBezTo>
                      <a:pt x="379217" y="173440"/>
                      <a:pt x="380310" y="171474"/>
                      <a:pt x="380310" y="169289"/>
                    </a:cubicBezTo>
                    <a:lnTo>
                      <a:pt x="380310" y="158586"/>
                    </a:lnTo>
                    <a:cubicBezTo>
                      <a:pt x="380310" y="154982"/>
                      <a:pt x="377357" y="152142"/>
                      <a:pt x="373857" y="152142"/>
                    </a:cubicBezTo>
                    <a:lnTo>
                      <a:pt x="370248" y="152142"/>
                    </a:lnTo>
                    <a:cubicBezTo>
                      <a:pt x="369810" y="151268"/>
                      <a:pt x="369045" y="150504"/>
                      <a:pt x="368279" y="149958"/>
                    </a:cubicBezTo>
                    <a:cubicBezTo>
                      <a:pt x="366420" y="148756"/>
                      <a:pt x="364014" y="148538"/>
                      <a:pt x="362045" y="149521"/>
                    </a:cubicBezTo>
                    <a:cubicBezTo>
                      <a:pt x="353404" y="153343"/>
                      <a:pt x="344764" y="155309"/>
                      <a:pt x="336451" y="155309"/>
                    </a:cubicBezTo>
                    <a:cubicBezTo>
                      <a:pt x="321686" y="155309"/>
                      <a:pt x="308342" y="149302"/>
                      <a:pt x="296749" y="137288"/>
                    </a:cubicBezTo>
                    <a:cubicBezTo>
                      <a:pt x="287452" y="127786"/>
                      <a:pt x="275311" y="122871"/>
                      <a:pt x="260655" y="122871"/>
                    </a:cubicBezTo>
                    <a:close/>
                    <a:moveTo>
                      <a:pt x="275311" y="0"/>
                    </a:moveTo>
                    <a:lnTo>
                      <a:pt x="308014" y="0"/>
                    </a:lnTo>
                    <a:cubicBezTo>
                      <a:pt x="363795" y="0"/>
                      <a:pt x="409185" y="45326"/>
                      <a:pt x="409185" y="101027"/>
                    </a:cubicBezTo>
                    <a:lnTo>
                      <a:pt x="409185" y="132701"/>
                    </a:lnTo>
                    <a:cubicBezTo>
                      <a:pt x="412904" y="137944"/>
                      <a:pt x="414982" y="144278"/>
                      <a:pt x="414982" y="150722"/>
                    </a:cubicBezTo>
                    <a:lnTo>
                      <a:pt x="414982" y="173331"/>
                    </a:lnTo>
                    <a:cubicBezTo>
                      <a:pt x="414982" y="182505"/>
                      <a:pt x="410826" y="191352"/>
                      <a:pt x="403826" y="197140"/>
                    </a:cubicBezTo>
                    <a:cubicBezTo>
                      <a:pt x="402076" y="202820"/>
                      <a:pt x="399888" y="208608"/>
                      <a:pt x="397263" y="214288"/>
                    </a:cubicBezTo>
                    <a:cubicBezTo>
                      <a:pt x="392013" y="227940"/>
                      <a:pt x="384576" y="242029"/>
                      <a:pt x="375498" y="255136"/>
                    </a:cubicBezTo>
                    <a:cubicBezTo>
                      <a:pt x="371670" y="260706"/>
                      <a:pt x="366639" y="267368"/>
                      <a:pt x="360732" y="273922"/>
                    </a:cubicBezTo>
                    <a:cubicBezTo>
                      <a:pt x="366092" y="277853"/>
                      <a:pt x="370029" y="282331"/>
                      <a:pt x="371670" y="287574"/>
                    </a:cubicBezTo>
                    <a:lnTo>
                      <a:pt x="432919" y="306141"/>
                    </a:lnTo>
                    <a:cubicBezTo>
                      <a:pt x="426685" y="377243"/>
                      <a:pt x="366748" y="433272"/>
                      <a:pt x="294014" y="433272"/>
                    </a:cubicBezTo>
                    <a:cubicBezTo>
                      <a:pt x="220734" y="433272"/>
                      <a:pt x="160469" y="376478"/>
                      <a:pt x="154891" y="304721"/>
                    </a:cubicBezTo>
                    <a:lnTo>
                      <a:pt x="211656" y="287574"/>
                    </a:lnTo>
                    <a:cubicBezTo>
                      <a:pt x="213297" y="282331"/>
                      <a:pt x="217234" y="277853"/>
                      <a:pt x="222593" y="273922"/>
                    </a:cubicBezTo>
                    <a:cubicBezTo>
                      <a:pt x="216687" y="267368"/>
                      <a:pt x="211656" y="260706"/>
                      <a:pt x="207828" y="255136"/>
                    </a:cubicBezTo>
                    <a:cubicBezTo>
                      <a:pt x="198750" y="242029"/>
                      <a:pt x="191312" y="227940"/>
                      <a:pt x="186063" y="214288"/>
                    </a:cubicBezTo>
                    <a:cubicBezTo>
                      <a:pt x="183438" y="208608"/>
                      <a:pt x="181250" y="202820"/>
                      <a:pt x="179500" y="197140"/>
                    </a:cubicBezTo>
                    <a:cubicBezTo>
                      <a:pt x="172500" y="191242"/>
                      <a:pt x="168344" y="182505"/>
                      <a:pt x="168344" y="173331"/>
                    </a:cubicBezTo>
                    <a:lnTo>
                      <a:pt x="168344" y="150722"/>
                    </a:lnTo>
                    <a:cubicBezTo>
                      <a:pt x="168344" y="144278"/>
                      <a:pt x="170422" y="137944"/>
                      <a:pt x="174141" y="132701"/>
                    </a:cubicBezTo>
                    <a:lnTo>
                      <a:pt x="174141" y="101027"/>
                    </a:lnTo>
                    <a:cubicBezTo>
                      <a:pt x="174141" y="45326"/>
                      <a:pt x="219531" y="0"/>
                      <a:pt x="2753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îsḷíďé">
                <a:extLst>
                  <a:ext uri="{FF2B5EF4-FFF2-40B4-BE49-F238E27FC236}">
                    <a16:creationId xmlns:a16="http://schemas.microsoft.com/office/drawing/2014/main" id="{CF00BD7F-D552-4C04-935E-B85379EC07C4}"/>
                  </a:ext>
                </a:extLst>
              </p:cNvPr>
              <p:cNvSpPr/>
              <p:nvPr/>
            </p:nvSpPr>
            <p:spPr>
              <a:xfrm>
                <a:off x="734060" y="1975801"/>
                <a:ext cx="2746375" cy="838517"/>
              </a:xfrm>
              <a:prstGeom prst="rect">
                <a:avLst/>
              </a:prstGeom>
              <a:noFill/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sz="3200" b="1" dirty="0"/>
                  <a:t>局部变化</a:t>
                </a:r>
                <a:endParaRPr lang="en-US" altLang="zh-CN" sz="3200" b="1" dirty="0"/>
              </a:p>
            </p:txBody>
          </p:sp>
          <p:sp>
            <p:nvSpPr>
              <p:cNvPr id="17" name="îsḻíḓê">
                <a:extLst>
                  <a:ext uri="{FF2B5EF4-FFF2-40B4-BE49-F238E27FC236}">
                    <a16:creationId xmlns:a16="http://schemas.microsoft.com/office/drawing/2014/main" id="{D567CE89-C04A-425A-9E2F-7388C0A4C7F2}"/>
                  </a:ext>
                </a:extLst>
              </p:cNvPr>
              <p:cNvSpPr/>
              <p:nvPr/>
            </p:nvSpPr>
            <p:spPr bwMode="auto">
              <a:xfrm>
                <a:off x="669925" y="3484879"/>
                <a:ext cx="2746375" cy="12929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endParaRPr lang="en-US" altLang="zh-CN" sz="1100" dirty="0"/>
              </a:p>
            </p:txBody>
          </p:sp>
        </p:grpSp>
        <p:grpSp>
          <p:nvGrpSpPr>
            <p:cNvPr id="7" name="îslïḑe">
              <a:extLst>
                <a:ext uri="{FF2B5EF4-FFF2-40B4-BE49-F238E27FC236}">
                  <a16:creationId xmlns:a16="http://schemas.microsoft.com/office/drawing/2014/main" id="{D2218E6E-F15B-431F-8248-624CCE321873}"/>
                </a:ext>
              </a:extLst>
            </p:cNvPr>
            <p:cNvGrpSpPr/>
            <p:nvPr/>
          </p:nvGrpSpPr>
          <p:grpSpPr>
            <a:xfrm>
              <a:off x="730885" y="1472059"/>
              <a:ext cx="6391279" cy="4420740"/>
              <a:chOff x="-2450691" y="1472059"/>
              <a:chExt cx="6391279" cy="4420740"/>
            </a:xfrm>
          </p:grpSpPr>
          <p:sp>
            <p:nvSpPr>
              <p:cNvPr id="9" name="íṥlíḑè">
                <a:extLst>
                  <a:ext uri="{FF2B5EF4-FFF2-40B4-BE49-F238E27FC236}">
                    <a16:creationId xmlns:a16="http://schemas.microsoft.com/office/drawing/2014/main" id="{6E0DD8B5-F59B-4141-8349-1F1602F67CC1}"/>
                  </a:ext>
                </a:extLst>
              </p:cNvPr>
              <p:cNvSpPr/>
              <p:nvPr/>
            </p:nvSpPr>
            <p:spPr>
              <a:xfrm>
                <a:off x="1935253" y="1472059"/>
                <a:ext cx="648788" cy="648788"/>
              </a:xfrm>
              <a:prstGeom prst="ellipse">
                <a:avLst/>
              </a:prstGeom>
              <a:solidFill>
                <a:schemeClr val="accent2"/>
              </a:solidFill>
              <a:ln w="38100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ïṣḻíḑê">
                <a:extLst>
                  <a:ext uri="{FF2B5EF4-FFF2-40B4-BE49-F238E27FC236}">
                    <a16:creationId xmlns:a16="http://schemas.microsoft.com/office/drawing/2014/main" id="{9D2A38A6-2A81-4969-8F48-0DF048297D2B}"/>
                  </a:ext>
                </a:extLst>
              </p:cNvPr>
              <p:cNvSpPr/>
              <p:nvPr/>
            </p:nvSpPr>
            <p:spPr>
              <a:xfrm>
                <a:off x="2061928" y="1591174"/>
                <a:ext cx="395439" cy="410558"/>
              </a:xfrm>
              <a:custGeom>
                <a:avLst/>
                <a:gdLst>
                  <a:gd name="connsiteX0" fmla="*/ 332623 w 583294"/>
                  <a:gd name="connsiteY0" fmla="*/ 296967 h 605593"/>
                  <a:gd name="connsiteX1" fmla="*/ 316983 w 583294"/>
                  <a:gd name="connsiteY1" fmla="*/ 302537 h 605593"/>
                  <a:gd name="connsiteX2" fmla="*/ 311624 w 583294"/>
                  <a:gd name="connsiteY2" fmla="*/ 308872 h 605593"/>
                  <a:gd name="connsiteX3" fmla="*/ 311624 w 583294"/>
                  <a:gd name="connsiteY3" fmla="*/ 325036 h 605593"/>
                  <a:gd name="connsiteX4" fmla="*/ 309108 w 583294"/>
                  <a:gd name="connsiteY4" fmla="*/ 326784 h 605593"/>
                  <a:gd name="connsiteX5" fmla="*/ 307467 w 583294"/>
                  <a:gd name="connsiteY5" fmla="*/ 331698 h 605593"/>
                  <a:gd name="connsiteX6" fmla="*/ 311077 w 583294"/>
                  <a:gd name="connsiteY6" fmla="*/ 366102 h 605593"/>
                  <a:gd name="connsiteX7" fmla="*/ 315780 w 583294"/>
                  <a:gd name="connsiteY7" fmla="*/ 371673 h 605593"/>
                  <a:gd name="connsiteX8" fmla="*/ 317530 w 583294"/>
                  <a:gd name="connsiteY8" fmla="*/ 371891 h 605593"/>
                  <a:gd name="connsiteX9" fmla="*/ 322670 w 583294"/>
                  <a:gd name="connsiteY9" fmla="*/ 369379 h 605593"/>
                  <a:gd name="connsiteX10" fmla="*/ 340826 w 583294"/>
                  <a:gd name="connsiteY10" fmla="*/ 345242 h 605593"/>
                  <a:gd name="connsiteX11" fmla="*/ 342139 w 583294"/>
                  <a:gd name="connsiteY11" fmla="*/ 341310 h 605593"/>
                  <a:gd name="connsiteX12" fmla="*/ 342139 w 583294"/>
                  <a:gd name="connsiteY12" fmla="*/ 302646 h 605593"/>
                  <a:gd name="connsiteX13" fmla="*/ 339076 w 583294"/>
                  <a:gd name="connsiteY13" fmla="*/ 297076 h 605593"/>
                  <a:gd name="connsiteX14" fmla="*/ 332623 w 583294"/>
                  <a:gd name="connsiteY14" fmla="*/ 296967 h 605593"/>
                  <a:gd name="connsiteX15" fmla="*/ 250702 w 583294"/>
                  <a:gd name="connsiteY15" fmla="*/ 296967 h 605593"/>
                  <a:gd name="connsiteX16" fmla="*/ 244249 w 583294"/>
                  <a:gd name="connsiteY16" fmla="*/ 297076 h 605593"/>
                  <a:gd name="connsiteX17" fmla="*/ 241187 w 583294"/>
                  <a:gd name="connsiteY17" fmla="*/ 302646 h 605593"/>
                  <a:gd name="connsiteX18" fmla="*/ 241077 w 583294"/>
                  <a:gd name="connsiteY18" fmla="*/ 341310 h 605593"/>
                  <a:gd name="connsiteX19" fmla="*/ 242390 w 583294"/>
                  <a:gd name="connsiteY19" fmla="*/ 345242 h 605593"/>
                  <a:gd name="connsiteX20" fmla="*/ 260655 w 583294"/>
                  <a:gd name="connsiteY20" fmla="*/ 369379 h 605593"/>
                  <a:gd name="connsiteX21" fmla="*/ 265796 w 583294"/>
                  <a:gd name="connsiteY21" fmla="*/ 371891 h 605593"/>
                  <a:gd name="connsiteX22" fmla="*/ 267546 w 583294"/>
                  <a:gd name="connsiteY22" fmla="*/ 371673 h 605593"/>
                  <a:gd name="connsiteX23" fmla="*/ 272249 w 583294"/>
                  <a:gd name="connsiteY23" fmla="*/ 366102 h 605593"/>
                  <a:gd name="connsiteX24" fmla="*/ 275858 w 583294"/>
                  <a:gd name="connsiteY24" fmla="*/ 331698 h 605593"/>
                  <a:gd name="connsiteX25" fmla="*/ 274218 w 583294"/>
                  <a:gd name="connsiteY25" fmla="*/ 326674 h 605593"/>
                  <a:gd name="connsiteX26" fmla="*/ 271702 w 583294"/>
                  <a:gd name="connsiteY26" fmla="*/ 325036 h 605593"/>
                  <a:gd name="connsiteX27" fmla="*/ 271702 w 583294"/>
                  <a:gd name="connsiteY27" fmla="*/ 308872 h 605593"/>
                  <a:gd name="connsiteX28" fmla="*/ 266343 w 583294"/>
                  <a:gd name="connsiteY28" fmla="*/ 302537 h 605593"/>
                  <a:gd name="connsiteX29" fmla="*/ 250702 w 583294"/>
                  <a:gd name="connsiteY29" fmla="*/ 296967 h 605593"/>
                  <a:gd name="connsiteX30" fmla="*/ 30625 w 583294"/>
                  <a:gd name="connsiteY30" fmla="*/ 270619 h 605593"/>
                  <a:gd name="connsiteX31" fmla="*/ 94718 w 583294"/>
                  <a:gd name="connsiteY31" fmla="*/ 270619 h 605593"/>
                  <a:gd name="connsiteX32" fmla="*/ 125343 w 583294"/>
                  <a:gd name="connsiteY32" fmla="*/ 301200 h 605593"/>
                  <a:gd name="connsiteX33" fmla="*/ 293999 w 583294"/>
                  <a:gd name="connsiteY33" fmla="*/ 469616 h 605593"/>
                  <a:gd name="connsiteX34" fmla="*/ 462654 w 583294"/>
                  <a:gd name="connsiteY34" fmla="*/ 301200 h 605593"/>
                  <a:gd name="connsiteX35" fmla="*/ 493279 w 583294"/>
                  <a:gd name="connsiteY35" fmla="*/ 270619 h 605593"/>
                  <a:gd name="connsiteX36" fmla="*/ 552669 w 583294"/>
                  <a:gd name="connsiteY36" fmla="*/ 270619 h 605593"/>
                  <a:gd name="connsiteX37" fmla="*/ 583294 w 583294"/>
                  <a:gd name="connsiteY37" fmla="*/ 301200 h 605593"/>
                  <a:gd name="connsiteX38" fmla="*/ 552669 w 583294"/>
                  <a:gd name="connsiteY38" fmla="*/ 331782 h 605593"/>
                  <a:gd name="connsiteX39" fmla="*/ 521935 w 583294"/>
                  <a:gd name="connsiteY39" fmla="*/ 331782 h 605593"/>
                  <a:gd name="connsiteX40" fmla="*/ 478513 w 583294"/>
                  <a:gd name="connsiteY40" fmla="*/ 438052 h 605593"/>
                  <a:gd name="connsiteX41" fmla="*/ 504982 w 583294"/>
                  <a:gd name="connsiteY41" fmla="*/ 464592 h 605593"/>
                  <a:gd name="connsiteX42" fmla="*/ 504982 w 583294"/>
                  <a:gd name="connsiteY42" fmla="*/ 507842 h 605593"/>
                  <a:gd name="connsiteX43" fmla="*/ 483326 w 583294"/>
                  <a:gd name="connsiteY43" fmla="*/ 516798 h 605593"/>
                  <a:gd name="connsiteX44" fmla="*/ 461670 w 583294"/>
                  <a:gd name="connsiteY44" fmla="*/ 507842 h 605593"/>
                  <a:gd name="connsiteX45" fmla="*/ 435638 w 583294"/>
                  <a:gd name="connsiteY45" fmla="*/ 481957 h 605593"/>
                  <a:gd name="connsiteX46" fmla="*/ 322327 w 583294"/>
                  <a:gd name="connsiteY46" fmla="*/ 529140 h 605593"/>
                  <a:gd name="connsiteX47" fmla="*/ 322327 w 583294"/>
                  <a:gd name="connsiteY47" fmla="*/ 575012 h 605593"/>
                  <a:gd name="connsiteX48" fmla="*/ 291592 w 583294"/>
                  <a:gd name="connsiteY48" fmla="*/ 605593 h 605593"/>
                  <a:gd name="connsiteX49" fmla="*/ 260967 w 583294"/>
                  <a:gd name="connsiteY49" fmla="*/ 575012 h 605593"/>
                  <a:gd name="connsiteX50" fmla="*/ 260967 w 583294"/>
                  <a:gd name="connsiteY50" fmla="*/ 528485 h 605593"/>
                  <a:gd name="connsiteX51" fmla="*/ 149624 w 583294"/>
                  <a:gd name="connsiteY51" fmla="*/ 479882 h 605593"/>
                  <a:gd name="connsiteX52" fmla="*/ 121624 w 583294"/>
                  <a:gd name="connsiteY52" fmla="*/ 507842 h 605593"/>
                  <a:gd name="connsiteX53" fmla="*/ 99968 w 583294"/>
                  <a:gd name="connsiteY53" fmla="*/ 516798 h 605593"/>
                  <a:gd name="connsiteX54" fmla="*/ 78312 w 583294"/>
                  <a:gd name="connsiteY54" fmla="*/ 507842 h 605593"/>
                  <a:gd name="connsiteX55" fmla="*/ 78312 w 583294"/>
                  <a:gd name="connsiteY55" fmla="*/ 464592 h 605593"/>
                  <a:gd name="connsiteX56" fmla="*/ 107515 w 583294"/>
                  <a:gd name="connsiteY56" fmla="*/ 435430 h 605593"/>
                  <a:gd name="connsiteX57" fmla="*/ 66062 w 583294"/>
                  <a:gd name="connsiteY57" fmla="*/ 331782 h 605593"/>
                  <a:gd name="connsiteX58" fmla="*/ 30625 w 583294"/>
                  <a:gd name="connsiteY58" fmla="*/ 331782 h 605593"/>
                  <a:gd name="connsiteX59" fmla="*/ 0 w 583294"/>
                  <a:gd name="connsiteY59" fmla="*/ 301200 h 605593"/>
                  <a:gd name="connsiteX60" fmla="*/ 30625 w 583294"/>
                  <a:gd name="connsiteY60" fmla="*/ 270619 h 605593"/>
                  <a:gd name="connsiteX61" fmla="*/ 260655 w 583294"/>
                  <a:gd name="connsiteY61" fmla="*/ 122871 h 605593"/>
                  <a:gd name="connsiteX62" fmla="*/ 215703 w 583294"/>
                  <a:gd name="connsiteY62" fmla="*/ 134776 h 605593"/>
                  <a:gd name="connsiteX63" fmla="*/ 212093 w 583294"/>
                  <a:gd name="connsiteY63" fmla="*/ 140565 h 605593"/>
                  <a:gd name="connsiteX64" fmla="*/ 212093 w 583294"/>
                  <a:gd name="connsiteY64" fmla="*/ 152142 h 605593"/>
                  <a:gd name="connsiteX65" fmla="*/ 209468 w 583294"/>
                  <a:gd name="connsiteY65" fmla="*/ 152142 h 605593"/>
                  <a:gd name="connsiteX66" fmla="*/ 203015 w 583294"/>
                  <a:gd name="connsiteY66" fmla="*/ 158586 h 605593"/>
                  <a:gd name="connsiteX67" fmla="*/ 203015 w 583294"/>
                  <a:gd name="connsiteY67" fmla="*/ 169289 h 605593"/>
                  <a:gd name="connsiteX68" fmla="*/ 205969 w 583294"/>
                  <a:gd name="connsiteY68" fmla="*/ 174641 h 605593"/>
                  <a:gd name="connsiteX69" fmla="*/ 212203 w 583294"/>
                  <a:gd name="connsiteY69" fmla="*/ 178791 h 605593"/>
                  <a:gd name="connsiteX70" fmla="*/ 212640 w 583294"/>
                  <a:gd name="connsiteY70" fmla="*/ 181413 h 605593"/>
                  <a:gd name="connsiteX71" fmla="*/ 235828 w 583294"/>
                  <a:gd name="connsiteY71" fmla="*/ 235039 h 605593"/>
                  <a:gd name="connsiteX72" fmla="*/ 274218 w 583294"/>
                  <a:gd name="connsiteY72" fmla="*/ 268242 h 605593"/>
                  <a:gd name="connsiteX73" fmla="*/ 309108 w 583294"/>
                  <a:gd name="connsiteY73" fmla="*/ 268242 h 605593"/>
                  <a:gd name="connsiteX74" fmla="*/ 347498 w 583294"/>
                  <a:gd name="connsiteY74" fmla="*/ 235039 h 605593"/>
                  <a:gd name="connsiteX75" fmla="*/ 370685 w 583294"/>
                  <a:gd name="connsiteY75" fmla="*/ 181413 h 605593"/>
                  <a:gd name="connsiteX76" fmla="*/ 371123 w 583294"/>
                  <a:gd name="connsiteY76" fmla="*/ 178791 h 605593"/>
                  <a:gd name="connsiteX77" fmla="*/ 377357 w 583294"/>
                  <a:gd name="connsiteY77" fmla="*/ 174641 h 605593"/>
                  <a:gd name="connsiteX78" fmla="*/ 380310 w 583294"/>
                  <a:gd name="connsiteY78" fmla="*/ 169289 h 605593"/>
                  <a:gd name="connsiteX79" fmla="*/ 380310 w 583294"/>
                  <a:gd name="connsiteY79" fmla="*/ 158586 h 605593"/>
                  <a:gd name="connsiteX80" fmla="*/ 373857 w 583294"/>
                  <a:gd name="connsiteY80" fmla="*/ 152142 h 605593"/>
                  <a:gd name="connsiteX81" fmla="*/ 370248 w 583294"/>
                  <a:gd name="connsiteY81" fmla="*/ 152142 h 605593"/>
                  <a:gd name="connsiteX82" fmla="*/ 368279 w 583294"/>
                  <a:gd name="connsiteY82" fmla="*/ 149958 h 605593"/>
                  <a:gd name="connsiteX83" fmla="*/ 362045 w 583294"/>
                  <a:gd name="connsiteY83" fmla="*/ 149521 h 605593"/>
                  <a:gd name="connsiteX84" fmla="*/ 336451 w 583294"/>
                  <a:gd name="connsiteY84" fmla="*/ 155309 h 605593"/>
                  <a:gd name="connsiteX85" fmla="*/ 296749 w 583294"/>
                  <a:gd name="connsiteY85" fmla="*/ 137288 h 605593"/>
                  <a:gd name="connsiteX86" fmla="*/ 260655 w 583294"/>
                  <a:gd name="connsiteY86" fmla="*/ 122871 h 605593"/>
                  <a:gd name="connsiteX87" fmla="*/ 275311 w 583294"/>
                  <a:gd name="connsiteY87" fmla="*/ 0 h 605593"/>
                  <a:gd name="connsiteX88" fmla="*/ 308014 w 583294"/>
                  <a:gd name="connsiteY88" fmla="*/ 0 h 605593"/>
                  <a:gd name="connsiteX89" fmla="*/ 409185 w 583294"/>
                  <a:gd name="connsiteY89" fmla="*/ 101027 h 605593"/>
                  <a:gd name="connsiteX90" fmla="*/ 409185 w 583294"/>
                  <a:gd name="connsiteY90" fmla="*/ 132701 h 605593"/>
                  <a:gd name="connsiteX91" fmla="*/ 414982 w 583294"/>
                  <a:gd name="connsiteY91" fmla="*/ 150722 h 605593"/>
                  <a:gd name="connsiteX92" fmla="*/ 414982 w 583294"/>
                  <a:gd name="connsiteY92" fmla="*/ 173331 h 605593"/>
                  <a:gd name="connsiteX93" fmla="*/ 403826 w 583294"/>
                  <a:gd name="connsiteY93" fmla="*/ 197140 h 605593"/>
                  <a:gd name="connsiteX94" fmla="*/ 397263 w 583294"/>
                  <a:gd name="connsiteY94" fmla="*/ 214288 h 605593"/>
                  <a:gd name="connsiteX95" fmla="*/ 375498 w 583294"/>
                  <a:gd name="connsiteY95" fmla="*/ 255136 h 605593"/>
                  <a:gd name="connsiteX96" fmla="*/ 360732 w 583294"/>
                  <a:gd name="connsiteY96" fmla="*/ 273922 h 605593"/>
                  <a:gd name="connsiteX97" fmla="*/ 371670 w 583294"/>
                  <a:gd name="connsiteY97" fmla="*/ 287574 h 605593"/>
                  <a:gd name="connsiteX98" fmla="*/ 432919 w 583294"/>
                  <a:gd name="connsiteY98" fmla="*/ 306141 h 605593"/>
                  <a:gd name="connsiteX99" fmla="*/ 294014 w 583294"/>
                  <a:gd name="connsiteY99" fmla="*/ 433272 h 605593"/>
                  <a:gd name="connsiteX100" fmla="*/ 154891 w 583294"/>
                  <a:gd name="connsiteY100" fmla="*/ 304721 h 605593"/>
                  <a:gd name="connsiteX101" fmla="*/ 211656 w 583294"/>
                  <a:gd name="connsiteY101" fmla="*/ 287574 h 605593"/>
                  <a:gd name="connsiteX102" fmla="*/ 222593 w 583294"/>
                  <a:gd name="connsiteY102" fmla="*/ 273922 h 605593"/>
                  <a:gd name="connsiteX103" fmla="*/ 207828 w 583294"/>
                  <a:gd name="connsiteY103" fmla="*/ 255136 h 605593"/>
                  <a:gd name="connsiteX104" fmla="*/ 186063 w 583294"/>
                  <a:gd name="connsiteY104" fmla="*/ 214288 h 605593"/>
                  <a:gd name="connsiteX105" fmla="*/ 179500 w 583294"/>
                  <a:gd name="connsiteY105" fmla="*/ 197140 h 605593"/>
                  <a:gd name="connsiteX106" fmla="*/ 168344 w 583294"/>
                  <a:gd name="connsiteY106" fmla="*/ 173331 h 605593"/>
                  <a:gd name="connsiteX107" fmla="*/ 168344 w 583294"/>
                  <a:gd name="connsiteY107" fmla="*/ 150722 h 605593"/>
                  <a:gd name="connsiteX108" fmla="*/ 174141 w 583294"/>
                  <a:gd name="connsiteY108" fmla="*/ 132701 h 605593"/>
                  <a:gd name="connsiteX109" fmla="*/ 174141 w 583294"/>
                  <a:gd name="connsiteY109" fmla="*/ 101027 h 605593"/>
                  <a:gd name="connsiteX110" fmla="*/ 275311 w 583294"/>
                  <a:gd name="connsiteY110" fmla="*/ 0 h 605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</a:cxnLst>
                <a:rect l="l" t="t" r="r" b="b"/>
                <a:pathLst>
                  <a:path w="583294" h="605593">
                    <a:moveTo>
                      <a:pt x="332623" y="296967"/>
                    </a:moveTo>
                    <a:cubicBezTo>
                      <a:pt x="327373" y="299697"/>
                      <a:pt x="322123" y="301663"/>
                      <a:pt x="316983" y="302537"/>
                    </a:cubicBezTo>
                    <a:cubicBezTo>
                      <a:pt x="313811" y="303083"/>
                      <a:pt x="311624" y="305814"/>
                      <a:pt x="311624" y="308872"/>
                    </a:cubicBezTo>
                    <a:lnTo>
                      <a:pt x="311624" y="325036"/>
                    </a:lnTo>
                    <a:cubicBezTo>
                      <a:pt x="310639" y="325364"/>
                      <a:pt x="309874" y="326019"/>
                      <a:pt x="309108" y="326784"/>
                    </a:cubicBezTo>
                    <a:cubicBezTo>
                      <a:pt x="307905" y="328094"/>
                      <a:pt x="307358" y="329951"/>
                      <a:pt x="307467" y="331698"/>
                    </a:cubicBezTo>
                    <a:lnTo>
                      <a:pt x="311077" y="366102"/>
                    </a:lnTo>
                    <a:cubicBezTo>
                      <a:pt x="311295" y="368724"/>
                      <a:pt x="313155" y="371017"/>
                      <a:pt x="315780" y="371673"/>
                    </a:cubicBezTo>
                    <a:cubicBezTo>
                      <a:pt x="316327" y="371891"/>
                      <a:pt x="316983" y="371891"/>
                      <a:pt x="317530" y="371891"/>
                    </a:cubicBezTo>
                    <a:cubicBezTo>
                      <a:pt x="319498" y="371891"/>
                      <a:pt x="321467" y="371017"/>
                      <a:pt x="322670" y="369379"/>
                    </a:cubicBezTo>
                    <a:lnTo>
                      <a:pt x="340826" y="345242"/>
                    </a:lnTo>
                    <a:cubicBezTo>
                      <a:pt x="341701" y="344149"/>
                      <a:pt x="342139" y="342730"/>
                      <a:pt x="342139" y="341310"/>
                    </a:cubicBezTo>
                    <a:lnTo>
                      <a:pt x="342139" y="302646"/>
                    </a:lnTo>
                    <a:cubicBezTo>
                      <a:pt x="342139" y="300353"/>
                      <a:pt x="340936" y="298277"/>
                      <a:pt x="339076" y="297076"/>
                    </a:cubicBezTo>
                    <a:cubicBezTo>
                      <a:pt x="337108" y="295984"/>
                      <a:pt x="334701" y="295875"/>
                      <a:pt x="332623" y="296967"/>
                    </a:cubicBezTo>
                    <a:close/>
                    <a:moveTo>
                      <a:pt x="250702" y="296967"/>
                    </a:moveTo>
                    <a:cubicBezTo>
                      <a:pt x="248624" y="295875"/>
                      <a:pt x="246218" y="295984"/>
                      <a:pt x="244249" y="297076"/>
                    </a:cubicBezTo>
                    <a:cubicBezTo>
                      <a:pt x="242281" y="298277"/>
                      <a:pt x="241187" y="300353"/>
                      <a:pt x="241187" y="302646"/>
                    </a:cubicBezTo>
                    <a:lnTo>
                      <a:pt x="241077" y="341310"/>
                    </a:lnTo>
                    <a:cubicBezTo>
                      <a:pt x="241077" y="342730"/>
                      <a:pt x="241624" y="344149"/>
                      <a:pt x="242390" y="345242"/>
                    </a:cubicBezTo>
                    <a:lnTo>
                      <a:pt x="260655" y="369379"/>
                    </a:lnTo>
                    <a:cubicBezTo>
                      <a:pt x="261859" y="371017"/>
                      <a:pt x="263827" y="371891"/>
                      <a:pt x="265796" y="371891"/>
                    </a:cubicBezTo>
                    <a:cubicBezTo>
                      <a:pt x="266343" y="371891"/>
                      <a:pt x="266999" y="371891"/>
                      <a:pt x="267546" y="371673"/>
                    </a:cubicBezTo>
                    <a:cubicBezTo>
                      <a:pt x="270171" y="371017"/>
                      <a:pt x="272030" y="368833"/>
                      <a:pt x="272249" y="366102"/>
                    </a:cubicBezTo>
                    <a:lnTo>
                      <a:pt x="275858" y="331698"/>
                    </a:lnTo>
                    <a:cubicBezTo>
                      <a:pt x="275968" y="329951"/>
                      <a:pt x="275421" y="328094"/>
                      <a:pt x="274218" y="326674"/>
                    </a:cubicBezTo>
                    <a:cubicBezTo>
                      <a:pt x="273452" y="326019"/>
                      <a:pt x="272687" y="325364"/>
                      <a:pt x="271702" y="325036"/>
                    </a:cubicBezTo>
                    <a:lnTo>
                      <a:pt x="271702" y="308872"/>
                    </a:lnTo>
                    <a:cubicBezTo>
                      <a:pt x="271702" y="305814"/>
                      <a:pt x="269515" y="303083"/>
                      <a:pt x="266343" y="302537"/>
                    </a:cubicBezTo>
                    <a:cubicBezTo>
                      <a:pt x="261202" y="301663"/>
                      <a:pt x="255952" y="299697"/>
                      <a:pt x="250702" y="296967"/>
                    </a:cubicBezTo>
                    <a:close/>
                    <a:moveTo>
                      <a:pt x="30625" y="270619"/>
                    </a:moveTo>
                    <a:lnTo>
                      <a:pt x="94718" y="270619"/>
                    </a:lnTo>
                    <a:cubicBezTo>
                      <a:pt x="111562" y="270619"/>
                      <a:pt x="125343" y="284271"/>
                      <a:pt x="125343" y="301200"/>
                    </a:cubicBezTo>
                    <a:cubicBezTo>
                      <a:pt x="125343" y="394036"/>
                      <a:pt x="201030" y="469616"/>
                      <a:pt x="293999" y="469616"/>
                    </a:cubicBezTo>
                    <a:cubicBezTo>
                      <a:pt x="386967" y="469616"/>
                      <a:pt x="462654" y="394036"/>
                      <a:pt x="462654" y="301200"/>
                    </a:cubicBezTo>
                    <a:cubicBezTo>
                      <a:pt x="462654" y="284271"/>
                      <a:pt x="476326" y="270619"/>
                      <a:pt x="493279" y="270619"/>
                    </a:cubicBezTo>
                    <a:lnTo>
                      <a:pt x="552669" y="270619"/>
                    </a:lnTo>
                    <a:cubicBezTo>
                      <a:pt x="569622" y="270619"/>
                      <a:pt x="583294" y="284271"/>
                      <a:pt x="583294" y="301200"/>
                    </a:cubicBezTo>
                    <a:cubicBezTo>
                      <a:pt x="583294" y="318129"/>
                      <a:pt x="569622" y="331782"/>
                      <a:pt x="552669" y="331782"/>
                    </a:cubicBezTo>
                    <a:lnTo>
                      <a:pt x="521935" y="331782"/>
                    </a:lnTo>
                    <a:cubicBezTo>
                      <a:pt x="516576" y="371319"/>
                      <a:pt x="501263" y="407579"/>
                      <a:pt x="478513" y="438052"/>
                    </a:cubicBezTo>
                    <a:lnTo>
                      <a:pt x="504982" y="464592"/>
                    </a:lnTo>
                    <a:cubicBezTo>
                      <a:pt x="516904" y="476497"/>
                      <a:pt x="516904" y="495937"/>
                      <a:pt x="504982" y="507842"/>
                    </a:cubicBezTo>
                    <a:cubicBezTo>
                      <a:pt x="498966" y="513849"/>
                      <a:pt x="491091" y="516798"/>
                      <a:pt x="483326" y="516798"/>
                    </a:cubicBezTo>
                    <a:cubicBezTo>
                      <a:pt x="475451" y="516798"/>
                      <a:pt x="467576" y="513849"/>
                      <a:pt x="461670" y="507842"/>
                    </a:cubicBezTo>
                    <a:lnTo>
                      <a:pt x="435638" y="481957"/>
                    </a:lnTo>
                    <a:cubicBezTo>
                      <a:pt x="403592" y="507078"/>
                      <a:pt x="364764" y="523897"/>
                      <a:pt x="322327" y="529140"/>
                    </a:cubicBezTo>
                    <a:lnTo>
                      <a:pt x="322327" y="575012"/>
                    </a:lnTo>
                    <a:cubicBezTo>
                      <a:pt x="322327" y="591832"/>
                      <a:pt x="308545" y="605593"/>
                      <a:pt x="291592" y="605593"/>
                    </a:cubicBezTo>
                    <a:cubicBezTo>
                      <a:pt x="274749" y="605593"/>
                      <a:pt x="260967" y="591832"/>
                      <a:pt x="260967" y="575012"/>
                    </a:cubicBezTo>
                    <a:lnTo>
                      <a:pt x="260967" y="528485"/>
                    </a:lnTo>
                    <a:cubicBezTo>
                      <a:pt x="219186" y="522478"/>
                      <a:pt x="181015" y="505221"/>
                      <a:pt x="149624" y="479882"/>
                    </a:cubicBezTo>
                    <a:lnTo>
                      <a:pt x="121624" y="507842"/>
                    </a:lnTo>
                    <a:cubicBezTo>
                      <a:pt x="115718" y="513849"/>
                      <a:pt x="107843" y="516798"/>
                      <a:pt x="99968" y="516798"/>
                    </a:cubicBezTo>
                    <a:cubicBezTo>
                      <a:pt x="92093" y="516798"/>
                      <a:pt x="84328" y="513849"/>
                      <a:pt x="78312" y="507842"/>
                    </a:cubicBezTo>
                    <a:cubicBezTo>
                      <a:pt x="66281" y="495937"/>
                      <a:pt x="66281" y="476497"/>
                      <a:pt x="78312" y="464592"/>
                    </a:cubicBezTo>
                    <a:lnTo>
                      <a:pt x="107515" y="435430"/>
                    </a:lnTo>
                    <a:cubicBezTo>
                      <a:pt x="85859" y="405504"/>
                      <a:pt x="71203" y="370117"/>
                      <a:pt x="66062" y="331782"/>
                    </a:cubicBezTo>
                    <a:lnTo>
                      <a:pt x="30625" y="331782"/>
                    </a:lnTo>
                    <a:cubicBezTo>
                      <a:pt x="13672" y="331782"/>
                      <a:pt x="0" y="318129"/>
                      <a:pt x="0" y="301200"/>
                    </a:cubicBezTo>
                    <a:cubicBezTo>
                      <a:pt x="0" y="284271"/>
                      <a:pt x="13672" y="270619"/>
                      <a:pt x="30625" y="270619"/>
                    </a:cubicBezTo>
                    <a:close/>
                    <a:moveTo>
                      <a:pt x="260655" y="122871"/>
                    </a:moveTo>
                    <a:cubicBezTo>
                      <a:pt x="242390" y="122871"/>
                      <a:pt x="224671" y="130298"/>
                      <a:pt x="215703" y="134776"/>
                    </a:cubicBezTo>
                    <a:cubicBezTo>
                      <a:pt x="213515" y="135868"/>
                      <a:pt x="212093" y="138162"/>
                      <a:pt x="212093" y="140565"/>
                    </a:cubicBezTo>
                    <a:lnTo>
                      <a:pt x="212093" y="152142"/>
                    </a:lnTo>
                    <a:lnTo>
                      <a:pt x="209468" y="152142"/>
                    </a:lnTo>
                    <a:cubicBezTo>
                      <a:pt x="205859" y="152142"/>
                      <a:pt x="203015" y="154982"/>
                      <a:pt x="203015" y="158586"/>
                    </a:cubicBezTo>
                    <a:lnTo>
                      <a:pt x="203015" y="169289"/>
                    </a:lnTo>
                    <a:cubicBezTo>
                      <a:pt x="203015" y="171474"/>
                      <a:pt x="204109" y="173440"/>
                      <a:pt x="205969" y="174641"/>
                    </a:cubicBezTo>
                    <a:lnTo>
                      <a:pt x="212203" y="178791"/>
                    </a:lnTo>
                    <a:lnTo>
                      <a:pt x="212640" y="181413"/>
                    </a:lnTo>
                    <a:cubicBezTo>
                      <a:pt x="214609" y="196922"/>
                      <a:pt x="223359" y="216909"/>
                      <a:pt x="235828" y="235039"/>
                    </a:cubicBezTo>
                    <a:cubicBezTo>
                      <a:pt x="251687" y="257975"/>
                      <a:pt x="266562" y="268242"/>
                      <a:pt x="274218" y="268242"/>
                    </a:cubicBezTo>
                    <a:lnTo>
                      <a:pt x="309108" y="268242"/>
                    </a:lnTo>
                    <a:cubicBezTo>
                      <a:pt x="316764" y="268242"/>
                      <a:pt x="331639" y="257975"/>
                      <a:pt x="347498" y="235039"/>
                    </a:cubicBezTo>
                    <a:cubicBezTo>
                      <a:pt x="359967" y="216909"/>
                      <a:pt x="368717" y="196922"/>
                      <a:pt x="370685" y="181413"/>
                    </a:cubicBezTo>
                    <a:lnTo>
                      <a:pt x="371123" y="178791"/>
                    </a:lnTo>
                    <a:lnTo>
                      <a:pt x="377357" y="174641"/>
                    </a:lnTo>
                    <a:cubicBezTo>
                      <a:pt x="379217" y="173440"/>
                      <a:pt x="380310" y="171474"/>
                      <a:pt x="380310" y="169289"/>
                    </a:cubicBezTo>
                    <a:lnTo>
                      <a:pt x="380310" y="158586"/>
                    </a:lnTo>
                    <a:cubicBezTo>
                      <a:pt x="380310" y="154982"/>
                      <a:pt x="377357" y="152142"/>
                      <a:pt x="373857" y="152142"/>
                    </a:cubicBezTo>
                    <a:lnTo>
                      <a:pt x="370248" y="152142"/>
                    </a:lnTo>
                    <a:cubicBezTo>
                      <a:pt x="369810" y="151268"/>
                      <a:pt x="369045" y="150504"/>
                      <a:pt x="368279" y="149958"/>
                    </a:cubicBezTo>
                    <a:cubicBezTo>
                      <a:pt x="366420" y="148756"/>
                      <a:pt x="364014" y="148538"/>
                      <a:pt x="362045" y="149521"/>
                    </a:cubicBezTo>
                    <a:cubicBezTo>
                      <a:pt x="353404" y="153343"/>
                      <a:pt x="344764" y="155309"/>
                      <a:pt x="336451" y="155309"/>
                    </a:cubicBezTo>
                    <a:cubicBezTo>
                      <a:pt x="321686" y="155309"/>
                      <a:pt x="308342" y="149302"/>
                      <a:pt x="296749" y="137288"/>
                    </a:cubicBezTo>
                    <a:cubicBezTo>
                      <a:pt x="287452" y="127786"/>
                      <a:pt x="275311" y="122871"/>
                      <a:pt x="260655" y="122871"/>
                    </a:cubicBezTo>
                    <a:close/>
                    <a:moveTo>
                      <a:pt x="275311" y="0"/>
                    </a:moveTo>
                    <a:lnTo>
                      <a:pt x="308014" y="0"/>
                    </a:lnTo>
                    <a:cubicBezTo>
                      <a:pt x="363795" y="0"/>
                      <a:pt x="409185" y="45326"/>
                      <a:pt x="409185" y="101027"/>
                    </a:cubicBezTo>
                    <a:lnTo>
                      <a:pt x="409185" y="132701"/>
                    </a:lnTo>
                    <a:cubicBezTo>
                      <a:pt x="412904" y="137944"/>
                      <a:pt x="414982" y="144278"/>
                      <a:pt x="414982" y="150722"/>
                    </a:cubicBezTo>
                    <a:lnTo>
                      <a:pt x="414982" y="173331"/>
                    </a:lnTo>
                    <a:cubicBezTo>
                      <a:pt x="414982" y="182505"/>
                      <a:pt x="410826" y="191352"/>
                      <a:pt x="403826" y="197140"/>
                    </a:cubicBezTo>
                    <a:cubicBezTo>
                      <a:pt x="402076" y="202820"/>
                      <a:pt x="399888" y="208608"/>
                      <a:pt x="397263" y="214288"/>
                    </a:cubicBezTo>
                    <a:cubicBezTo>
                      <a:pt x="392013" y="227940"/>
                      <a:pt x="384576" y="242029"/>
                      <a:pt x="375498" y="255136"/>
                    </a:cubicBezTo>
                    <a:cubicBezTo>
                      <a:pt x="371670" y="260706"/>
                      <a:pt x="366639" y="267368"/>
                      <a:pt x="360732" y="273922"/>
                    </a:cubicBezTo>
                    <a:cubicBezTo>
                      <a:pt x="366092" y="277853"/>
                      <a:pt x="370029" y="282331"/>
                      <a:pt x="371670" y="287574"/>
                    </a:cubicBezTo>
                    <a:lnTo>
                      <a:pt x="432919" y="306141"/>
                    </a:lnTo>
                    <a:cubicBezTo>
                      <a:pt x="426685" y="377243"/>
                      <a:pt x="366748" y="433272"/>
                      <a:pt x="294014" y="433272"/>
                    </a:cubicBezTo>
                    <a:cubicBezTo>
                      <a:pt x="220734" y="433272"/>
                      <a:pt x="160469" y="376478"/>
                      <a:pt x="154891" y="304721"/>
                    </a:cubicBezTo>
                    <a:lnTo>
                      <a:pt x="211656" y="287574"/>
                    </a:lnTo>
                    <a:cubicBezTo>
                      <a:pt x="213297" y="282331"/>
                      <a:pt x="217234" y="277853"/>
                      <a:pt x="222593" y="273922"/>
                    </a:cubicBezTo>
                    <a:cubicBezTo>
                      <a:pt x="216687" y="267368"/>
                      <a:pt x="211656" y="260706"/>
                      <a:pt x="207828" y="255136"/>
                    </a:cubicBezTo>
                    <a:cubicBezTo>
                      <a:pt x="198750" y="242029"/>
                      <a:pt x="191312" y="227940"/>
                      <a:pt x="186063" y="214288"/>
                    </a:cubicBezTo>
                    <a:cubicBezTo>
                      <a:pt x="183438" y="208608"/>
                      <a:pt x="181250" y="202820"/>
                      <a:pt x="179500" y="197140"/>
                    </a:cubicBezTo>
                    <a:cubicBezTo>
                      <a:pt x="172500" y="191242"/>
                      <a:pt x="168344" y="182505"/>
                      <a:pt x="168344" y="173331"/>
                    </a:cubicBezTo>
                    <a:lnTo>
                      <a:pt x="168344" y="150722"/>
                    </a:lnTo>
                    <a:cubicBezTo>
                      <a:pt x="168344" y="144278"/>
                      <a:pt x="170422" y="137944"/>
                      <a:pt x="174141" y="132701"/>
                    </a:cubicBezTo>
                    <a:lnTo>
                      <a:pt x="174141" y="101027"/>
                    </a:lnTo>
                    <a:cubicBezTo>
                      <a:pt x="174141" y="45326"/>
                      <a:pt x="219531" y="0"/>
                      <a:pt x="2753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" name="ïṥļïḋe">
                <a:extLst>
                  <a:ext uri="{FF2B5EF4-FFF2-40B4-BE49-F238E27FC236}">
                    <a16:creationId xmlns:a16="http://schemas.microsoft.com/office/drawing/2014/main" id="{113FE951-993B-4677-A766-15D435E0A275}"/>
                  </a:ext>
                </a:extLst>
              </p:cNvPr>
              <p:cNvSpPr/>
              <p:nvPr/>
            </p:nvSpPr>
            <p:spPr>
              <a:xfrm>
                <a:off x="896620" y="1985961"/>
                <a:ext cx="2746375" cy="838517"/>
              </a:xfrm>
              <a:prstGeom prst="rect">
                <a:avLst/>
              </a:prstGeom>
              <a:noFill/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sz="3200" b="1" dirty="0"/>
                  <a:t>全身变化</a:t>
                </a:r>
                <a:endParaRPr lang="en-US" altLang="zh-CN" sz="3200" b="1" dirty="0"/>
              </a:p>
            </p:txBody>
          </p:sp>
          <p:sp>
            <p:nvSpPr>
              <p:cNvPr id="12" name="iṣḻiḑe">
                <a:extLst>
                  <a:ext uri="{FF2B5EF4-FFF2-40B4-BE49-F238E27FC236}">
                    <a16:creationId xmlns:a16="http://schemas.microsoft.com/office/drawing/2014/main" id="{14E1B2E1-49FD-4BEC-A5B9-761AF1219E2A}"/>
                  </a:ext>
                </a:extLst>
              </p:cNvPr>
              <p:cNvSpPr/>
              <p:nvPr/>
            </p:nvSpPr>
            <p:spPr bwMode="auto">
              <a:xfrm>
                <a:off x="530860" y="2765165"/>
                <a:ext cx="3409728" cy="31276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200000"/>
                  </a:lnSpc>
                </a:pPr>
                <a:r>
                  <a:rPr lang="zh-CN" altLang="en-US" sz="2400" b="1" dirty="0">
                    <a:solidFill>
                      <a:srgbClr val="002060"/>
                    </a:solidFill>
                  </a:rPr>
                  <a:t>水、电解质和酸碱失衡</a:t>
                </a:r>
                <a:endParaRPr lang="en-US" altLang="zh-CN" sz="2400" b="1" dirty="0">
                  <a:solidFill>
                    <a:srgbClr val="002060"/>
                  </a:solidFill>
                </a:endParaRPr>
              </a:p>
              <a:p>
                <a:pPr algn="ctr">
                  <a:lnSpc>
                    <a:spcPct val="200000"/>
                  </a:lnSpc>
                </a:pPr>
                <a:r>
                  <a:rPr lang="zh-CN" altLang="en-US" sz="2400" b="1" dirty="0">
                    <a:solidFill>
                      <a:srgbClr val="002060"/>
                    </a:solidFill>
                  </a:rPr>
                  <a:t>感染和中毒</a:t>
                </a:r>
                <a:endParaRPr lang="en-US" altLang="zh-CN" sz="2400" b="1" dirty="0">
                  <a:solidFill>
                    <a:srgbClr val="002060"/>
                  </a:solidFill>
                </a:endParaRPr>
              </a:p>
              <a:p>
                <a:pPr algn="ctr">
                  <a:lnSpc>
                    <a:spcPct val="200000"/>
                  </a:lnSpc>
                </a:pPr>
                <a:r>
                  <a:rPr lang="zh-CN" altLang="en-US" sz="2400" b="1" dirty="0">
                    <a:solidFill>
                      <a:srgbClr val="002060"/>
                    </a:solidFill>
                  </a:rPr>
                  <a:t>休克和中毒</a:t>
                </a:r>
                <a:endParaRPr lang="en-US" altLang="zh-CN" sz="2400" b="1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13" name="îŝ1iḍê">
                <a:extLst>
                  <a:ext uri="{FF2B5EF4-FFF2-40B4-BE49-F238E27FC236}">
                    <a16:creationId xmlns:a16="http://schemas.microsoft.com/office/drawing/2014/main" id="{537E3D6D-61AA-4EFD-8FFC-FA807B4B729D}"/>
                  </a:ext>
                </a:extLst>
              </p:cNvPr>
              <p:cNvSpPr/>
              <p:nvPr/>
            </p:nvSpPr>
            <p:spPr bwMode="auto">
              <a:xfrm>
                <a:off x="-2450691" y="2786501"/>
                <a:ext cx="2746375" cy="22122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200000"/>
                  </a:lnSpc>
                </a:pPr>
                <a:r>
                  <a:rPr lang="zh-CN" altLang="en-US" sz="2400" b="1" dirty="0">
                    <a:solidFill>
                      <a:srgbClr val="002060"/>
                    </a:solidFill>
                  </a:rPr>
                  <a:t>肠蠕动增强</a:t>
                </a:r>
                <a:endParaRPr lang="en-US" altLang="zh-CN" sz="2400" b="1" dirty="0">
                  <a:solidFill>
                    <a:srgbClr val="002060"/>
                  </a:solidFill>
                </a:endParaRPr>
              </a:p>
              <a:p>
                <a:pPr algn="ctr">
                  <a:lnSpc>
                    <a:spcPct val="200000"/>
                  </a:lnSpc>
                </a:pPr>
                <a:r>
                  <a:rPr lang="zh-CN" altLang="en-US" sz="2400" b="1" dirty="0">
                    <a:solidFill>
                      <a:srgbClr val="002060"/>
                    </a:solidFill>
                  </a:rPr>
                  <a:t>肠道扩张</a:t>
                </a:r>
                <a:endParaRPr lang="en-US" altLang="zh-CN" sz="2400" b="1" dirty="0">
                  <a:solidFill>
                    <a:srgbClr val="002060"/>
                  </a:solidFill>
                </a:endParaRPr>
              </a:p>
              <a:p>
                <a:pPr algn="ctr">
                  <a:lnSpc>
                    <a:spcPct val="200000"/>
                  </a:lnSpc>
                </a:pPr>
                <a:r>
                  <a:rPr lang="zh-CN" altLang="en-US" sz="2400" b="1" dirty="0">
                    <a:solidFill>
                      <a:srgbClr val="002060"/>
                    </a:solidFill>
                  </a:rPr>
                  <a:t>肠壁血运障碍</a:t>
                </a:r>
                <a:endParaRPr lang="en-US" altLang="zh-CN" sz="2400" b="1" dirty="0">
                  <a:solidFill>
                    <a:srgbClr val="002060"/>
                  </a:solidFill>
                </a:endParaRPr>
              </a:p>
              <a:p>
                <a:pPr algn="ctr">
                  <a:lnSpc>
                    <a:spcPct val="150000"/>
                  </a:lnSpc>
                </a:pPr>
                <a:endParaRPr lang="en-US" altLang="zh-CN" sz="1200" dirty="0"/>
              </a:p>
            </p:txBody>
          </p:sp>
        </p:grp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4DE10962-3F64-44FD-9036-23A85BD611B1}"/>
                </a:ext>
              </a:extLst>
            </p:cNvPr>
            <p:cNvCxnSpPr/>
            <p:nvPr/>
          </p:nvCxnSpPr>
          <p:spPr>
            <a:xfrm>
              <a:off x="3637076" y="2320809"/>
              <a:ext cx="0" cy="2635482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413152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6101303" y="3135449"/>
            <a:ext cx="5419185" cy="895350"/>
          </a:xfrm>
        </p:spPr>
        <p:txBody>
          <a:bodyPr>
            <a:normAutofit fontScale="90000"/>
          </a:bodyPr>
          <a:lstStyle/>
          <a:p>
            <a:r>
              <a:rPr lang="zh-CN" altLang="en-US" sz="6000" dirty="0">
                <a:solidFill>
                  <a:schemeClr val="accent2"/>
                </a:solidFill>
              </a:rPr>
              <a:t>护理评估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303628" y="317118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69005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2FD0AC1-8D34-4C3F-9F9C-20485C32D1B6}"/>
              </a:ext>
            </a:extLst>
          </p:cNvPr>
          <p:cNvSpPr txBox="1"/>
          <p:nvPr/>
        </p:nvSpPr>
        <p:spPr>
          <a:xfrm>
            <a:off x="669925" y="483969"/>
            <a:ext cx="2591435" cy="646331"/>
          </a:xfrm>
          <a:prstGeom prst="rect">
            <a:avLst/>
          </a:prstGeom>
          <a:solidFill>
            <a:srgbClr val="E1F8F7"/>
          </a:solidFill>
        </p:spPr>
        <p:txBody>
          <a:bodyPr wrap="square" rtlCol="0">
            <a:spAutoFit/>
          </a:bodyPr>
          <a:lstStyle/>
          <a:p>
            <a:r>
              <a:rPr lang="zh-CN" altLang="en-US" sz="3600" b="1" dirty="0"/>
              <a:t>临床特征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79FF9826-0311-4157-9FA4-9B1B291B84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6960" y="1320801"/>
            <a:ext cx="8267920" cy="5394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6503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92FD0AC1-8D34-4C3F-9F9C-20485C32D1B6}"/>
              </a:ext>
            </a:extLst>
          </p:cNvPr>
          <p:cNvSpPr txBox="1"/>
          <p:nvPr/>
        </p:nvSpPr>
        <p:spPr>
          <a:xfrm>
            <a:off x="669925" y="483969"/>
            <a:ext cx="2591435" cy="646331"/>
          </a:xfrm>
          <a:prstGeom prst="rect">
            <a:avLst/>
          </a:prstGeom>
          <a:solidFill>
            <a:srgbClr val="E1F8F7"/>
          </a:solidFill>
        </p:spPr>
        <p:txBody>
          <a:bodyPr wrap="square" rtlCol="0">
            <a:spAutoFit/>
          </a:bodyPr>
          <a:lstStyle/>
          <a:p>
            <a:r>
              <a:rPr lang="zh-CN" altLang="en-US" sz="3600" b="1" dirty="0"/>
              <a:t>辅助检查</a:t>
            </a:r>
          </a:p>
        </p:txBody>
      </p:sp>
      <p:grpSp>
        <p:nvGrpSpPr>
          <p:cNvPr id="4" name="25477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363638E1-05AE-4A6E-B540-A1A1EAD90C90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588516" y="1792036"/>
            <a:ext cx="9299444" cy="2667488"/>
            <a:chOff x="669925" y="1982968"/>
            <a:chExt cx="10850563" cy="3112417"/>
          </a:xfrm>
        </p:grpSpPr>
        <p:grpSp>
          <p:nvGrpSpPr>
            <p:cNvPr id="5" name="îṡlíḓe">
              <a:extLst>
                <a:ext uri="{FF2B5EF4-FFF2-40B4-BE49-F238E27FC236}">
                  <a16:creationId xmlns:a16="http://schemas.microsoft.com/office/drawing/2014/main" id="{3EF668F8-FC71-457A-8A02-B0D07EECE281}"/>
                </a:ext>
              </a:extLst>
            </p:cNvPr>
            <p:cNvGrpSpPr/>
            <p:nvPr/>
          </p:nvGrpSpPr>
          <p:grpSpPr>
            <a:xfrm>
              <a:off x="4546422" y="2181715"/>
              <a:ext cx="1549577" cy="2016367"/>
              <a:chOff x="2139862" y="2630367"/>
              <a:chExt cx="1549577" cy="2016367"/>
            </a:xfrm>
          </p:grpSpPr>
          <p:sp>
            <p:nvSpPr>
              <p:cNvPr id="20" name="îśḻïďè">
                <a:extLst>
                  <a:ext uri="{FF2B5EF4-FFF2-40B4-BE49-F238E27FC236}">
                    <a16:creationId xmlns:a16="http://schemas.microsoft.com/office/drawing/2014/main" id="{D2C57B0F-FF84-4515-8191-B88207B95FD6}"/>
                  </a:ext>
                </a:extLst>
              </p:cNvPr>
              <p:cNvSpPr/>
              <p:nvPr/>
            </p:nvSpPr>
            <p:spPr bwMode="auto">
              <a:xfrm>
                <a:off x="2139862" y="2741247"/>
                <a:ext cx="1549577" cy="1905487"/>
              </a:xfrm>
              <a:custGeom>
                <a:avLst/>
                <a:gdLst>
                  <a:gd name="T0" fmla="*/ 0 w 476"/>
                  <a:gd name="T1" fmla="*/ 414 h 587"/>
                  <a:gd name="T2" fmla="*/ 34 w 476"/>
                  <a:gd name="T3" fmla="*/ 473 h 587"/>
                  <a:gd name="T4" fmla="*/ 221 w 476"/>
                  <a:gd name="T5" fmla="*/ 581 h 587"/>
                  <a:gd name="T6" fmla="*/ 255 w 476"/>
                  <a:gd name="T7" fmla="*/ 581 h 587"/>
                  <a:gd name="T8" fmla="*/ 442 w 476"/>
                  <a:gd name="T9" fmla="*/ 473 h 587"/>
                  <a:gd name="T10" fmla="*/ 476 w 476"/>
                  <a:gd name="T11" fmla="*/ 414 h 587"/>
                  <a:gd name="T12" fmla="*/ 476 w 476"/>
                  <a:gd name="T13" fmla="*/ 23 h 587"/>
                  <a:gd name="T14" fmla="*/ 465 w 476"/>
                  <a:gd name="T15" fmla="*/ 4 h 587"/>
                  <a:gd name="T16" fmla="*/ 442 w 476"/>
                  <a:gd name="T17" fmla="*/ 4 h 587"/>
                  <a:gd name="T18" fmla="*/ 255 w 476"/>
                  <a:gd name="T19" fmla="*/ 112 h 587"/>
                  <a:gd name="T20" fmla="*/ 221 w 476"/>
                  <a:gd name="T21" fmla="*/ 112 h 587"/>
                  <a:gd name="T22" fmla="*/ 34 w 476"/>
                  <a:gd name="T23" fmla="*/ 4 h 587"/>
                  <a:gd name="T24" fmla="*/ 11 w 476"/>
                  <a:gd name="T25" fmla="*/ 4 h 587"/>
                  <a:gd name="T26" fmla="*/ 0 w 476"/>
                  <a:gd name="T27" fmla="*/ 23 h 587"/>
                  <a:gd name="T28" fmla="*/ 0 w 476"/>
                  <a:gd name="T29" fmla="*/ 414 h 5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6" h="587">
                    <a:moveTo>
                      <a:pt x="0" y="414"/>
                    </a:moveTo>
                    <a:cubicBezTo>
                      <a:pt x="0" y="438"/>
                      <a:pt x="13" y="461"/>
                      <a:pt x="34" y="473"/>
                    </a:cubicBezTo>
                    <a:cubicBezTo>
                      <a:pt x="221" y="581"/>
                      <a:pt x="221" y="581"/>
                      <a:pt x="221" y="581"/>
                    </a:cubicBezTo>
                    <a:cubicBezTo>
                      <a:pt x="232" y="587"/>
                      <a:pt x="245" y="587"/>
                      <a:pt x="255" y="581"/>
                    </a:cubicBezTo>
                    <a:cubicBezTo>
                      <a:pt x="442" y="473"/>
                      <a:pt x="442" y="473"/>
                      <a:pt x="442" y="473"/>
                    </a:cubicBezTo>
                    <a:cubicBezTo>
                      <a:pt x="463" y="461"/>
                      <a:pt x="476" y="438"/>
                      <a:pt x="476" y="414"/>
                    </a:cubicBezTo>
                    <a:cubicBezTo>
                      <a:pt x="476" y="23"/>
                      <a:pt x="476" y="23"/>
                      <a:pt x="476" y="23"/>
                    </a:cubicBezTo>
                    <a:cubicBezTo>
                      <a:pt x="476" y="15"/>
                      <a:pt x="472" y="8"/>
                      <a:pt x="465" y="4"/>
                    </a:cubicBezTo>
                    <a:cubicBezTo>
                      <a:pt x="458" y="0"/>
                      <a:pt x="449" y="0"/>
                      <a:pt x="442" y="4"/>
                    </a:cubicBezTo>
                    <a:cubicBezTo>
                      <a:pt x="255" y="112"/>
                      <a:pt x="255" y="112"/>
                      <a:pt x="255" y="112"/>
                    </a:cubicBezTo>
                    <a:cubicBezTo>
                      <a:pt x="245" y="118"/>
                      <a:pt x="232" y="118"/>
                      <a:pt x="221" y="112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27" y="0"/>
                      <a:pt x="18" y="0"/>
                      <a:pt x="11" y="4"/>
                    </a:cubicBezTo>
                    <a:cubicBezTo>
                      <a:pt x="4" y="8"/>
                      <a:pt x="0" y="15"/>
                      <a:pt x="0" y="23"/>
                    </a:cubicBezTo>
                    <a:lnTo>
                      <a:pt x="0" y="414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1">
                <a:schemeClr val="accent6"/>
              </a:lnRef>
              <a:fillRef idx="3">
                <a:schemeClr val="accent6"/>
              </a:fillRef>
              <a:effectRef idx="2">
                <a:schemeClr val="accent6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21" name="íSļïde">
                <a:extLst>
                  <a:ext uri="{FF2B5EF4-FFF2-40B4-BE49-F238E27FC236}">
                    <a16:creationId xmlns:a16="http://schemas.microsoft.com/office/drawing/2014/main" id="{6686B46A-31A1-4514-9399-A1049C1F706F}"/>
                  </a:ext>
                </a:extLst>
              </p:cNvPr>
              <p:cNvSpPr/>
              <p:nvPr/>
            </p:nvSpPr>
            <p:spPr bwMode="auto">
              <a:xfrm>
                <a:off x="2139862" y="2630367"/>
                <a:ext cx="1549577" cy="1905487"/>
              </a:xfrm>
              <a:custGeom>
                <a:avLst/>
                <a:gdLst>
                  <a:gd name="T0" fmla="*/ 0 w 476"/>
                  <a:gd name="T1" fmla="*/ 414 h 587"/>
                  <a:gd name="T2" fmla="*/ 34 w 476"/>
                  <a:gd name="T3" fmla="*/ 473 h 587"/>
                  <a:gd name="T4" fmla="*/ 221 w 476"/>
                  <a:gd name="T5" fmla="*/ 581 h 587"/>
                  <a:gd name="T6" fmla="*/ 255 w 476"/>
                  <a:gd name="T7" fmla="*/ 581 h 587"/>
                  <a:gd name="T8" fmla="*/ 442 w 476"/>
                  <a:gd name="T9" fmla="*/ 473 h 587"/>
                  <a:gd name="T10" fmla="*/ 476 w 476"/>
                  <a:gd name="T11" fmla="*/ 414 h 587"/>
                  <a:gd name="T12" fmla="*/ 476 w 476"/>
                  <a:gd name="T13" fmla="*/ 23 h 587"/>
                  <a:gd name="T14" fmla="*/ 465 w 476"/>
                  <a:gd name="T15" fmla="*/ 4 h 587"/>
                  <a:gd name="T16" fmla="*/ 442 w 476"/>
                  <a:gd name="T17" fmla="*/ 4 h 587"/>
                  <a:gd name="T18" fmla="*/ 255 w 476"/>
                  <a:gd name="T19" fmla="*/ 112 h 587"/>
                  <a:gd name="T20" fmla="*/ 221 w 476"/>
                  <a:gd name="T21" fmla="*/ 112 h 587"/>
                  <a:gd name="T22" fmla="*/ 34 w 476"/>
                  <a:gd name="T23" fmla="*/ 4 h 587"/>
                  <a:gd name="T24" fmla="*/ 11 w 476"/>
                  <a:gd name="T25" fmla="*/ 4 h 587"/>
                  <a:gd name="T26" fmla="*/ 0 w 476"/>
                  <a:gd name="T27" fmla="*/ 23 h 587"/>
                  <a:gd name="T28" fmla="*/ 0 w 476"/>
                  <a:gd name="T29" fmla="*/ 414 h 5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6" h="587">
                    <a:moveTo>
                      <a:pt x="0" y="414"/>
                    </a:moveTo>
                    <a:cubicBezTo>
                      <a:pt x="0" y="438"/>
                      <a:pt x="13" y="461"/>
                      <a:pt x="34" y="473"/>
                    </a:cubicBezTo>
                    <a:cubicBezTo>
                      <a:pt x="221" y="581"/>
                      <a:pt x="221" y="581"/>
                      <a:pt x="221" y="581"/>
                    </a:cubicBezTo>
                    <a:cubicBezTo>
                      <a:pt x="232" y="587"/>
                      <a:pt x="245" y="587"/>
                      <a:pt x="255" y="581"/>
                    </a:cubicBezTo>
                    <a:cubicBezTo>
                      <a:pt x="442" y="473"/>
                      <a:pt x="442" y="473"/>
                      <a:pt x="442" y="473"/>
                    </a:cubicBezTo>
                    <a:cubicBezTo>
                      <a:pt x="463" y="461"/>
                      <a:pt x="476" y="438"/>
                      <a:pt x="476" y="414"/>
                    </a:cubicBezTo>
                    <a:cubicBezTo>
                      <a:pt x="476" y="23"/>
                      <a:pt x="476" y="23"/>
                      <a:pt x="476" y="23"/>
                    </a:cubicBezTo>
                    <a:cubicBezTo>
                      <a:pt x="476" y="15"/>
                      <a:pt x="472" y="8"/>
                      <a:pt x="465" y="4"/>
                    </a:cubicBezTo>
                    <a:cubicBezTo>
                      <a:pt x="458" y="0"/>
                      <a:pt x="449" y="0"/>
                      <a:pt x="442" y="4"/>
                    </a:cubicBezTo>
                    <a:cubicBezTo>
                      <a:pt x="255" y="112"/>
                      <a:pt x="255" y="112"/>
                      <a:pt x="255" y="112"/>
                    </a:cubicBezTo>
                    <a:cubicBezTo>
                      <a:pt x="245" y="118"/>
                      <a:pt x="232" y="118"/>
                      <a:pt x="221" y="112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27" y="0"/>
                      <a:pt x="18" y="0"/>
                      <a:pt x="11" y="4"/>
                    </a:cubicBezTo>
                    <a:cubicBezTo>
                      <a:pt x="4" y="8"/>
                      <a:pt x="0" y="15"/>
                      <a:pt x="0" y="23"/>
                    </a:cubicBezTo>
                    <a:lnTo>
                      <a:pt x="0" y="41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22" name="îṩḻiḍè">
                <a:extLst>
                  <a:ext uri="{FF2B5EF4-FFF2-40B4-BE49-F238E27FC236}">
                    <a16:creationId xmlns:a16="http://schemas.microsoft.com/office/drawing/2014/main" id="{3A1E26B9-6E03-48CA-8AB2-518E1F66D081}"/>
                  </a:ext>
                </a:extLst>
              </p:cNvPr>
              <p:cNvSpPr/>
              <p:nvPr/>
            </p:nvSpPr>
            <p:spPr>
              <a:xfrm>
                <a:off x="2581275" y="3360615"/>
                <a:ext cx="666750" cy="666750"/>
              </a:xfrm>
              <a:prstGeom prst="ellipse">
                <a:avLst/>
              </a:pr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6" name="i$líḑê">
              <a:extLst>
                <a:ext uri="{FF2B5EF4-FFF2-40B4-BE49-F238E27FC236}">
                  <a16:creationId xmlns:a16="http://schemas.microsoft.com/office/drawing/2014/main" id="{363D37C3-E4B1-479E-BDF3-D71BA83C13B5}"/>
                </a:ext>
              </a:extLst>
            </p:cNvPr>
            <p:cNvGrpSpPr/>
            <p:nvPr/>
          </p:nvGrpSpPr>
          <p:grpSpPr>
            <a:xfrm>
              <a:off x="6096000" y="3079018"/>
              <a:ext cx="1549577" cy="2016367"/>
              <a:chOff x="4260762" y="2630367"/>
              <a:chExt cx="1549577" cy="2016367"/>
            </a:xfrm>
          </p:grpSpPr>
          <p:sp>
            <p:nvSpPr>
              <p:cNvPr id="17" name="íşḻíḓè">
                <a:extLst>
                  <a:ext uri="{FF2B5EF4-FFF2-40B4-BE49-F238E27FC236}">
                    <a16:creationId xmlns:a16="http://schemas.microsoft.com/office/drawing/2014/main" id="{31A32EF5-D2F0-4A3B-A5CF-58B569B94BBE}"/>
                  </a:ext>
                </a:extLst>
              </p:cNvPr>
              <p:cNvSpPr/>
              <p:nvPr/>
            </p:nvSpPr>
            <p:spPr bwMode="auto">
              <a:xfrm flipV="1">
                <a:off x="4260762" y="2630367"/>
                <a:ext cx="1549577" cy="1905487"/>
              </a:xfrm>
              <a:custGeom>
                <a:avLst/>
                <a:gdLst>
                  <a:gd name="T0" fmla="*/ 0 w 476"/>
                  <a:gd name="T1" fmla="*/ 414 h 587"/>
                  <a:gd name="T2" fmla="*/ 34 w 476"/>
                  <a:gd name="T3" fmla="*/ 473 h 587"/>
                  <a:gd name="T4" fmla="*/ 221 w 476"/>
                  <a:gd name="T5" fmla="*/ 581 h 587"/>
                  <a:gd name="T6" fmla="*/ 255 w 476"/>
                  <a:gd name="T7" fmla="*/ 581 h 587"/>
                  <a:gd name="T8" fmla="*/ 442 w 476"/>
                  <a:gd name="T9" fmla="*/ 473 h 587"/>
                  <a:gd name="T10" fmla="*/ 476 w 476"/>
                  <a:gd name="T11" fmla="*/ 414 h 587"/>
                  <a:gd name="T12" fmla="*/ 476 w 476"/>
                  <a:gd name="T13" fmla="*/ 23 h 587"/>
                  <a:gd name="T14" fmla="*/ 465 w 476"/>
                  <a:gd name="T15" fmla="*/ 4 h 587"/>
                  <a:gd name="T16" fmla="*/ 442 w 476"/>
                  <a:gd name="T17" fmla="*/ 4 h 587"/>
                  <a:gd name="T18" fmla="*/ 255 w 476"/>
                  <a:gd name="T19" fmla="*/ 112 h 587"/>
                  <a:gd name="T20" fmla="*/ 221 w 476"/>
                  <a:gd name="T21" fmla="*/ 112 h 587"/>
                  <a:gd name="T22" fmla="*/ 34 w 476"/>
                  <a:gd name="T23" fmla="*/ 4 h 587"/>
                  <a:gd name="T24" fmla="*/ 11 w 476"/>
                  <a:gd name="T25" fmla="*/ 4 h 587"/>
                  <a:gd name="T26" fmla="*/ 0 w 476"/>
                  <a:gd name="T27" fmla="*/ 23 h 587"/>
                  <a:gd name="T28" fmla="*/ 0 w 476"/>
                  <a:gd name="T29" fmla="*/ 414 h 5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6" h="587">
                    <a:moveTo>
                      <a:pt x="0" y="414"/>
                    </a:moveTo>
                    <a:cubicBezTo>
                      <a:pt x="0" y="438"/>
                      <a:pt x="13" y="461"/>
                      <a:pt x="34" y="473"/>
                    </a:cubicBezTo>
                    <a:cubicBezTo>
                      <a:pt x="221" y="581"/>
                      <a:pt x="221" y="581"/>
                      <a:pt x="221" y="581"/>
                    </a:cubicBezTo>
                    <a:cubicBezTo>
                      <a:pt x="232" y="587"/>
                      <a:pt x="245" y="587"/>
                      <a:pt x="255" y="581"/>
                    </a:cubicBezTo>
                    <a:cubicBezTo>
                      <a:pt x="442" y="473"/>
                      <a:pt x="442" y="473"/>
                      <a:pt x="442" y="473"/>
                    </a:cubicBezTo>
                    <a:cubicBezTo>
                      <a:pt x="463" y="461"/>
                      <a:pt x="476" y="438"/>
                      <a:pt x="476" y="414"/>
                    </a:cubicBezTo>
                    <a:cubicBezTo>
                      <a:pt x="476" y="23"/>
                      <a:pt x="476" y="23"/>
                      <a:pt x="476" y="23"/>
                    </a:cubicBezTo>
                    <a:cubicBezTo>
                      <a:pt x="476" y="15"/>
                      <a:pt x="472" y="8"/>
                      <a:pt x="465" y="4"/>
                    </a:cubicBezTo>
                    <a:cubicBezTo>
                      <a:pt x="458" y="0"/>
                      <a:pt x="449" y="0"/>
                      <a:pt x="442" y="4"/>
                    </a:cubicBezTo>
                    <a:cubicBezTo>
                      <a:pt x="255" y="112"/>
                      <a:pt x="255" y="112"/>
                      <a:pt x="255" y="112"/>
                    </a:cubicBezTo>
                    <a:cubicBezTo>
                      <a:pt x="245" y="118"/>
                      <a:pt x="232" y="118"/>
                      <a:pt x="221" y="112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27" y="0"/>
                      <a:pt x="18" y="0"/>
                      <a:pt x="11" y="4"/>
                    </a:cubicBezTo>
                    <a:cubicBezTo>
                      <a:pt x="4" y="8"/>
                      <a:pt x="0" y="15"/>
                      <a:pt x="0" y="23"/>
                    </a:cubicBezTo>
                    <a:lnTo>
                      <a:pt x="0" y="414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1">
                <a:schemeClr val="accent6"/>
              </a:lnRef>
              <a:fillRef idx="3">
                <a:schemeClr val="accent6"/>
              </a:fillRef>
              <a:effectRef idx="2">
                <a:schemeClr val="accent6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8" name="i$ļïḍè">
                <a:extLst>
                  <a:ext uri="{FF2B5EF4-FFF2-40B4-BE49-F238E27FC236}">
                    <a16:creationId xmlns:a16="http://schemas.microsoft.com/office/drawing/2014/main" id="{386989A3-43B5-4FF0-990A-9ED7EBFB3DB5}"/>
                  </a:ext>
                </a:extLst>
              </p:cNvPr>
              <p:cNvSpPr/>
              <p:nvPr/>
            </p:nvSpPr>
            <p:spPr bwMode="auto">
              <a:xfrm flipV="1">
                <a:off x="4260762" y="2741247"/>
                <a:ext cx="1549577" cy="1905487"/>
              </a:xfrm>
              <a:custGeom>
                <a:avLst/>
                <a:gdLst>
                  <a:gd name="T0" fmla="*/ 0 w 476"/>
                  <a:gd name="T1" fmla="*/ 414 h 587"/>
                  <a:gd name="T2" fmla="*/ 34 w 476"/>
                  <a:gd name="T3" fmla="*/ 473 h 587"/>
                  <a:gd name="T4" fmla="*/ 221 w 476"/>
                  <a:gd name="T5" fmla="*/ 581 h 587"/>
                  <a:gd name="T6" fmla="*/ 255 w 476"/>
                  <a:gd name="T7" fmla="*/ 581 h 587"/>
                  <a:gd name="T8" fmla="*/ 442 w 476"/>
                  <a:gd name="T9" fmla="*/ 473 h 587"/>
                  <a:gd name="T10" fmla="*/ 476 w 476"/>
                  <a:gd name="T11" fmla="*/ 414 h 587"/>
                  <a:gd name="T12" fmla="*/ 476 w 476"/>
                  <a:gd name="T13" fmla="*/ 23 h 587"/>
                  <a:gd name="T14" fmla="*/ 465 w 476"/>
                  <a:gd name="T15" fmla="*/ 4 h 587"/>
                  <a:gd name="T16" fmla="*/ 442 w 476"/>
                  <a:gd name="T17" fmla="*/ 4 h 587"/>
                  <a:gd name="T18" fmla="*/ 255 w 476"/>
                  <a:gd name="T19" fmla="*/ 112 h 587"/>
                  <a:gd name="T20" fmla="*/ 221 w 476"/>
                  <a:gd name="T21" fmla="*/ 112 h 587"/>
                  <a:gd name="T22" fmla="*/ 34 w 476"/>
                  <a:gd name="T23" fmla="*/ 4 h 587"/>
                  <a:gd name="T24" fmla="*/ 11 w 476"/>
                  <a:gd name="T25" fmla="*/ 4 h 587"/>
                  <a:gd name="T26" fmla="*/ 0 w 476"/>
                  <a:gd name="T27" fmla="*/ 23 h 587"/>
                  <a:gd name="T28" fmla="*/ 0 w 476"/>
                  <a:gd name="T29" fmla="*/ 414 h 5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6" h="587">
                    <a:moveTo>
                      <a:pt x="0" y="414"/>
                    </a:moveTo>
                    <a:cubicBezTo>
                      <a:pt x="0" y="438"/>
                      <a:pt x="13" y="461"/>
                      <a:pt x="34" y="473"/>
                    </a:cubicBezTo>
                    <a:cubicBezTo>
                      <a:pt x="221" y="581"/>
                      <a:pt x="221" y="581"/>
                      <a:pt x="221" y="581"/>
                    </a:cubicBezTo>
                    <a:cubicBezTo>
                      <a:pt x="232" y="587"/>
                      <a:pt x="245" y="587"/>
                      <a:pt x="255" y="581"/>
                    </a:cubicBezTo>
                    <a:cubicBezTo>
                      <a:pt x="442" y="473"/>
                      <a:pt x="442" y="473"/>
                      <a:pt x="442" y="473"/>
                    </a:cubicBezTo>
                    <a:cubicBezTo>
                      <a:pt x="463" y="461"/>
                      <a:pt x="476" y="438"/>
                      <a:pt x="476" y="414"/>
                    </a:cubicBezTo>
                    <a:cubicBezTo>
                      <a:pt x="476" y="23"/>
                      <a:pt x="476" y="23"/>
                      <a:pt x="476" y="23"/>
                    </a:cubicBezTo>
                    <a:cubicBezTo>
                      <a:pt x="476" y="15"/>
                      <a:pt x="472" y="8"/>
                      <a:pt x="465" y="4"/>
                    </a:cubicBezTo>
                    <a:cubicBezTo>
                      <a:pt x="458" y="0"/>
                      <a:pt x="449" y="0"/>
                      <a:pt x="442" y="4"/>
                    </a:cubicBezTo>
                    <a:cubicBezTo>
                      <a:pt x="255" y="112"/>
                      <a:pt x="255" y="112"/>
                      <a:pt x="255" y="112"/>
                    </a:cubicBezTo>
                    <a:cubicBezTo>
                      <a:pt x="245" y="118"/>
                      <a:pt x="232" y="118"/>
                      <a:pt x="221" y="112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27" y="0"/>
                      <a:pt x="18" y="0"/>
                      <a:pt x="11" y="4"/>
                    </a:cubicBezTo>
                    <a:cubicBezTo>
                      <a:pt x="4" y="8"/>
                      <a:pt x="0" y="15"/>
                      <a:pt x="0" y="23"/>
                    </a:cubicBezTo>
                    <a:lnTo>
                      <a:pt x="0" y="41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endParaRPr lang="en-US" dirty="0"/>
              </a:p>
            </p:txBody>
          </p:sp>
          <p:sp>
            <p:nvSpPr>
              <p:cNvPr id="19" name="ïšlïḑe">
                <a:extLst>
                  <a:ext uri="{FF2B5EF4-FFF2-40B4-BE49-F238E27FC236}">
                    <a16:creationId xmlns:a16="http://schemas.microsoft.com/office/drawing/2014/main" id="{6B3A447F-EF12-48F6-A2F3-55463389A90C}"/>
                  </a:ext>
                </a:extLst>
              </p:cNvPr>
              <p:cNvSpPr/>
              <p:nvPr/>
            </p:nvSpPr>
            <p:spPr>
              <a:xfrm>
                <a:off x="4702175" y="3249736"/>
                <a:ext cx="666750" cy="666750"/>
              </a:xfrm>
              <a:prstGeom prst="ellipse">
                <a:avLst/>
              </a:prstGeom>
              <a:solidFill>
                <a:schemeClr val="bg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DB5AE1CE-59E2-4D28-97AC-9448734BFB3B}"/>
                </a:ext>
              </a:extLst>
            </p:cNvPr>
            <p:cNvCxnSpPr>
              <a:stCxn id="20" idx="2"/>
            </p:cNvCxnSpPr>
            <p:nvPr/>
          </p:nvCxnSpPr>
          <p:spPr>
            <a:xfrm flipH="1">
              <a:off x="669925" y="4178605"/>
              <a:ext cx="459594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D542A270-E7C7-4A76-9C0D-FE82485FBE6C}"/>
                </a:ext>
              </a:extLst>
            </p:cNvPr>
            <p:cNvCxnSpPr>
              <a:stCxn id="17" idx="3"/>
            </p:cNvCxnSpPr>
            <p:nvPr/>
          </p:nvCxnSpPr>
          <p:spPr>
            <a:xfrm flipV="1">
              <a:off x="6926131" y="3079019"/>
              <a:ext cx="459435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ïşḷïḑé">
              <a:extLst>
                <a:ext uri="{FF2B5EF4-FFF2-40B4-BE49-F238E27FC236}">
                  <a16:creationId xmlns:a16="http://schemas.microsoft.com/office/drawing/2014/main" id="{9F368942-713D-405D-B573-1F13E7340455}"/>
                </a:ext>
              </a:extLst>
            </p:cNvPr>
            <p:cNvSpPr txBox="1"/>
            <p:nvPr/>
          </p:nvSpPr>
          <p:spPr bwMode="auto">
            <a:xfrm>
              <a:off x="1289208" y="4317549"/>
              <a:ext cx="3431908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zh-CN" altLang="en-US" sz="3200" b="1" dirty="0"/>
                <a:t>实验室检查</a:t>
              </a:r>
              <a:endParaRPr lang="en-US" altLang="zh-CN" sz="3200" b="1" dirty="0"/>
            </a:p>
          </p:txBody>
        </p:sp>
        <p:sp>
          <p:nvSpPr>
            <p:cNvPr id="11" name="íSļîḓé">
              <a:extLst>
                <a:ext uri="{FF2B5EF4-FFF2-40B4-BE49-F238E27FC236}">
                  <a16:creationId xmlns:a16="http://schemas.microsoft.com/office/drawing/2014/main" id="{1B3D9BB2-B01A-43A5-9314-5FA9306E77CF}"/>
                </a:ext>
              </a:extLst>
            </p:cNvPr>
            <p:cNvSpPr txBox="1"/>
            <p:nvPr/>
          </p:nvSpPr>
          <p:spPr bwMode="auto">
            <a:xfrm>
              <a:off x="7350535" y="1982968"/>
              <a:ext cx="3779792" cy="1361189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3200" b="1" dirty="0"/>
                <a:t>X</a:t>
              </a:r>
              <a:r>
                <a:rPr lang="zh-CN" altLang="en-US" sz="3200" b="1" dirty="0"/>
                <a:t>线检查</a:t>
              </a:r>
              <a:endParaRPr lang="en-US" altLang="zh-CN" sz="32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4875088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c41cd6d7-40cb-4f36-803b-05634933193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384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6479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9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9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940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5477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804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4812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9B9B9"/>
      </a:accent1>
      <a:accent2>
        <a:srgbClr val="0F687A"/>
      </a:accent2>
      <a:accent3>
        <a:srgbClr val="BACB8B"/>
      </a:accent3>
      <a:accent4>
        <a:srgbClr val="EE9A94"/>
      </a:accent4>
      <a:accent5>
        <a:srgbClr val="244572"/>
      </a:accent5>
      <a:accent6>
        <a:srgbClr val="607087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9B9B9"/>
    </a:accent1>
    <a:accent2>
      <a:srgbClr val="0F687A"/>
    </a:accent2>
    <a:accent3>
      <a:srgbClr val="BACB8B"/>
    </a:accent3>
    <a:accent4>
      <a:srgbClr val="EE9A94"/>
    </a:accent4>
    <a:accent5>
      <a:srgbClr val="244572"/>
    </a:accent5>
    <a:accent6>
      <a:srgbClr val="607087"/>
    </a:accent6>
    <a:hlink>
      <a:srgbClr val="4276AA"/>
    </a:hlink>
    <a:folHlink>
      <a:srgbClr val="BFBFBF"/>
    </a:folHlink>
  </a:clrScheme>
</a:themeOverride>
</file>

<file path=ppt/theme/themeOverride10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9B9B9"/>
    </a:accent1>
    <a:accent2>
      <a:srgbClr val="0F687A"/>
    </a:accent2>
    <a:accent3>
      <a:srgbClr val="BACB8B"/>
    </a:accent3>
    <a:accent4>
      <a:srgbClr val="EE9A94"/>
    </a:accent4>
    <a:accent5>
      <a:srgbClr val="244572"/>
    </a:accent5>
    <a:accent6>
      <a:srgbClr val="607087"/>
    </a:accent6>
    <a:hlink>
      <a:srgbClr val="4276AA"/>
    </a:hlink>
    <a:folHlink>
      <a:srgbClr val="BFBFBF"/>
    </a:folHlink>
  </a:clrScheme>
</a:themeOverride>
</file>

<file path=ppt/theme/themeOverride1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9B9B9"/>
    </a:accent1>
    <a:accent2>
      <a:srgbClr val="0F687A"/>
    </a:accent2>
    <a:accent3>
      <a:srgbClr val="BACB8B"/>
    </a:accent3>
    <a:accent4>
      <a:srgbClr val="EE9A94"/>
    </a:accent4>
    <a:accent5>
      <a:srgbClr val="244572"/>
    </a:accent5>
    <a:accent6>
      <a:srgbClr val="607087"/>
    </a:accent6>
    <a:hlink>
      <a:srgbClr val="4276AA"/>
    </a:hlink>
    <a:folHlink>
      <a:srgbClr val="BFBFBF"/>
    </a:folHlink>
  </a:clrScheme>
</a:themeOverride>
</file>

<file path=ppt/theme/themeOverride1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9B9B9"/>
    </a:accent1>
    <a:accent2>
      <a:srgbClr val="0F687A"/>
    </a:accent2>
    <a:accent3>
      <a:srgbClr val="BACB8B"/>
    </a:accent3>
    <a:accent4>
      <a:srgbClr val="EE9A94"/>
    </a:accent4>
    <a:accent5>
      <a:srgbClr val="244572"/>
    </a:accent5>
    <a:accent6>
      <a:srgbClr val="607087"/>
    </a:accent6>
    <a:hlink>
      <a:srgbClr val="4276AA"/>
    </a:hlink>
    <a:folHlink>
      <a:srgbClr val="BFBFBF"/>
    </a:folHlink>
  </a:clrScheme>
</a:themeOverride>
</file>

<file path=ppt/theme/themeOverride1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9B9B9"/>
    </a:accent1>
    <a:accent2>
      <a:srgbClr val="0F687A"/>
    </a:accent2>
    <a:accent3>
      <a:srgbClr val="BACB8B"/>
    </a:accent3>
    <a:accent4>
      <a:srgbClr val="EE9A94"/>
    </a:accent4>
    <a:accent5>
      <a:srgbClr val="244572"/>
    </a:accent5>
    <a:accent6>
      <a:srgbClr val="607087"/>
    </a:accent6>
    <a:hlink>
      <a:srgbClr val="4276AA"/>
    </a:hlink>
    <a:folHlink>
      <a:srgbClr val="BFBFBF"/>
    </a:folHlink>
  </a:clrScheme>
</a:themeOverride>
</file>

<file path=ppt/theme/themeOverride1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9B9B9"/>
    </a:accent1>
    <a:accent2>
      <a:srgbClr val="0F687A"/>
    </a:accent2>
    <a:accent3>
      <a:srgbClr val="BACB8B"/>
    </a:accent3>
    <a:accent4>
      <a:srgbClr val="EE9A94"/>
    </a:accent4>
    <a:accent5>
      <a:srgbClr val="244572"/>
    </a:accent5>
    <a:accent6>
      <a:srgbClr val="607087"/>
    </a:accent6>
    <a:hlink>
      <a:srgbClr val="4276AA"/>
    </a:hlink>
    <a:folHlink>
      <a:srgbClr val="BFBFBF"/>
    </a:folHlink>
  </a:clrScheme>
</a:themeOverride>
</file>

<file path=ppt/theme/themeOverride1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9B9B9"/>
    </a:accent1>
    <a:accent2>
      <a:srgbClr val="0F687A"/>
    </a:accent2>
    <a:accent3>
      <a:srgbClr val="BACB8B"/>
    </a:accent3>
    <a:accent4>
      <a:srgbClr val="EE9A94"/>
    </a:accent4>
    <a:accent5>
      <a:srgbClr val="244572"/>
    </a:accent5>
    <a:accent6>
      <a:srgbClr val="607087"/>
    </a:accent6>
    <a:hlink>
      <a:srgbClr val="4276AA"/>
    </a:hlink>
    <a:folHlink>
      <a:srgbClr val="BFBFBF"/>
    </a:folHlink>
  </a:clrScheme>
</a:themeOverride>
</file>

<file path=ppt/theme/themeOverride1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9B9B9"/>
    </a:accent1>
    <a:accent2>
      <a:srgbClr val="0F687A"/>
    </a:accent2>
    <a:accent3>
      <a:srgbClr val="BACB8B"/>
    </a:accent3>
    <a:accent4>
      <a:srgbClr val="EE9A94"/>
    </a:accent4>
    <a:accent5>
      <a:srgbClr val="244572"/>
    </a:accent5>
    <a:accent6>
      <a:srgbClr val="607087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9B9B9"/>
    </a:accent1>
    <a:accent2>
      <a:srgbClr val="0F687A"/>
    </a:accent2>
    <a:accent3>
      <a:srgbClr val="BACB8B"/>
    </a:accent3>
    <a:accent4>
      <a:srgbClr val="EE9A94"/>
    </a:accent4>
    <a:accent5>
      <a:srgbClr val="244572"/>
    </a:accent5>
    <a:accent6>
      <a:srgbClr val="607087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9B9B9"/>
    </a:accent1>
    <a:accent2>
      <a:srgbClr val="0F687A"/>
    </a:accent2>
    <a:accent3>
      <a:srgbClr val="BACB8B"/>
    </a:accent3>
    <a:accent4>
      <a:srgbClr val="EE9A94"/>
    </a:accent4>
    <a:accent5>
      <a:srgbClr val="244572"/>
    </a:accent5>
    <a:accent6>
      <a:srgbClr val="607087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9B9B9"/>
    </a:accent1>
    <a:accent2>
      <a:srgbClr val="0F687A"/>
    </a:accent2>
    <a:accent3>
      <a:srgbClr val="BACB8B"/>
    </a:accent3>
    <a:accent4>
      <a:srgbClr val="EE9A94"/>
    </a:accent4>
    <a:accent5>
      <a:srgbClr val="244572"/>
    </a:accent5>
    <a:accent6>
      <a:srgbClr val="607087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9B9B9"/>
    </a:accent1>
    <a:accent2>
      <a:srgbClr val="0F687A"/>
    </a:accent2>
    <a:accent3>
      <a:srgbClr val="BACB8B"/>
    </a:accent3>
    <a:accent4>
      <a:srgbClr val="EE9A94"/>
    </a:accent4>
    <a:accent5>
      <a:srgbClr val="244572"/>
    </a:accent5>
    <a:accent6>
      <a:srgbClr val="607087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9B9B9"/>
    </a:accent1>
    <a:accent2>
      <a:srgbClr val="0F687A"/>
    </a:accent2>
    <a:accent3>
      <a:srgbClr val="BACB8B"/>
    </a:accent3>
    <a:accent4>
      <a:srgbClr val="EE9A94"/>
    </a:accent4>
    <a:accent5>
      <a:srgbClr val="244572"/>
    </a:accent5>
    <a:accent6>
      <a:srgbClr val="607087"/>
    </a:accent6>
    <a:hlink>
      <a:srgbClr val="4276AA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9B9B9"/>
    </a:accent1>
    <a:accent2>
      <a:srgbClr val="0F687A"/>
    </a:accent2>
    <a:accent3>
      <a:srgbClr val="BACB8B"/>
    </a:accent3>
    <a:accent4>
      <a:srgbClr val="EE9A94"/>
    </a:accent4>
    <a:accent5>
      <a:srgbClr val="244572"/>
    </a:accent5>
    <a:accent6>
      <a:srgbClr val="607087"/>
    </a:accent6>
    <a:hlink>
      <a:srgbClr val="4276AA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9B9B9"/>
    </a:accent1>
    <a:accent2>
      <a:srgbClr val="0F687A"/>
    </a:accent2>
    <a:accent3>
      <a:srgbClr val="BACB8B"/>
    </a:accent3>
    <a:accent4>
      <a:srgbClr val="EE9A94"/>
    </a:accent4>
    <a:accent5>
      <a:srgbClr val="244572"/>
    </a:accent5>
    <a:accent6>
      <a:srgbClr val="607087"/>
    </a:accent6>
    <a:hlink>
      <a:srgbClr val="4276AA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9B9B9"/>
    </a:accent1>
    <a:accent2>
      <a:srgbClr val="0F687A"/>
    </a:accent2>
    <a:accent3>
      <a:srgbClr val="BACB8B"/>
    </a:accent3>
    <a:accent4>
      <a:srgbClr val="EE9A94"/>
    </a:accent4>
    <a:accent5>
      <a:srgbClr val="244572"/>
    </a:accent5>
    <a:accent6>
      <a:srgbClr val="607087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31</TotalTime>
  <Words>218</Words>
  <Application>Microsoft Office PowerPoint</Application>
  <PresentationFormat>宽屏</PresentationFormat>
  <Paragraphs>71</Paragraphs>
  <Slides>1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22" baseType="lpstr">
      <vt:lpstr>Arial</vt:lpstr>
      <vt:lpstr>Calibri</vt:lpstr>
      <vt:lpstr>Impact</vt:lpstr>
      <vt:lpstr>主题5</vt:lpstr>
      <vt:lpstr>think-cell Slide</vt:lpstr>
      <vt:lpstr>肠梗阻病人的护理</vt:lpstr>
      <vt:lpstr>PowerPoint 演示文稿</vt:lpstr>
      <vt:lpstr>概 述</vt:lpstr>
      <vt:lpstr>PowerPoint 演示文稿</vt:lpstr>
      <vt:lpstr>PowerPoint 演示文稿</vt:lpstr>
      <vt:lpstr>PowerPoint 演示文稿</vt:lpstr>
      <vt:lpstr>护理评估</vt:lpstr>
      <vt:lpstr>PowerPoint 演示文稿</vt:lpstr>
      <vt:lpstr>PowerPoint 演示文稿</vt:lpstr>
      <vt:lpstr>PowerPoint 演示文稿</vt:lpstr>
      <vt:lpstr>常见护理诊断/问题</vt:lpstr>
      <vt:lpstr>PowerPoint 演示文稿</vt:lpstr>
      <vt:lpstr>护理措施</vt:lpstr>
      <vt:lpstr>PowerPoint 演示文稿</vt:lpstr>
      <vt:lpstr>PowerPoint 演示文稿</vt:lpstr>
      <vt:lpstr>PowerPoint 演示文稿</vt:lpstr>
      <vt:lpstr>Thanks 谢谢聆听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蕊 杨</cp:lastModifiedBy>
  <cp:revision>14</cp:revision>
  <cp:lastPrinted>2018-12-16T16:00:00Z</cp:lastPrinted>
  <dcterms:created xsi:type="dcterms:W3CDTF">2018-12-16T16:00:00Z</dcterms:created>
  <dcterms:modified xsi:type="dcterms:W3CDTF">2019-09-01T07:23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